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media/image68.jpg" ContentType="image/jp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2"/>
  </p:notesMasterIdLst>
  <p:sldIdLst>
    <p:sldId id="256" r:id="rId2"/>
    <p:sldId id="305" r:id="rId3"/>
    <p:sldId id="331" r:id="rId4"/>
    <p:sldId id="333" r:id="rId5"/>
    <p:sldId id="321" r:id="rId6"/>
    <p:sldId id="314" r:id="rId7"/>
    <p:sldId id="329" r:id="rId8"/>
    <p:sldId id="312" r:id="rId9"/>
    <p:sldId id="313" r:id="rId10"/>
    <p:sldId id="316" r:id="rId11"/>
    <p:sldId id="340" r:id="rId12"/>
    <p:sldId id="337" r:id="rId13"/>
    <p:sldId id="324" r:id="rId14"/>
    <p:sldId id="317" r:id="rId15"/>
    <p:sldId id="342" r:id="rId16"/>
    <p:sldId id="325" r:id="rId17"/>
    <p:sldId id="298" r:id="rId18"/>
    <p:sldId id="343" r:id="rId19"/>
    <p:sldId id="341" r:id="rId20"/>
    <p:sldId id="280" r:id="rId21"/>
  </p:sldIdLst>
  <p:sldSz cx="9144000" cy="6858000" type="screen4x3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3752"/>
    <a:srgbClr val="E1E9F3"/>
    <a:srgbClr val="2E4A70"/>
    <a:srgbClr val="093263"/>
    <a:srgbClr val="E6EDF6"/>
    <a:srgbClr val="E9F2FD"/>
    <a:srgbClr val="BFD8F9"/>
    <a:srgbClr val="4469BA"/>
    <a:srgbClr val="283E6E"/>
    <a:srgbClr val="3483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84858" autoAdjust="0"/>
  </p:normalViewPr>
  <p:slideViewPr>
    <p:cSldViewPr snapToGrid="0" snapToObjects="1">
      <p:cViewPr>
        <p:scale>
          <a:sx n="81" d="100"/>
          <a:sy n="81" d="100"/>
        </p:scale>
        <p:origin x="-1498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BAF952-CFC1-448D-BEDD-BA6267CAB83C}" type="doc">
      <dgm:prSet loTypeId="urn:microsoft.com/office/officeart/2005/8/layout/pyramid1" loCatId="pyramid" qsTypeId="urn:microsoft.com/office/officeart/2005/8/quickstyle/simple1" qsCatId="simple" csTypeId="urn:microsoft.com/office/officeart/2005/8/colors/accent1_5" csCatId="accent1" phldr="1"/>
      <dgm:spPr/>
    </dgm:pt>
    <dgm:pt modelId="{E79052CB-91D2-43F6-AB60-7CD5589D3123}">
      <dgm:prSet phldrT="[Текст]" custT="1"/>
      <dgm:spPr/>
      <dgm:t>
        <a:bodyPr/>
        <a:lstStyle/>
        <a:p>
          <a:r>
            <a:rPr lang="ru-RU" sz="2200" b="1" dirty="0" smtClean="0">
              <a:solidFill>
                <a:schemeClr val="bg1"/>
              </a:solidFill>
            </a:rPr>
            <a:t>15 </a:t>
          </a:r>
        </a:p>
        <a:p>
          <a:r>
            <a:rPr lang="ru-RU" sz="1200" b="1" i="1" dirty="0" smtClean="0">
              <a:solidFill>
                <a:schemeClr val="bg1"/>
              </a:solidFill>
            </a:rPr>
            <a:t>вывезли компании</a:t>
          </a:r>
          <a:endParaRPr lang="ru-RU" sz="1200" b="1" i="1" dirty="0">
            <a:solidFill>
              <a:schemeClr val="bg1"/>
            </a:solidFill>
          </a:endParaRPr>
        </a:p>
      </dgm:t>
    </dgm:pt>
    <dgm:pt modelId="{9B78AC9F-60E1-4297-A2E0-3CB4DB8621B2}" type="parTrans" cxnId="{1D7CFF37-E643-4C13-8B17-477CA2FCE48E}">
      <dgm:prSet/>
      <dgm:spPr/>
      <dgm:t>
        <a:bodyPr/>
        <a:lstStyle/>
        <a:p>
          <a:endParaRPr lang="ru-RU"/>
        </a:p>
      </dgm:t>
    </dgm:pt>
    <dgm:pt modelId="{2B01BAB1-34B1-447F-B55B-E184F755880D}" type="sibTrans" cxnId="{1D7CFF37-E643-4C13-8B17-477CA2FCE48E}">
      <dgm:prSet/>
      <dgm:spPr/>
      <dgm:t>
        <a:bodyPr/>
        <a:lstStyle/>
        <a:p>
          <a:endParaRPr lang="ru-RU"/>
        </a:p>
      </dgm:t>
    </dgm:pt>
    <dgm:pt modelId="{A6BCCA83-47BE-4956-9826-B240A58CE3A0}">
      <dgm:prSet phldrT="[Текст]" custT="1"/>
      <dgm:spPr/>
      <dgm:t>
        <a:bodyPr/>
        <a:lstStyle/>
        <a:p>
          <a:r>
            <a:rPr lang="ru-RU" sz="2200" b="1" dirty="0" smtClean="0">
              <a:solidFill>
                <a:schemeClr val="bg1"/>
              </a:solidFill>
            </a:rPr>
            <a:t>17 </a:t>
          </a:r>
        </a:p>
        <a:p>
          <a:r>
            <a:rPr lang="ru-RU" sz="1200" b="1" i="1" dirty="0" smtClean="0">
              <a:solidFill>
                <a:schemeClr val="bg1"/>
              </a:solidFill>
            </a:rPr>
            <a:t>«пилотов» провели визиты</a:t>
          </a:r>
          <a:endParaRPr lang="ru-RU" sz="1200" b="1" i="1" dirty="0">
            <a:solidFill>
              <a:schemeClr val="bg1"/>
            </a:solidFill>
          </a:endParaRPr>
        </a:p>
      </dgm:t>
    </dgm:pt>
    <dgm:pt modelId="{54EF122A-879E-436F-AC3A-DD7331B6804A}" type="parTrans" cxnId="{3102DEEF-D72F-400A-BC2E-AD2772C058E0}">
      <dgm:prSet/>
      <dgm:spPr/>
      <dgm:t>
        <a:bodyPr/>
        <a:lstStyle/>
        <a:p>
          <a:endParaRPr lang="ru-RU"/>
        </a:p>
      </dgm:t>
    </dgm:pt>
    <dgm:pt modelId="{E5C374BC-98FD-4BA0-BA55-D91FB24F5E13}" type="sibTrans" cxnId="{3102DEEF-D72F-400A-BC2E-AD2772C058E0}">
      <dgm:prSet/>
      <dgm:spPr/>
      <dgm:t>
        <a:bodyPr/>
        <a:lstStyle/>
        <a:p>
          <a:endParaRPr lang="ru-RU"/>
        </a:p>
      </dgm:t>
    </dgm:pt>
    <dgm:pt modelId="{F795AAB0-B8E3-41BD-B733-CC0FA561006B}">
      <dgm:prSet phldrT="[Текст]"/>
      <dgm:spPr/>
      <dgm:t>
        <a:bodyPr/>
        <a:lstStyle/>
        <a:p>
          <a:r>
            <a:rPr lang="ru-RU" b="1" dirty="0" smtClean="0">
              <a:solidFill>
                <a:schemeClr val="bg1"/>
              </a:solidFill>
            </a:rPr>
            <a:t>22 </a:t>
          </a:r>
          <a:r>
            <a:rPr lang="ru-RU" b="1" i="1" dirty="0" smtClean="0">
              <a:solidFill>
                <a:schemeClr val="bg1"/>
              </a:solidFill>
            </a:rPr>
            <a:t>«пилота»</a:t>
          </a:r>
          <a:endParaRPr lang="ru-RU" b="1" i="1" dirty="0">
            <a:solidFill>
              <a:schemeClr val="bg1"/>
            </a:solidFill>
          </a:endParaRPr>
        </a:p>
      </dgm:t>
    </dgm:pt>
    <dgm:pt modelId="{539AEEB6-9FEE-40A5-8545-60C253C891EF}" type="parTrans" cxnId="{A7155991-CC0E-4808-8D5D-CAB3076A84C2}">
      <dgm:prSet/>
      <dgm:spPr/>
      <dgm:t>
        <a:bodyPr/>
        <a:lstStyle/>
        <a:p>
          <a:endParaRPr lang="ru-RU"/>
        </a:p>
      </dgm:t>
    </dgm:pt>
    <dgm:pt modelId="{A374DBE9-7352-43E0-AABE-215B1BD27657}" type="sibTrans" cxnId="{A7155991-CC0E-4808-8D5D-CAB3076A84C2}">
      <dgm:prSet/>
      <dgm:spPr/>
      <dgm:t>
        <a:bodyPr/>
        <a:lstStyle/>
        <a:p>
          <a:endParaRPr lang="ru-RU"/>
        </a:p>
      </dgm:t>
    </dgm:pt>
    <dgm:pt modelId="{17DF1C6F-25B8-4505-B3FF-DB827FC3A902}">
      <dgm:prSet phldrT="[Текст]" custT="1"/>
      <dgm:spPr/>
      <dgm:t>
        <a:bodyPr/>
        <a:lstStyle/>
        <a:p>
          <a:r>
            <a:rPr lang="ru-RU" sz="2000" b="1" dirty="0" smtClean="0">
              <a:solidFill>
                <a:schemeClr val="bg1"/>
              </a:solidFill>
            </a:rPr>
            <a:t>3</a:t>
          </a:r>
        </a:p>
      </dgm:t>
    </dgm:pt>
    <dgm:pt modelId="{70747DA3-3985-4877-9C07-ACE5F694712F}" type="parTrans" cxnId="{ABD80E7A-167F-41EB-953E-50C02C55B9A2}">
      <dgm:prSet/>
      <dgm:spPr/>
      <dgm:t>
        <a:bodyPr/>
        <a:lstStyle/>
        <a:p>
          <a:endParaRPr lang="ru-RU"/>
        </a:p>
      </dgm:t>
    </dgm:pt>
    <dgm:pt modelId="{7FA0F729-E994-48FF-BC66-F2A87F67D825}" type="sibTrans" cxnId="{ABD80E7A-167F-41EB-953E-50C02C55B9A2}">
      <dgm:prSet/>
      <dgm:spPr/>
      <dgm:t>
        <a:bodyPr/>
        <a:lstStyle/>
        <a:p>
          <a:endParaRPr lang="ru-RU"/>
        </a:p>
      </dgm:t>
    </dgm:pt>
    <dgm:pt modelId="{BB2B02CB-AFBD-41A4-AD7E-B1C903182FBF}">
      <dgm:prSet phldrT="[Текст]" custT="1"/>
      <dgm:spPr/>
      <dgm:t>
        <a:bodyPr/>
        <a:lstStyle/>
        <a:p>
          <a:r>
            <a:rPr lang="ru-RU" sz="2000" b="1" dirty="0" smtClean="0">
              <a:solidFill>
                <a:schemeClr val="bg1"/>
              </a:solidFill>
            </a:rPr>
            <a:t>7  </a:t>
          </a:r>
          <a:br>
            <a:rPr lang="ru-RU" sz="2000" b="1" dirty="0" smtClean="0">
              <a:solidFill>
                <a:schemeClr val="bg1"/>
              </a:solidFill>
            </a:rPr>
          </a:br>
          <a:r>
            <a:rPr lang="ru-RU" sz="1200" b="1" i="1" dirty="0" smtClean="0">
              <a:solidFill>
                <a:schemeClr val="bg1"/>
              </a:solidFill>
            </a:rPr>
            <a:t>с экспортным результатом</a:t>
          </a:r>
          <a:endParaRPr lang="ru-RU" sz="2000" b="1" dirty="0">
            <a:solidFill>
              <a:schemeClr val="bg1"/>
            </a:solidFill>
          </a:endParaRPr>
        </a:p>
      </dgm:t>
    </dgm:pt>
    <dgm:pt modelId="{D9B20A70-71B5-4A3B-8FAD-C76C34050876}" type="parTrans" cxnId="{F8AFFFEC-5375-4D5E-A6F1-3BD0EAB31AC2}">
      <dgm:prSet/>
      <dgm:spPr/>
      <dgm:t>
        <a:bodyPr/>
        <a:lstStyle/>
        <a:p>
          <a:endParaRPr lang="ru-RU"/>
        </a:p>
      </dgm:t>
    </dgm:pt>
    <dgm:pt modelId="{56EA2953-D3BC-42E5-8969-DBF5CBC4741B}" type="sibTrans" cxnId="{F8AFFFEC-5375-4D5E-A6F1-3BD0EAB31AC2}">
      <dgm:prSet/>
      <dgm:spPr/>
      <dgm:t>
        <a:bodyPr/>
        <a:lstStyle/>
        <a:p>
          <a:endParaRPr lang="ru-RU"/>
        </a:p>
      </dgm:t>
    </dgm:pt>
    <dgm:pt modelId="{CBE46C11-676E-4A36-94EB-D7609B09B342}" type="pres">
      <dgm:prSet presAssocID="{78BAF952-CFC1-448D-BEDD-BA6267CAB83C}" presName="Name0" presStyleCnt="0">
        <dgm:presLayoutVars>
          <dgm:dir/>
          <dgm:animLvl val="lvl"/>
          <dgm:resizeHandles val="exact"/>
        </dgm:presLayoutVars>
      </dgm:prSet>
      <dgm:spPr/>
    </dgm:pt>
    <dgm:pt modelId="{7FA5960D-0489-4D51-B8EE-77F57675CD24}" type="pres">
      <dgm:prSet presAssocID="{17DF1C6F-25B8-4505-B3FF-DB827FC3A902}" presName="Name8" presStyleCnt="0"/>
      <dgm:spPr/>
    </dgm:pt>
    <dgm:pt modelId="{EBC712F6-9AAC-4CC2-9AC8-9577A92614D0}" type="pres">
      <dgm:prSet presAssocID="{17DF1C6F-25B8-4505-B3FF-DB827FC3A902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C052F3-7A33-46A0-93C5-9E1917F03F40}" type="pres">
      <dgm:prSet presAssocID="{17DF1C6F-25B8-4505-B3FF-DB827FC3A90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34A3FB-DFCE-4F4A-A50D-D4A450216444}" type="pres">
      <dgm:prSet presAssocID="{BB2B02CB-AFBD-41A4-AD7E-B1C903182FBF}" presName="Name8" presStyleCnt="0"/>
      <dgm:spPr/>
    </dgm:pt>
    <dgm:pt modelId="{9E0DD72A-B13A-4B29-8F9B-ADA8DF42A410}" type="pres">
      <dgm:prSet presAssocID="{BB2B02CB-AFBD-41A4-AD7E-B1C903182FBF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E93D1A-36ED-4CDC-9078-C7D30D7FE604}" type="pres">
      <dgm:prSet presAssocID="{BB2B02CB-AFBD-41A4-AD7E-B1C903182FB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612EB1-8C38-49AB-8AD4-80C3EA8FD91E}" type="pres">
      <dgm:prSet presAssocID="{E79052CB-91D2-43F6-AB60-7CD5589D3123}" presName="Name8" presStyleCnt="0"/>
      <dgm:spPr/>
    </dgm:pt>
    <dgm:pt modelId="{821427A2-7577-4001-9972-FF150C3A59FA}" type="pres">
      <dgm:prSet presAssocID="{E79052CB-91D2-43F6-AB60-7CD5589D3123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D37F93-1930-4177-BEE5-90BB645DC3A1}" type="pres">
      <dgm:prSet presAssocID="{E79052CB-91D2-43F6-AB60-7CD5589D312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EE6B8A-8846-4D12-BB59-23BA41F2EE32}" type="pres">
      <dgm:prSet presAssocID="{A6BCCA83-47BE-4956-9826-B240A58CE3A0}" presName="Name8" presStyleCnt="0"/>
      <dgm:spPr/>
    </dgm:pt>
    <dgm:pt modelId="{484ABBF3-CD3F-412F-9CA1-8ED30A8EA047}" type="pres">
      <dgm:prSet presAssocID="{A6BCCA83-47BE-4956-9826-B240A58CE3A0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5B5EB4-F8D3-466A-9A17-4673D0F9E37B}" type="pres">
      <dgm:prSet presAssocID="{A6BCCA83-47BE-4956-9826-B240A58CE3A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E929A6-8815-4332-9F3C-CA68FC9D8CA4}" type="pres">
      <dgm:prSet presAssocID="{F795AAB0-B8E3-41BD-B733-CC0FA561006B}" presName="Name8" presStyleCnt="0"/>
      <dgm:spPr/>
    </dgm:pt>
    <dgm:pt modelId="{DCD0D12C-01D8-4F12-8E07-CFCD18825CC0}" type="pres">
      <dgm:prSet presAssocID="{F795AAB0-B8E3-41BD-B733-CC0FA561006B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C64EF9-E3C9-457F-BE07-D95583357803}" type="pres">
      <dgm:prSet presAssocID="{F795AAB0-B8E3-41BD-B733-CC0FA561006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186485D-67E3-4606-BFEE-8E44D4E9D49F}" type="presOf" srcId="{BB2B02CB-AFBD-41A4-AD7E-B1C903182FBF}" destId="{9E0DD72A-B13A-4B29-8F9B-ADA8DF42A410}" srcOrd="0" destOrd="0" presId="urn:microsoft.com/office/officeart/2005/8/layout/pyramid1"/>
    <dgm:cxn modelId="{A7155991-CC0E-4808-8D5D-CAB3076A84C2}" srcId="{78BAF952-CFC1-448D-BEDD-BA6267CAB83C}" destId="{F795AAB0-B8E3-41BD-B733-CC0FA561006B}" srcOrd="4" destOrd="0" parTransId="{539AEEB6-9FEE-40A5-8545-60C253C891EF}" sibTransId="{A374DBE9-7352-43E0-AABE-215B1BD27657}"/>
    <dgm:cxn modelId="{37BA72EA-96A9-4EA2-899F-022CC50ED531}" type="presOf" srcId="{A6BCCA83-47BE-4956-9826-B240A58CE3A0}" destId="{345B5EB4-F8D3-466A-9A17-4673D0F9E37B}" srcOrd="1" destOrd="0" presId="urn:microsoft.com/office/officeart/2005/8/layout/pyramid1"/>
    <dgm:cxn modelId="{3102DEEF-D72F-400A-BC2E-AD2772C058E0}" srcId="{78BAF952-CFC1-448D-BEDD-BA6267CAB83C}" destId="{A6BCCA83-47BE-4956-9826-B240A58CE3A0}" srcOrd="3" destOrd="0" parTransId="{54EF122A-879E-436F-AC3A-DD7331B6804A}" sibTransId="{E5C374BC-98FD-4BA0-BA55-D91FB24F5E13}"/>
    <dgm:cxn modelId="{272DA8B7-1753-4563-9C31-A190ED0F1843}" type="presOf" srcId="{F795AAB0-B8E3-41BD-B733-CC0FA561006B}" destId="{84C64EF9-E3C9-457F-BE07-D95583357803}" srcOrd="1" destOrd="0" presId="urn:microsoft.com/office/officeart/2005/8/layout/pyramid1"/>
    <dgm:cxn modelId="{ABD80E7A-167F-41EB-953E-50C02C55B9A2}" srcId="{78BAF952-CFC1-448D-BEDD-BA6267CAB83C}" destId="{17DF1C6F-25B8-4505-B3FF-DB827FC3A902}" srcOrd="0" destOrd="0" parTransId="{70747DA3-3985-4877-9C07-ACE5F694712F}" sibTransId="{7FA0F729-E994-48FF-BC66-F2A87F67D825}"/>
    <dgm:cxn modelId="{1D7CFF37-E643-4C13-8B17-477CA2FCE48E}" srcId="{78BAF952-CFC1-448D-BEDD-BA6267CAB83C}" destId="{E79052CB-91D2-43F6-AB60-7CD5589D3123}" srcOrd="2" destOrd="0" parTransId="{9B78AC9F-60E1-4297-A2E0-3CB4DB8621B2}" sibTransId="{2B01BAB1-34B1-447F-B55B-E184F755880D}"/>
    <dgm:cxn modelId="{0FE2F928-062D-4352-98D3-B9B3BFD6990F}" type="presOf" srcId="{E79052CB-91D2-43F6-AB60-7CD5589D3123}" destId="{821427A2-7577-4001-9972-FF150C3A59FA}" srcOrd="0" destOrd="0" presId="urn:microsoft.com/office/officeart/2005/8/layout/pyramid1"/>
    <dgm:cxn modelId="{84CC7C54-8F85-4436-BCC4-B851BFAEC9D5}" type="presOf" srcId="{78BAF952-CFC1-448D-BEDD-BA6267CAB83C}" destId="{CBE46C11-676E-4A36-94EB-D7609B09B342}" srcOrd="0" destOrd="0" presId="urn:microsoft.com/office/officeart/2005/8/layout/pyramid1"/>
    <dgm:cxn modelId="{1DB9ACF9-E39B-4B2B-B492-B8DFBFB2EBAA}" type="presOf" srcId="{17DF1C6F-25B8-4505-B3FF-DB827FC3A902}" destId="{EBC712F6-9AAC-4CC2-9AC8-9577A92614D0}" srcOrd="0" destOrd="0" presId="urn:microsoft.com/office/officeart/2005/8/layout/pyramid1"/>
    <dgm:cxn modelId="{A2ED360A-E992-40C0-ABC0-3FF279C5461A}" type="presOf" srcId="{F795AAB0-B8E3-41BD-B733-CC0FA561006B}" destId="{DCD0D12C-01D8-4F12-8E07-CFCD18825CC0}" srcOrd="0" destOrd="0" presId="urn:microsoft.com/office/officeart/2005/8/layout/pyramid1"/>
    <dgm:cxn modelId="{4D6E961E-FB30-4F92-BC4C-8A61886311B3}" type="presOf" srcId="{17DF1C6F-25B8-4505-B3FF-DB827FC3A902}" destId="{23C052F3-7A33-46A0-93C5-9E1917F03F40}" srcOrd="1" destOrd="0" presId="urn:microsoft.com/office/officeart/2005/8/layout/pyramid1"/>
    <dgm:cxn modelId="{F8AFFFEC-5375-4D5E-A6F1-3BD0EAB31AC2}" srcId="{78BAF952-CFC1-448D-BEDD-BA6267CAB83C}" destId="{BB2B02CB-AFBD-41A4-AD7E-B1C903182FBF}" srcOrd="1" destOrd="0" parTransId="{D9B20A70-71B5-4A3B-8FAD-C76C34050876}" sibTransId="{56EA2953-D3BC-42E5-8969-DBF5CBC4741B}"/>
    <dgm:cxn modelId="{9767E6AD-572D-436B-AFA0-FB145D863400}" type="presOf" srcId="{A6BCCA83-47BE-4956-9826-B240A58CE3A0}" destId="{484ABBF3-CD3F-412F-9CA1-8ED30A8EA047}" srcOrd="0" destOrd="0" presId="urn:microsoft.com/office/officeart/2005/8/layout/pyramid1"/>
    <dgm:cxn modelId="{54033953-EF07-4D07-9B3B-EEEBFF76A15E}" type="presOf" srcId="{E79052CB-91D2-43F6-AB60-7CD5589D3123}" destId="{96D37F93-1930-4177-BEE5-90BB645DC3A1}" srcOrd="1" destOrd="0" presId="urn:microsoft.com/office/officeart/2005/8/layout/pyramid1"/>
    <dgm:cxn modelId="{5CD45AED-03E6-4332-9D55-79DB738D8EFE}" type="presOf" srcId="{BB2B02CB-AFBD-41A4-AD7E-B1C903182FBF}" destId="{FAE93D1A-36ED-4CDC-9078-C7D30D7FE604}" srcOrd="1" destOrd="0" presId="urn:microsoft.com/office/officeart/2005/8/layout/pyramid1"/>
    <dgm:cxn modelId="{C92DC3F4-64FC-4B92-B8BB-C9031BB76646}" type="presParOf" srcId="{CBE46C11-676E-4A36-94EB-D7609B09B342}" destId="{7FA5960D-0489-4D51-B8EE-77F57675CD24}" srcOrd="0" destOrd="0" presId="urn:microsoft.com/office/officeart/2005/8/layout/pyramid1"/>
    <dgm:cxn modelId="{83394AE6-BEA5-4AC8-8BDF-C9E86A66F1A8}" type="presParOf" srcId="{7FA5960D-0489-4D51-B8EE-77F57675CD24}" destId="{EBC712F6-9AAC-4CC2-9AC8-9577A92614D0}" srcOrd="0" destOrd="0" presId="urn:microsoft.com/office/officeart/2005/8/layout/pyramid1"/>
    <dgm:cxn modelId="{18808839-D2A0-46C4-AF01-58E2772E0787}" type="presParOf" srcId="{7FA5960D-0489-4D51-B8EE-77F57675CD24}" destId="{23C052F3-7A33-46A0-93C5-9E1917F03F40}" srcOrd="1" destOrd="0" presId="urn:microsoft.com/office/officeart/2005/8/layout/pyramid1"/>
    <dgm:cxn modelId="{B958ED23-CB26-4ED1-A7FB-EFC56284BD61}" type="presParOf" srcId="{CBE46C11-676E-4A36-94EB-D7609B09B342}" destId="{6334A3FB-DFCE-4F4A-A50D-D4A450216444}" srcOrd="1" destOrd="0" presId="urn:microsoft.com/office/officeart/2005/8/layout/pyramid1"/>
    <dgm:cxn modelId="{15C3183B-0AF9-4D4A-8EFF-EB570D600814}" type="presParOf" srcId="{6334A3FB-DFCE-4F4A-A50D-D4A450216444}" destId="{9E0DD72A-B13A-4B29-8F9B-ADA8DF42A410}" srcOrd="0" destOrd="0" presId="urn:microsoft.com/office/officeart/2005/8/layout/pyramid1"/>
    <dgm:cxn modelId="{B714E802-5797-4B68-AD0D-181EBE1C1C92}" type="presParOf" srcId="{6334A3FB-DFCE-4F4A-A50D-D4A450216444}" destId="{FAE93D1A-36ED-4CDC-9078-C7D30D7FE604}" srcOrd="1" destOrd="0" presId="urn:microsoft.com/office/officeart/2005/8/layout/pyramid1"/>
    <dgm:cxn modelId="{038DADEB-3AD2-42CE-AA5A-8184F46FB077}" type="presParOf" srcId="{CBE46C11-676E-4A36-94EB-D7609B09B342}" destId="{0D612EB1-8C38-49AB-8AD4-80C3EA8FD91E}" srcOrd="2" destOrd="0" presId="urn:microsoft.com/office/officeart/2005/8/layout/pyramid1"/>
    <dgm:cxn modelId="{1E6B4712-A3E8-4F98-8BD9-7E36F9A0C8DC}" type="presParOf" srcId="{0D612EB1-8C38-49AB-8AD4-80C3EA8FD91E}" destId="{821427A2-7577-4001-9972-FF150C3A59FA}" srcOrd="0" destOrd="0" presId="urn:microsoft.com/office/officeart/2005/8/layout/pyramid1"/>
    <dgm:cxn modelId="{54AA9293-E609-48B9-9716-7F40A93EA8A9}" type="presParOf" srcId="{0D612EB1-8C38-49AB-8AD4-80C3EA8FD91E}" destId="{96D37F93-1930-4177-BEE5-90BB645DC3A1}" srcOrd="1" destOrd="0" presId="urn:microsoft.com/office/officeart/2005/8/layout/pyramid1"/>
    <dgm:cxn modelId="{BD22B5BC-C79C-44F2-85C0-1D49FB74F039}" type="presParOf" srcId="{CBE46C11-676E-4A36-94EB-D7609B09B342}" destId="{D3EE6B8A-8846-4D12-BB59-23BA41F2EE32}" srcOrd="3" destOrd="0" presId="urn:microsoft.com/office/officeart/2005/8/layout/pyramid1"/>
    <dgm:cxn modelId="{10B4A9FC-61D2-431B-A11A-CC0306007090}" type="presParOf" srcId="{D3EE6B8A-8846-4D12-BB59-23BA41F2EE32}" destId="{484ABBF3-CD3F-412F-9CA1-8ED30A8EA047}" srcOrd="0" destOrd="0" presId="urn:microsoft.com/office/officeart/2005/8/layout/pyramid1"/>
    <dgm:cxn modelId="{ADA4D1C2-9545-498F-8DB7-A6301E2D1426}" type="presParOf" srcId="{D3EE6B8A-8846-4D12-BB59-23BA41F2EE32}" destId="{345B5EB4-F8D3-466A-9A17-4673D0F9E37B}" srcOrd="1" destOrd="0" presId="urn:microsoft.com/office/officeart/2005/8/layout/pyramid1"/>
    <dgm:cxn modelId="{76C2ECBD-CE51-469A-B0A6-7882DDFF1702}" type="presParOf" srcId="{CBE46C11-676E-4A36-94EB-D7609B09B342}" destId="{B6E929A6-8815-4332-9F3C-CA68FC9D8CA4}" srcOrd="4" destOrd="0" presId="urn:microsoft.com/office/officeart/2005/8/layout/pyramid1"/>
    <dgm:cxn modelId="{04B8E373-F7D6-43B3-83EE-500C87649F2A}" type="presParOf" srcId="{B6E929A6-8815-4332-9F3C-CA68FC9D8CA4}" destId="{DCD0D12C-01D8-4F12-8E07-CFCD18825CC0}" srcOrd="0" destOrd="0" presId="urn:microsoft.com/office/officeart/2005/8/layout/pyramid1"/>
    <dgm:cxn modelId="{887D9420-3ECC-4BD6-89FC-04A0C598C7B9}" type="presParOf" srcId="{B6E929A6-8815-4332-9F3C-CA68FC9D8CA4}" destId="{84C64EF9-E3C9-457F-BE07-D95583357803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D54919-E799-4933-B167-317E1D794EB4}" type="doc">
      <dgm:prSet loTypeId="urn:microsoft.com/office/officeart/2009/3/layout/StepUpProcess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2D3990CA-C916-440C-80BD-D75FE27ECE3C}">
      <dgm:prSet phldrT="[Текст]" custT="1"/>
      <dgm:spPr/>
      <dgm:t>
        <a:bodyPr/>
        <a:lstStyle/>
        <a:p>
          <a:r>
            <a:rPr lang="ru-RU" sz="1600" b="1" i="1" dirty="0" smtClean="0">
              <a:solidFill>
                <a:srgbClr val="283E6E"/>
              </a:solidFill>
              <a:latin typeface="Bebas Neue Bold"/>
            </a:rPr>
            <a:t>Корректировка и утверждение Стандарта </a:t>
          </a:r>
          <a:endParaRPr lang="ru-RU" sz="1600" b="1" i="1" dirty="0">
            <a:solidFill>
              <a:srgbClr val="283E6E"/>
            </a:solidFill>
            <a:latin typeface="Bebas Neue Bold"/>
          </a:endParaRPr>
        </a:p>
      </dgm:t>
    </dgm:pt>
    <dgm:pt modelId="{E8F1F926-3D82-44DC-8BA4-2DE0DA51ED46}" type="parTrans" cxnId="{338FD40C-9EA2-46B5-8569-2DF7444FFA4F}">
      <dgm:prSet/>
      <dgm:spPr/>
      <dgm:t>
        <a:bodyPr/>
        <a:lstStyle/>
        <a:p>
          <a:endParaRPr lang="ru-RU"/>
        </a:p>
      </dgm:t>
    </dgm:pt>
    <dgm:pt modelId="{EF5B09D2-523D-413B-8BCF-43DC914089EC}" type="sibTrans" cxnId="{338FD40C-9EA2-46B5-8569-2DF7444FFA4F}">
      <dgm:prSet/>
      <dgm:spPr/>
      <dgm:t>
        <a:bodyPr/>
        <a:lstStyle/>
        <a:p>
          <a:endParaRPr lang="ru-RU"/>
        </a:p>
      </dgm:t>
    </dgm:pt>
    <dgm:pt modelId="{D4EA9FBE-3DD2-466F-8494-5288A40E23BB}">
      <dgm:prSet phldrT="[Текст]" custT="1"/>
      <dgm:spPr/>
      <dgm:t>
        <a:bodyPr/>
        <a:lstStyle/>
        <a:p>
          <a:r>
            <a:rPr lang="ru-RU" sz="1600" b="1" i="1" dirty="0" smtClean="0">
              <a:solidFill>
                <a:srgbClr val="283E6E"/>
              </a:solidFill>
              <a:latin typeface="Bebas Neue Bold"/>
            </a:rPr>
            <a:t>Внедрение инструментов Стандарта во всех регионах страны </a:t>
          </a:r>
          <a:br>
            <a:rPr lang="ru-RU" sz="1600" b="1" i="1" dirty="0" smtClean="0">
              <a:solidFill>
                <a:srgbClr val="283E6E"/>
              </a:solidFill>
              <a:latin typeface="Bebas Neue Bold"/>
            </a:rPr>
          </a:br>
          <a:r>
            <a:rPr lang="ru-RU" sz="1600" b="1" i="1" dirty="0" smtClean="0">
              <a:solidFill>
                <a:srgbClr val="283E6E"/>
              </a:solidFill>
              <a:latin typeface="Bebas Neue Bold"/>
            </a:rPr>
            <a:t>со </a:t>
          </a:r>
          <a:r>
            <a:rPr lang="en-US" sz="1600" b="1" i="1" dirty="0" smtClean="0">
              <a:solidFill>
                <a:srgbClr val="283E6E"/>
              </a:solidFill>
              <a:latin typeface="Bebas Neue Bold"/>
            </a:rPr>
            <a:t>II</a:t>
          </a:r>
          <a:r>
            <a:rPr lang="ru-RU" sz="1600" b="1" i="1" dirty="0" smtClean="0">
              <a:solidFill>
                <a:srgbClr val="283E6E"/>
              </a:solidFill>
              <a:latin typeface="Bebas Neue Bold"/>
            </a:rPr>
            <a:t> кв. 2018 г.</a:t>
          </a:r>
          <a:endParaRPr lang="ru-RU" sz="1600" b="1" i="1" dirty="0">
            <a:solidFill>
              <a:srgbClr val="283E6E"/>
            </a:solidFill>
            <a:latin typeface="Bebas Neue Bold"/>
          </a:endParaRPr>
        </a:p>
      </dgm:t>
    </dgm:pt>
    <dgm:pt modelId="{6FE18159-8E0B-4561-ACF1-C5FF6310A53B}" type="parTrans" cxnId="{DA903C32-FEE8-45A9-986D-ABE6A30CAB76}">
      <dgm:prSet/>
      <dgm:spPr/>
      <dgm:t>
        <a:bodyPr/>
        <a:lstStyle/>
        <a:p>
          <a:endParaRPr lang="ru-RU"/>
        </a:p>
      </dgm:t>
    </dgm:pt>
    <dgm:pt modelId="{9CCB2E1F-B0E4-406D-8459-0691434C03A2}" type="sibTrans" cxnId="{DA903C32-FEE8-45A9-986D-ABE6A30CAB76}">
      <dgm:prSet/>
      <dgm:spPr/>
      <dgm:t>
        <a:bodyPr/>
        <a:lstStyle/>
        <a:p>
          <a:endParaRPr lang="ru-RU"/>
        </a:p>
      </dgm:t>
    </dgm:pt>
    <dgm:pt modelId="{19C12F25-B58F-48CF-8606-0973E3DBBBF2}">
      <dgm:prSet phldrT="[Текст]" custT="1"/>
      <dgm:spPr/>
      <dgm:t>
        <a:bodyPr/>
        <a:lstStyle/>
        <a:p>
          <a:r>
            <a:rPr lang="ru-RU" sz="1600" b="1" i="1" dirty="0" smtClean="0">
              <a:solidFill>
                <a:srgbClr val="283E6E"/>
              </a:solidFill>
              <a:latin typeface="Bebas Neue Bold"/>
            </a:rPr>
            <a:t>Сбор предложений «пилотов» по корректировке Стандарта</a:t>
          </a:r>
          <a:endParaRPr lang="ru-RU" sz="1600" b="1" i="1" dirty="0">
            <a:solidFill>
              <a:srgbClr val="283E6E"/>
            </a:solidFill>
            <a:latin typeface="Bebas Neue Bold"/>
          </a:endParaRPr>
        </a:p>
      </dgm:t>
    </dgm:pt>
    <dgm:pt modelId="{25258A0E-A37F-475F-B501-EAA23786FA79}" type="parTrans" cxnId="{344FAC70-5A8C-4A0B-8BC3-509A6848E7C1}">
      <dgm:prSet/>
      <dgm:spPr/>
      <dgm:t>
        <a:bodyPr/>
        <a:lstStyle/>
        <a:p>
          <a:endParaRPr lang="ru-RU"/>
        </a:p>
      </dgm:t>
    </dgm:pt>
    <dgm:pt modelId="{429051CD-93E9-4097-9218-99312EB0853C}" type="sibTrans" cxnId="{344FAC70-5A8C-4A0B-8BC3-509A6848E7C1}">
      <dgm:prSet/>
      <dgm:spPr/>
      <dgm:t>
        <a:bodyPr/>
        <a:lstStyle/>
        <a:p>
          <a:endParaRPr lang="ru-RU"/>
        </a:p>
      </dgm:t>
    </dgm:pt>
    <dgm:pt modelId="{9C683062-B4C0-43E5-88AE-D5FEA3DE33F9}">
      <dgm:prSet phldrT="[Текст]" custT="1"/>
      <dgm:spPr/>
      <dgm:t>
        <a:bodyPr/>
        <a:lstStyle/>
        <a:p>
          <a:r>
            <a:rPr lang="ru-RU" sz="1600" b="1" i="1" dirty="0" smtClean="0">
              <a:solidFill>
                <a:srgbClr val="283E6E"/>
              </a:solidFill>
              <a:latin typeface="Bebas Neue Bold"/>
            </a:rPr>
            <a:t>Презентация механизмов Стандарта и итогов его «пилотного» внедрения в Сочи </a:t>
          </a:r>
          <a:endParaRPr lang="ru-RU" sz="1600" b="1" i="1" dirty="0">
            <a:solidFill>
              <a:srgbClr val="283E6E"/>
            </a:solidFill>
            <a:latin typeface="Bebas Neue Bold"/>
          </a:endParaRPr>
        </a:p>
      </dgm:t>
    </dgm:pt>
    <dgm:pt modelId="{65076FDE-0AAF-4C0E-8951-B63129EE88AD}" type="parTrans" cxnId="{BAAC5537-03F4-4312-B7F8-DCBA2FA4A514}">
      <dgm:prSet/>
      <dgm:spPr/>
      <dgm:t>
        <a:bodyPr/>
        <a:lstStyle/>
        <a:p>
          <a:endParaRPr lang="ru-RU"/>
        </a:p>
      </dgm:t>
    </dgm:pt>
    <dgm:pt modelId="{FDECC304-F8F8-43F4-BAFE-0FFCA2B2B439}" type="sibTrans" cxnId="{BAAC5537-03F4-4312-B7F8-DCBA2FA4A514}">
      <dgm:prSet/>
      <dgm:spPr/>
      <dgm:t>
        <a:bodyPr/>
        <a:lstStyle/>
        <a:p>
          <a:endParaRPr lang="ru-RU"/>
        </a:p>
      </dgm:t>
    </dgm:pt>
    <dgm:pt modelId="{2E94F162-7848-4B07-9FAF-0744B88DFE29}" type="pres">
      <dgm:prSet presAssocID="{FAD54919-E799-4933-B167-317E1D794EB4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00FE3423-B391-4E05-B78A-9F137E9A31EE}" type="pres">
      <dgm:prSet presAssocID="{19C12F25-B58F-48CF-8606-0973E3DBBBF2}" presName="composite" presStyleCnt="0"/>
      <dgm:spPr/>
    </dgm:pt>
    <dgm:pt modelId="{F5EF4935-D464-454C-8A9A-4350E5B6CA5A}" type="pres">
      <dgm:prSet presAssocID="{19C12F25-B58F-48CF-8606-0973E3DBBBF2}" presName="LShape" presStyleLbl="alignNode1" presStyleIdx="0" presStyleCnt="7"/>
      <dgm:spPr/>
    </dgm:pt>
    <dgm:pt modelId="{5A75FE83-9A20-4298-A046-66BD1613554D}" type="pres">
      <dgm:prSet presAssocID="{19C12F25-B58F-48CF-8606-0973E3DBBBF2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6C854D-DD7A-4421-A5EC-E2246F39F369}" type="pres">
      <dgm:prSet presAssocID="{19C12F25-B58F-48CF-8606-0973E3DBBBF2}" presName="Triangle" presStyleLbl="alignNode1" presStyleIdx="1" presStyleCnt="7"/>
      <dgm:spPr/>
    </dgm:pt>
    <dgm:pt modelId="{A6BD2CFE-6430-4FFB-8548-7A8DC761B14B}" type="pres">
      <dgm:prSet presAssocID="{429051CD-93E9-4097-9218-99312EB0853C}" presName="sibTrans" presStyleCnt="0"/>
      <dgm:spPr/>
    </dgm:pt>
    <dgm:pt modelId="{96B7DD9A-0921-4241-991A-29C504186C81}" type="pres">
      <dgm:prSet presAssocID="{429051CD-93E9-4097-9218-99312EB0853C}" presName="space" presStyleCnt="0"/>
      <dgm:spPr/>
    </dgm:pt>
    <dgm:pt modelId="{351B65E3-1CDB-4296-86E0-D9359BCB456D}" type="pres">
      <dgm:prSet presAssocID="{2D3990CA-C916-440C-80BD-D75FE27ECE3C}" presName="composite" presStyleCnt="0"/>
      <dgm:spPr/>
    </dgm:pt>
    <dgm:pt modelId="{F7831036-23A2-4871-A31E-4150D7C22161}" type="pres">
      <dgm:prSet presAssocID="{2D3990CA-C916-440C-80BD-D75FE27ECE3C}" presName="LShape" presStyleLbl="alignNode1" presStyleIdx="2" presStyleCnt="7" custScaleY="105166"/>
      <dgm:spPr/>
    </dgm:pt>
    <dgm:pt modelId="{53F73BB5-99AA-47AA-82DC-1363D203C3BD}" type="pres">
      <dgm:prSet presAssocID="{2D3990CA-C916-440C-80BD-D75FE27ECE3C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BC343B-A0DD-49DD-8E49-EAEAAC3D0A0F}" type="pres">
      <dgm:prSet presAssocID="{2D3990CA-C916-440C-80BD-D75FE27ECE3C}" presName="Triangle" presStyleLbl="alignNode1" presStyleIdx="3" presStyleCnt="7"/>
      <dgm:spPr/>
    </dgm:pt>
    <dgm:pt modelId="{E3363786-C2A9-4A71-B9F1-723554000574}" type="pres">
      <dgm:prSet presAssocID="{EF5B09D2-523D-413B-8BCF-43DC914089EC}" presName="sibTrans" presStyleCnt="0"/>
      <dgm:spPr/>
    </dgm:pt>
    <dgm:pt modelId="{1EC2C088-1FA0-4BEF-B70B-DE34D364726A}" type="pres">
      <dgm:prSet presAssocID="{EF5B09D2-523D-413B-8BCF-43DC914089EC}" presName="space" presStyleCnt="0"/>
      <dgm:spPr/>
    </dgm:pt>
    <dgm:pt modelId="{7DE8DC60-F4DB-4C85-A8C8-E77CDBFB81E5}" type="pres">
      <dgm:prSet presAssocID="{9C683062-B4C0-43E5-88AE-D5FEA3DE33F9}" presName="composite" presStyleCnt="0"/>
      <dgm:spPr/>
    </dgm:pt>
    <dgm:pt modelId="{F56A7447-0ED1-41B3-A72B-483A1896C6FF}" type="pres">
      <dgm:prSet presAssocID="{9C683062-B4C0-43E5-88AE-D5FEA3DE33F9}" presName="LShape" presStyleLbl="alignNode1" presStyleIdx="4" presStyleCnt="7" custScaleY="98959"/>
      <dgm:spPr/>
    </dgm:pt>
    <dgm:pt modelId="{85F125CE-CFAF-460E-BF22-6871482E7E8F}" type="pres">
      <dgm:prSet presAssocID="{9C683062-B4C0-43E5-88AE-D5FEA3DE33F9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DDD5B5-473A-495D-97C1-1316E5DFC756}" type="pres">
      <dgm:prSet presAssocID="{9C683062-B4C0-43E5-88AE-D5FEA3DE33F9}" presName="Triangle" presStyleLbl="alignNode1" presStyleIdx="5" presStyleCnt="7"/>
      <dgm:spPr/>
    </dgm:pt>
    <dgm:pt modelId="{FC5497DD-148A-46C9-9020-A05B91841D2B}" type="pres">
      <dgm:prSet presAssocID="{FDECC304-F8F8-43F4-BAFE-0FFCA2B2B439}" presName="sibTrans" presStyleCnt="0"/>
      <dgm:spPr/>
    </dgm:pt>
    <dgm:pt modelId="{7A76ADC7-2903-476B-ACCC-83A7C0ED3274}" type="pres">
      <dgm:prSet presAssocID="{FDECC304-F8F8-43F4-BAFE-0FFCA2B2B439}" presName="space" presStyleCnt="0"/>
      <dgm:spPr/>
    </dgm:pt>
    <dgm:pt modelId="{44C0AB81-EEBA-464D-A312-5B8C8C71B555}" type="pres">
      <dgm:prSet presAssocID="{D4EA9FBE-3DD2-466F-8494-5288A40E23BB}" presName="composite" presStyleCnt="0"/>
      <dgm:spPr/>
    </dgm:pt>
    <dgm:pt modelId="{7D9737F8-599A-40F8-AF06-2310D0A94915}" type="pres">
      <dgm:prSet presAssocID="{D4EA9FBE-3DD2-466F-8494-5288A40E23BB}" presName="LShape" presStyleLbl="alignNode1" presStyleIdx="6" presStyleCnt="7"/>
      <dgm:spPr/>
    </dgm:pt>
    <dgm:pt modelId="{AAA29CAC-4BFE-42B7-9B68-77487985F610}" type="pres">
      <dgm:prSet presAssocID="{D4EA9FBE-3DD2-466F-8494-5288A40E23BB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AAC5537-03F4-4312-B7F8-DCBA2FA4A514}" srcId="{FAD54919-E799-4933-B167-317E1D794EB4}" destId="{9C683062-B4C0-43E5-88AE-D5FEA3DE33F9}" srcOrd="2" destOrd="0" parTransId="{65076FDE-0AAF-4C0E-8951-B63129EE88AD}" sibTransId="{FDECC304-F8F8-43F4-BAFE-0FFCA2B2B439}"/>
    <dgm:cxn modelId="{443EF36F-F530-4672-87BD-0364D1190F89}" type="presOf" srcId="{2D3990CA-C916-440C-80BD-D75FE27ECE3C}" destId="{53F73BB5-99AA-47AA-82DC-1363D203C3BD}" srcOrd="0" destOrd="0" presId="urn:microsoft.com/office/officeart/2009/3/layout/StepUpProcess"/>
    <dgm:cxn modelId="{338FD40C-9EA2-46B5-8569-2DF7444FFA4F}" srcId="{FAD54919-E799-4933-B167-317E1D794EB4}" destId="{2D3990CA-C916-440C-80BD-D75FE27ECE3C}" srcOrd="1" destOrd="0" parTransId="{E8F1F926-3D82-44DC-8BA4-2DE0DA51ED46}" sibTransId="{EF5B09D2-523D-413B-8BCF-43DC914089EC}"/>
    <dgm:cxn modelId="{DA903C32-FEE8-45A9-986D-ABE6A30CAB76}" srcId="{FAD54919-E799-4933-B167-317E1D794EB4}" destId="{D4EA9FBE-3DD2-466F-8494-5288A40E23BB}" srcOrd="3" destOrd="0" parTransId="{6FE18159-8E0B-4561-ACF1-C5FF6310A53B}" sibTransId="{9CCB2E1F-B0E4-406D-8459-0691434C03A2}"/>
    <dgm:cxn modelId="{646307F9-5F13-4AEA-A538-E6502416B5F5}" type="presOf" srcId="{9C683062-B4C0-43E5-88AE-D5FEA3DE33F9}" destId="{85F125CE-CFAF-460E-BF22-6871482E7E8F}" srcOrd="0" destOrd="0" presId="urn:microsoft.com/office/officeart/2009/3/layout/StepUpProcess"/>
    <dgm:cxn modelId="{344FAC70-5A8C-4A0B-8BC3-509A6848E7C1}" srcId="{FAD54919-E799-4933-B167-317E1D794EB4}" destId="{19C12F25-B58F-48CF-8606-0973E3DBBBF2}" srcOrd="0" destOrd="0" parTransId="{25258A0E-A37F-475F-B501-EAA23786FA79}" sibTransId="{429051CD-93E9-4097-9218-99312EB0853C}"/>
    <dgm:cxn modelId="{45CDEEBF-FB7C-4CDC-AD3E-5EAABFFCB9E7}" type="presOf" srcId="{FAD54919-E799-4933-B167-317E1D794EB4}" destId="{2E94F162-7848-4B07-9FAF-0744B88DFE29}" srcOrd="0" destOrd="0" presId="urn:microsoft.com/office/officeart/2009/3/layout/StepUpProcess"/>
    <dgm:cxn modelId="{20E9DA58-7578-41F4-A6D5-D96D76AC3424}" type="presOf" srcId="{19C12F25-B58F-48CF-8606-0973E3DBBBF2}" destId="{5A75FE83-9A20-4298-A046-66BD1613554D}" srcOrd="0" destOrd="0" presId="urn:microsoft.com/office/officeart/2009/3/layout/StepUpProcess"/>
    <dgm:cxn modelId="{56945640-4C4C-4806-9C48-5B1C09734CEA}" type="presOf" srcId="{D4EA9FBE-3DD2-466F-8494-5288A40E23BB}" destId="{AAA29CAC-4BFE-42B7-9B68-77487985F610}" srcOrd="0" destOrd="0" presId="urn:microsoft.com/office/officeart/2009/3/layout/StepUpProcess"/>
    <dgm:cxn modelId="{20612B77-B101-4E30-9968-2F7ADEC839CD}" type="presParOf" srcId="{2E94F162-7848-4B07-9FAF-0744B88DFE29}" destId="{00FE3423-B391-4E05-B78A-9F137E9A31EE}" srcOrd="0" destOrd="0" presId="urn:microsoft.com/office/officeart/2009/3/layout/StepUpProcess"/>
    <dgm:cxn modelId="{B8221571-057D-431D-8600-D6D7654160BD}" type="presParOf" srcId="{00FE3423-B391-4E05-B78A-9F137E9A31EE}" destId="{F5EF4935-D464-454C-8A9A-4350E5B6CA5A}" srcOrd="0" destOrd="0" presId="urn:microsoft.com/office/officeart/2009/3/layout/StepUpProcess"/>
    <dgm:cxn modelId="{FC5139F3-0337-42CE-8F1B-CAA95FB9B5F4}" type="presParOf" srcId="{00FE3423-B391-4E05-B78A-9F137E9A31EE}" destId="{5A75FE83-9A20-4298-A046-66BD1613554D}" srcOrd="1" destOrd="0" presId="urn:microsoft.com/office/officeart/2009/3/layout/StepUpProcess"/>
    <dgm:cxn modelId="{B53359F4-780C-44FB-AA84-6D75FAD66639}" type="presParOf" srcId="{00FE3423-B391-4E05-B78A-9F137E9A31EE}" destId="{436C854D-DD7A-4421-A5EC-E2246F39F369}" srcOrd="2" destOrd="0" presId="urn:microsoft.com/office/officeart/2009/3/layout/StepUpProcess"/>
    <dgm:cxn modelId="{F2E06BEE-22A8-4D11-B943-3B714A78A655}" type="presParOf" srcId="{2E94F162-7848-4B07-9FAF-0744B88DFE29}" destId="{A6BD2CFE-6430-4FFB-8548-7A8DC761B14B}" srcOrd="1" destOrd="0" presId="urn:microsoft.com/office/officeart/2009/3/layout/StepUpProcess"/>
    <dgm:cxn modelId="{185A761D-C666-44B6-BE97-153F449D7E67}" type="presParOf" srcId="{A6BD2CFE-6430-4FFB-8548-7A8DC761B14B}" destId="{96B7DD9A-0921-4241-991A-29C504186C81}" srcOrd="0" destOrd="0" presId="urn:microsoft.com/office/officeart/2009/3/layout/StepUpProcess"/>
    <dgm:cxn modelId="{5E9A096D-358C-42DE-85D0-AF8C2700C510}" type="presParOf" srcId="{2E94F162-7848-4B07-9FAF-0744B88DFE29}" destId="{351B65E3-1CDB-4296-86E0-D9359BCB456D}" srcOrd="2" destOrd="0" presId="urn:microsoft.com/office/officeart/2009/3/layout/StepUpProcess"/>
    <dgm:cxn modelId="{A3B96712-94C2-416B-ADDA-812E153E75CA}" type="presParOf" srcId="{351B65E3-1CDB-4296-86E0-D9359BCB456D}" destId="{F7831036-23A2-4871-A31E-4150D7C22161}" srcOrd="0" destOrd="0" presId="urn:microsoft.com/office/officeart/2009/3/layout/StepUpProcess"/>
    <dgm:cxn modelId="{976D3639-F611-4348-BD34-B24BC263497D}" type="presParOf" srcId="{351B65E3-1CDB-4296-86E0-D9359BCB456D}" destId="{53F73BB5-99AA-47AA-82DC-1363D203C3BD}" srcOrd="1" destOrd="0" presId="urn:microsoft.com/office/officeart/2009/3/layout/StepUpProcess"/>
    <dgm:cxn modelId="{D84403F8-9D7A-4F83-AFAF-0F19F9C48CAB}" type="presParOf" srcId="{351B65E3-1CDB-4296-86E0-D9359BCB456D}" destId="{5BBC343B-A0DD-49DD-8E49-EAEAAC3D0A0F}" srcOrd="2" destOrd="0" presId="urn:microsoft.com/office/officeart/2009/3/layout/StepUpProcess"/>
    <dgm:cxn modelId="{3CA73164-4DAA-43A8-BF76-AD76E2209EF2}" type="presParOf" srcId="{2E94F162-7848-4B07-9FAF-0744B88DFE29}" destId="{E3363786-C2A9-4A71-B9F1-723554000574}" srcOrd="3" destOrd="0" presId="urn:microsoft.com/office/officeart/2009/3/layout/StepUpProcess"/>
    <dgm:cxn modelId="{B4C69378-21DF-42F3-B1EA-F05CE4566DD7}" type="presParOf" srcId="{E3363786-C2A9-4A71-B9F1-723554000574}" destId="{1EC2C088-1FA0-4BEF-B70B-DE34D364726A}" srcOrd="0" destOrd="0" presId="urn:microsoft.com/office/officeart/2009/3/layout/StepUpProcess"/>
    <dgm:cxn modelId="{9833CCBA-15EF-4F82-9E60-FB2908A9D54F}" type="presParOf" srcId="{2E94F162-7848-4B07-9FAF-0744B88DFE29}" destId="{7DE8DC60-F4DB-4C85-A8C8-E77CDBFB81E5}" srcOrd="4" destOrd="0" presId="urn:microsoft.com/office/officeart/2009/3/layout/StepUpProcess"/>
    <dgm:cxn modelId="{0DEEB82D-FE1F-4AD6-B36D-8F20A0058061}" type="presParOf" srcId="{7DE8DC60-F4DB-4C85-A8C8-E77CDBFB81E5}" destId="{F56A7447-0ED1-41B3-A72B-483A1896C6FF}" srcOrd="0" destOrd="0" presId="urn:microsoft.com/office/officeart/2009/3/layout/StepUpProcess"/>
    <dgm:cxn modelId="{66ECD654-CBFB-41DF-AD39-084FBC448D22}" type="presParOf" srcId="{7DE8DC60-F4DB-4C85-A8C8-E77CDBFB81E5}" destId="{85F125CE-CFAF-460E-BF22-6871482E7E8F}" srcOrd="1" destOrd="0" presId="urn:microsoft.com/office/officeart/2009/3/layout/StepUpProcess"/>
    <dgm:cxn modelId="{AE776691-FEEF-447C-8C86-AF296AD1DD92}" type="presParOf" srcId="{7DE8DC60-F4DB-4C85-A8C8-E77CDBFB81E5}" destId="{1BDDD5B5-473A-495D-97C1-1316E5DFC756}" srcOrd="2" destOrd="0" presId="urn:microsoft.com/office/officeart/2009/3/layout/StepUpProcess"/>
    <dgm:cxn modelId="{764AA972-846B-4E18-8B01-9B915CE523A8}" type="presParOf" srcId="{2E94F162-7848-4B07-9FAF-0744B88DFE29}" destId="{FC5497DD-148A-46C9-9020-A05B91841D2B}" srcOrd="5" destOrd="0" presId="urn:microsoft.com/office/officeart/2009/3/layout/StepUpProcess"/>
    <dgm:cxn modelId="{A5D85476-7227-4826-AC7F-263015FAFC3E}" type="presParOf" srcId="{FC5497DD-148A-46C9-9020-A05B91841D2B}" destId="{7A76ADC7-2903-476B-ACCC-83A7C0ED3274}" srcOrd="0" destOrd="0" presId="urn:microsoft.com/office/officeart/2009/3/layout/StepUpProcess"/>
    <dgm:cxn modelId="{04AE63F8-5B7A-4DDC-8446-90FACA4EE8E0}" type="presParOf" srcId="{2E94F162-7848-4B07-9FAF-0744B88DFE29}" destId="{44C0AB81-EEBA-464D-A312-5B8C8C71B555}" srcOrd="6" destOrd="0" presId="urn:microsoft.com/office/officeart/2009/3/layout/StepUpProcess"/>
    <dgm:cxn modelId="{C502C993-0040-4DCE-95D1-69AFA1500FFE}" type="presParOf" srcId="{44C0AB81-EEBA-464D-A312-5B8C8C71B555}" destId="{7D9737F8-599A-40F8-AF06-2310D0A94915}" srcOrd="0" destOrd="0" presId="urn:microsoft.com/office/officeart/2009/3/layout/StepUpProcess"/>
    <dgm:cxn modelId="{29D386C5-7259-4647-B707-7BD5F511813C}" type="presParOf" srcId="{44C0AB81-EEBA-464D-A312-5B8C8C71B555}" destId="{AAA29CAC-4BFE-42B7-9B68-77487985F610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712F6-9AAC-4CC2-9AC8-9577A92614D0}">
      <dsp:nvSpPr>
        <dsp:cNvPr id="0" name=""/>
        <dsp:cNvSpPr/>
      </dsp:nvSpPr>
      <dsp:spPr>
        <a:xfrm>
          <a:off x="1684683" y="0"/>
          <a:ext cx="842341" cy="674370"/>
        </a:xfrm>
        <a:prstGeom prst="trapezoid">
          <a:avLst>
            <a:gd name="adj" fmla="val 62454"/>
          </a:avLst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bg1"/>
              </a:solidFill>
            </a:rPr>
            <a:t>3</a:t>
          </a:r>
        </a:p>
      </dsp:txBody>
      <dsp:txXfrm>
        <a:off x="1684683" y="0"/>
        <a:ext cx="842341" cy="674370"/>
      </dsp:txXfrm>
    </dsp:sp>
    <dsp:sp modelId="{9E0DD72A-B13A-4B29-8F9B-ADA8DF42A410}">
      <dsp:nvSpPr>
        <dsp:cNvPr id="0" name=""/>
        <dsp:cNvSpPr/>
      </dsp:nvSpPr>
      <dsp:spPr>
        <a:xfrm>
          <a:off x="1263512" y="674370"/>
          <a:ext cx="1684683" cy="674370"/>
        </a:xfrm>
        <a:prstGeom prst="trapezoid">
          <a:avLst>
            <a:gd name="adj" fmla="val 62454"/>
          </a:avLst>
        </a:prstGeom>
        <a:solidFill>
          <a:schemeClr val="accent1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bg1"/>
              </a:solidFill>
            </a:rPr>
            <a:t>7  </a:t>
          </a:r>
          <a:br>
            <a:rPr lang="ru-RU" sz="2000" b="1" kern="1200" dirty="0" smtClean="0">
              <a:solidFill>
                <a:schemeClr val="bg1"/>
              </a:solidFill>
            </a:rPr>
          </a:br>
          <a:r>
            <a:rPr lang="ru-RU" sz="1200" b="1" i="1" kern="1200" dirty="0" smtClean="0">
              <a:solidFill>
                <a:schemeClr val="bg1"/>
              </a:solidFill>
            </a:rPr>
            <a:t>с экспортным результатом</a:t>
          </a:r>
          <a:endParaRPr lang="ru-RU" sz="2000" b="1" kern="1200" dirty="0">
            <a:solidFill>
              <a:schemeClr val="bg1"/>
            </a:solidFill>
          </a:endParaRPr>
        </a:p>
      </dsp:txBody>
      <dsp:txXfrm>
        <a:off x="1558331" y="674370"/>
        <a:ext cx="1095044" cy="674370"/>
      </dsp:txXfrm>
    </dsp:sp>
    <dsp:sp modelId="{821427A2-7577-4001-9972-FF150C3A59FA}">
      <dsp:nvSpPr>
        <dsp:cNvPr id="0" name=""/>
        <dsp:cNvSpPr/>
      </dsp:nvSpPr>
      <dsp:spPr>
        <a:xfrm>
          <a:off x="842341" y="1348741"/>
          <a:ext cx="2527024" cy="674370"/>
        </a:xfrm>
        <a:prstGeom prst="trapezoid">
          <a:avLst>
            <a:gd name="adj" fmla="val 62454"/>
          </a:avLst>
        </a:prstGeom>
        <a:solidFill>
          <a:schemeClr val="accent1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>
              <a:solidFill>
                <a:schemeClr val="bg1"/>
              </a:solidFill>
            </a:rPr>
            <a:t>15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i="1" kern="1200" dirty="0" smtClean="0">
              <a:solidFill>
                <a:schemeClr val="bg1"/>
              </a:solidFill>
            </a:rPr>
            <a:t>вывезли компании</a:t>
          </a:r>
          <a:endParaRPr lang="ru-RU" sz="1200" b="1" i="1" kern="1200" dirty="0">
            <a:solidFill>
              <a:schemeClr val="bg1"/>
            </a:solidFill>
          </a:endParaRPr>
        </a:p>
      </dsp:txBody>
      <dsp:txXfrm>
        <a:off x="1284570" y="1348741"/>
        <a:ext cx="1642566" cy="674370"/>
      </dsp:txXfrm>
    </dsp:sp>
    <dsp:sp modelId="{484ABBF3-CD3F-412F-9CA1-8ED30A8EA047}">
      <dsp:nvSpPr>
        <dsp:cNvPr id="0" name=""/>
        <dsp:cNvSpPr/>
      </dsp:nvSpPr>
      <dsp:spPr>
        <a:xfrm>
          <a:off x="421170" y="2023112"/>
          <a:ext cx="3369366" cy="674370"/>
        </a:xfrm>
        <a:prstGeom prst="trapezoid">
          <a:avLst>
            <a:gd name="adj" fmla="val 62454"/>
          </a:avLst>
        </a:prstGeom>
        <a:solidFill>
          <a:schemeClr val="accent1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>
              <a:solidFill>
                <a:schemeClr val="bg1"/>
              </a:solidFill>
            </a:rPr>
            <a:t>17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i="1" kern="1200" dirty="0" smtClean="0">
              <a:solidFill>
                <a:schemeClr val="bg1"/>
              </a:solidFill>
            </a:rPr>
            <a:t>«пилотов» провели визиты</a:t>
          </a:r>
          <a:endParaRPr lang="ru-RU" sz="1200" b="1" i="1" kern="1200" dirty="0">
            <a:solidFill>
              <a:schemeClr val="bg1"/>
            </a:solidFill>
          </a:endParaRPr>
        </a:p>
      </dsp:txBody>
      <dsp:txXfrm>
        <a:off x="1010809" y="2023112"/>
        <a:ext cx="2190088" cy="674370"/>
      </dsp:txXfrm>
    </dsp:sp>
    <dsp:sp modelId="{DCD0D12C-01D8-4F12-8E07-CFCD18825CC0}">
      <dsp:nvSpPr>
        <dsp:cNvPr id="0" name=""/>
        <dsp:cNvSpPr/>
      </dsp:nvSpPr>
      <dsp:spPr>
        <a:xfrm>
          <a:off x="0" y="2697483"/>
          <a:ext cx="4211708" cy="674370"/>
        </a:xfrm>
        <a:prstGeom prst="trapezoid">
          <a:avLst>
            <a:gd name="adj" fmla="val 62454"/>
          </a:avLst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kern="1200" dirty="0" smtClean="0">
              <a:solidFill>
                <a:schemeClr val="bg1"/>
              </a:solidFill>
            </a:rPr>
            <a:t>22 </a:t>
          </a:r>
          <a:r>
            <a:rPr lang="ru-RU" sz="3600" b="1" i="1" kern="1200" dirty="0" smtClean="0">
              <a:solidFill>
                <a:schemeClr val="bg1"/>
              </a:solidFill>
            </a:rPr>
            <a:t>«пилота»</a:t>
          </a:r>
          <a:endParaRPr lang="ru-RU" sz="3600" b="1" i="1" kern="1200" dirty="0">
            <a:solidFill>
              <a:schemeClr val="bg1"/>
            </a:solidFill>
          </a:endParaRPr>
        </a:p>
      </dsp:txBody>
      <dsp:txXfrm>
        <a:off x="737048" y="2697483"/>
        <a:ext cx="2737610" cy="6743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6D8DB7-0DC8-46EA-9ED1-C55EEAB39992}" type="datetimeFigureOut">
              <a:rPr lang="ru-RU" smtClean="0"/>
              <a:t>16.11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94F277-B43A-4B89-80A5-AF2A1463655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854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12A28B-9424-440C-88CF-CC8D74EEAD0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9059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892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051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просы:</a:t>
            </a:r>
          </a:p>
          <a:p>
            <a:pPr marL="228600" indent="-228600">
              <a:buAutoNum type="arabicParenR"/>
            </a:pPr>
            <a:r>
              <a:rPr lang="ru-RU" dirty="0" smtClean="0"/>
              <a:t>Как работает каждый формат</a:t>
            </a:r>
            <a:r>
              <a:rPr lang="ru-RU" baseline="0" dirty="0" smtClean="0"/>
              <a:t> (средняя стоимость 1 представительства)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Чем обусловлен выбор стран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Какой формат возможен к внедрению в других «пилотах»?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3639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просы:</a:t>
            </a:r>
          </a:p>
          <a:p>
            <a:pPr marL="228600" indent="-228600">
              <a:buAutoNum type="arabicParenR"/>
            </a:pPr>
            <a:r>
              <a:rPr lang="ru-RU" dirty="0" smtClean="0"/>
              <a:t>Как повысить эффективность визитов с точки зрения экспорта?</a:t>
            </a:r>
          </a:p>
          <a:p>
            <a:pPr marL="228600" indent="-228600">
              <a:buAutoNum type="arabicParenR"/>
            </a:pPr>
            <a:r>
              <a:rPr lang="ru-RU" dirty="0" smtClean="0"/>
              <a:t>Как формируется график визитов руководства за рубеж на год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69158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просы:</a:t>
            </a:r>
          </a:p>
          <a:p>
            <a:pPr marL="228600" indent="-228600">
              <a:buAutoNum type="arabicParenR"/>
            </a:pPr>
            <a:r>
              <a:rPr lang="ru-RU" dirty="0" smtClean="0"/>
              <a:t>Как измерить эффективность</a:t>
            </a:r>
            <a:r>
              <a:rPr lang="ru-RU" baseline="0" dirty="0" smtClean="0"/>
              <a:t> и как ее повысить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Справедливо ли учитывать в качестве дней международного бизнеса региона форумы федерального значения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Возможна ли кооперация по федеральным округам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Возможно ли проведение МПК в регионе? У кого есть подобный опыт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6169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просы: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На сколько эффективно создание бренда региона для целей экспорта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Ведется ли работа по созданию межрегиональных брендов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Кто обладает опытом продвижения бренда регионального продукта? На сколько это эффективно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Кто обладает опытом поддержки продвижения региональных компаний на внешних рынках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Нужны ли дополнительная поддержка для компаний, бренд которых связан с регионом?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Бренд для развития экспортного потенциала должен быть на английском языке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8339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луб экспортеров Удмуртской Республики: информация на сайте не актуальная: «Очередная встреча Экспорт-клуба состоится 23 декабря 2014 года»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0" dirty="0" smtClean="0">
                <a:solidFill>
                  <a:srgbClr val="283E6E"/>
                </a:solidFill>
              </a:rPr>
              <a:t>Ассоциация</a:t>
            </a:r>
            <a:r>
              <a:rPr lang="ru-RU" sz="1200" i="0" baseline="0" dirty="0" smtClean="0">
                <a:solidFill>
                  <a:srgbClr val="283E6E"/>
                </a:solidFill>
              </a:rPr>
              <a:t> экспортеров Ленинградской области: </a:t>
            </a:r>
            <a:r>
              <a:rPr lang="ru-RU" sz="1200" i="0" dirty="0" smtClean="0">
                <a:solidFill>
                  <a:srgbClr val="283E6E"/>
                </a:solidFill>
              </a:rPr>
              <a:t>участие только для членов ТПП, информация об ассоциации в открытом доступе отсутствует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0" dirty="0" smtClean="0">
                <a:solidFill>
                  <a:srgbClr val="283E6E"/>
                </a:solidFill>
              </a:rPr>
              <a:t>Некоммерческое партнерство «Ульяновское областное объединение Экспортеров и Импортеров по развитию внешнеэкономической деятельности»: сайта нет (40 членов,</a:t>
            </a:r>
            <a:r>
              <a:rPr lang="ru-RU" sz="1200" i="0" baseline="0" dirty="0" smtClean="0">
                <a:solidFill>
                  <a:srgbClr val="283E6E"/>
                </a:solidFill>
              </a:rPr>
              <a:t> в том числе иностранные компании, в прошлого года не работает, по поручению Губернатора создается ассоциация ульяновского бизнеса</a:t>
            </a:r>
            <a:r>
              <a:rPr lang="ru-RU" sz="1200" i="0" dirty="0" smtClean="0">
                <a:solidFill>
                  <a:srgbClr val="283E6E"/>
                </a:solidFill>
              </a:rPr>
              <a:t>)</a:t>
            </a:r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866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полнительные показатели предлагается скорректировать</a:t>
            </a:r>
            <a:r>
              <a:rPr lang="ru-RU" baseline="0" dirty="0" smtClean="0"/>
              <a:t>:</a:t>
            </a:r>
          </a:p>
          <a:p>
            <a:r>
              <a:rPr lang="ru-RU" baseline="0" dirty="0" smtClean="0"/>
              <a:t>Количество экспортеров из числа МСП – прирост не менее 10% в год, но не менее 100 </a:t>
            </a:r>
            <a:r>
              <a:rPr lang="ru-RU" baseline="0" dirty="0" err="1" smtClean="0"/>
              <a:t>шт</a:t>
            </a:r>
            <a:r>
              <a:rPr lang="ru-RU" baseline="0" dirty="0" smtClean="0"/>
              <a:t> в 2018, 200 в 2020, 500 в 2025</a:t>
            </a:r>
          </a:p>
          <a:p>
            <a:r>
              <a:rPr lang="ru-RU" dirty="0" smtClean="0"/>
              <a:t>Диверсификация географии поставок – прирост количества стран</a:t>
            </a:r>
            <a:r>
              <a:rPr lang="ru-RU" baseline="0" dirty="0" smtClean="0"/>
              <a:t> не менее 10% в год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4F277-B43A-4B89-80A5-AF2A14636550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5792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1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155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363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162" y="496330"/>
            <a:ext cx="6713838" cy="2077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80" y="455141"/>
            <a:ext cx="1717966" cy="67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836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162" y="496330"/>
            <a:ext cx="6713838" cy="2077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80" y="455141"/>
            <a:ext cx="1717966" cy="67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93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7489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07153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788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808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709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189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46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5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gif"/><Relationship Id="rId13" Type="http://schemas.openxmlformats.org/officeDocument/2006/relationships/image" Target="../media/image53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png"/><Relationship Id="rId9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pn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3.png"/><Relationship Id="rId7" Type="http://schemas.openxmlformats.org/officeDocument/2006/relationships/image" Target="../media/image12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jpeg"/><Relationship Id="rId4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3" Type="http://schemas.openxmlformats.org/officeDocument/2006/relationships/image" Target="../media/image5.jpg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5" Type="http://schemas.openxmlformats.org/officeDocument/2006/relationships/image" Target="../media/image17.jpeg"/><Relationship Id="rId10" Type="http://schemas.openxmlformats.org/officeDocument/2006/relationships/image" Target="../media/image12.png"/><Relationship Id="rId4" Type="http://schemas.openxmlformats.org/officeDocument/2006/relationships/image" Target="../media/image6.jpeg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png"/><Relationship Id="rId7" Type="http://schemas.openxmlformats.org/officeDocument/2006/relationships/image" Target="../media/image17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7.png"/><Relationship Id="rId10" Type="http://schemas.openxmlformats.org/officeDocument/2006/relationships/image" Target="../media/image14.jpeg"/><Relationship Id="rId4" Type="http://schemas.openxmlformats.org/officeDocument/2006/relationships/image" Target="../media/image6.jpe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4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jpe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Relationship Id="rId1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2981" y="5381311"/>
            <a:ext cx="7740906" cy="13335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 smtClean="0">
                <a:solidFill>
                  <a:srgbClr val="283E6E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недрение Регионального экспортного стандарта в «пилотных» регионах</a:t>
            </a:r>
            <a:endParaRPr lang="ru-RU" sz="2800" b="1" dirty="0">
              <a:solidFill>
                <a:srgbClr val="283E6E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algn="l"/>
            <a:endParaRPr lang="ru-RU" sz="1600" b="1" dirty="0" smtClean="0">
              <a:solidFill>
                <a:srgbClr val="283E6E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algn="l"/>
            <a:endParaRPr lang="ru-RU" sz="1600" b="1" dirty="0">
              <a:solidFill>
                <a:srgbClr val="283E6E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2636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28" r="968"/>
          <a:stretch/>
        </p:blipFill>
        <p:spPr bwMode="auto">
          <a:xfrm>
            <a:off x="2325494" y="1214789"/>
            <a:ext cx="6818507" cy="3286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065020" y="740850"/>
            <a:ext cx="7078981" cy="844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</a:t>
            </a:r>
            <a:r>
              <a:rPr lang="ru-RU" dirty="0"/>
              <a:t>создания экспортной экосистемы</a:t>
            </a:r>
          </a:p>
          <a:p>
            <a:r>
              <a:rPr lang="ru-RU" dirty="0" smtClean="0"/>
              <a:t>обучение</a:t>
            </a:r>
            <a:endParaRPr lang="ru-RU" dirty="0"/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176332" y="1360499"/>
            <a:ext cx="2265890" cy="206850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5" tIns="19202" rIns="38405" bIns="19202" rtlCol="0" anchor="ctr"/>
          <a:lstStyle/>
          <a:p>
            <a:pPr defTabSz="768096"/>
            <a:endParaRPr lang="ru-RU" sz="1500">
              <a:solidFill>
                <a:prstClr val="white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5416" y="4586932"/>
            <a:ext cx="8984974" cy="2154436"/>
          </a:xfrm>
          <a:prstGeom prst="rect">
            <a:avLst/>
          </a:prstGeom>
          <a:solidFill>
            <a:srgbClr val="F1F1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5" tIns="19202" rIns="38405" bIns="19202" rtlCol="0" anchor="ctr"/>
          <a:lstStyle/>
          <a:p>
            <a:pPr defTabSz="768096"/>
            <a:endParaRPr lang="ru-RU" sz="1500">
              <a:solidFill>
                <a:prstClr val="white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27454" y="4581128"/>
            <a:ext cx="2025225" cy="1854661"/>
          </a:xfrm>
          <a:prstGeom prst="rect">
            <a:avLst/>
          </a:prstGeom>
        </p:spPr>
        <p:txBody>
          <a:bodyPr wrap="square" lIns="38405" tIns="19202" rIns="38405" bIns="19202" numCol="1">
            <a:spAutoFit/>
          </a:bodyPr>
          <a:lstStyle/>
          <a:p>
            <a:pPr defTabSz="768096"/>
            <a:r>
              <a:rPr lang="ru-RU" sz="1200" b="1" dirty="0">
                <a:solidFill>
                  <a:srgbClr val="C00000"/>
                </a:solidFill>
              </a:rPr>
              <a:t>2016 :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Волгоград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Нижегород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Красноярский край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Республика Башкортостан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Республика Татарстан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Ростовская область</a:t>
            </a:r>
            <a:endParaRPr lang="en-US" sz="1200" dirty="0">
              <a:solidFill>
                <a:srgbClr val="1F497D"/>
              </a:solidFill>
            </a:endParaRP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Самар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endParaRPr lang="ru-RU" sz="1000" dirty="0">
              <a:solidFill>
                <a:srgbClr val="1F497D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981084" y="4586933"/>
            <a:ext cx="1768887" cy="1885438"/>
          </a:xfrm>
          <a:prstGeom prst="rect">
            <a:avLst/>
          </a:prstGeom>
        </p:spPr>
        <p:txBody>
          <a:bodyPr wrap="square" lIns="38405" tIns="19202" rIns="38405" bIns="19202" numCol="1">
            <a:spAutoFit/>
          </a:bodyPr>
          <a:lstStyle/>
          <a:p>
            <a:pPr defTabSz="768096"/>
            <a:r>
              <a:rPr lang="ru-RU" sz="1200" b="1" dirty="0">
                <a:solidFill>
                  <a:srgbClr val="1F497D">
                    <a:lumMod val="60000"/>
                    <a:lumOff val="40000"/>
                  </a:srgbClr>
                </a:solidFill>
              </a:rPr>
              <a:t>2017 </a:t>
            </a:r>
            <a:r>
              <a:rPr lang="ru-RU" sz="1200" dirty="0">
                <a:solidFill>
                  <a:srgbClr val="1F497D">
                    <a:lumMod val="60000"/>
                    <a:lumOff val="40000"/>
                  </a:srgbClr>
                </a:solidFill>
              </a:rPr>
              <a:t>: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Алтайский край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Брян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Вологод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Воронеж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Кемеров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Курган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Новосибирская область</a:t>
            </a:r>
          </a:p>
          <a:p>
            <a:pPr marL="288036" indent="-216027" defTabSz="768096">
              <a:buFont typeface="+mj-lt"/>
              <a:buAutoNum type="arabicPeriod"/>
            </a:pPr>
            <a:r>
              <a:rPr lang="ru-RU" sz="1200" dirty="0">
                <a:solidFill>
                  <a:srgbClr val="1F497D"/>
                </a:solidFill>
              </a:rPr>
              <a:t>Москв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97077" y="3466022"/>
            <a:ext cx="1700154" cy="962109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defTabSz="768096"/>
            <a:r>
              <a:rPr lang="ru-RU" sz="3000" b="1" dirty="0" smtClean="0">
                <a:solidFill>
                  <a:srgbClr val="C00000"/>
                </a:solidFill>
              </a:rPr>
              <a:t>119</a:t>
            </a:r>
            <a:r>
              <a:rPr lang="ru-RU" sz="1500" b="1" dirty="0" smtClean="0">
                <a:solidFill>
                  <a:srgbClr val="C00000"/>
                </a:solidFill>
              </a:rPr>
              <a:t>                               </a:t>
            </a:r>
            <a:r>
              <a:rPr lang="ru-RU" sz="3000" b="1" dirty="0" smtClean="0">
                <a:solidFill>
                  <a:srgbClr val="C00000"/>
                </a:solidFill>
              </a:rPr>
              <a:t>3693</a:t>
            </a:r>
            <a:endParaRPr lang="ru-RU" sz="1200" dirty="0">
              <a:solidFill>
                <a:srgbClr val="1F497D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7338347" y="4802376"/>
            <a:ext cx="1822512" cy="777443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marL="288036" indent="-216027" defTabSz="768096">
              <a:buFont typeface="+mj-lt"/>
              <a:buAutoNum type="arabicPeriod" startAt="17"/>
            </a:pPr>
            <a:r>
              <a:rPr lang="ru-RU" sz="1200" dirty="0">
                <a:solidFill>
                  <a:srgbClr val="1F497D"/>
                </a:solidFill>
              </a:rPr>
              <a:t>Смоленская область</a:t>
            </a:r>
          </a:p>
          <a:p>
            <a:pPr marL="288036" indent="-216027" defTabSz="768096">
              <a:buFont typeface="+mj-lt"/>
              <a:buAutoNum type="arabicPeriod" startAt="17"/>
            </a:pPr>
            <a:r>
              <a:rPr lang="ru-RU" sz="1200" dirty="0">
                <a:solidFill>
                  <a:srgbClr val="1F497D"/>
                </a:solidFill>
              </a:rPr>
              <a:t>Томская область</a:t>
            </a:r>
          </a:p>
          <a:p>
            <a:pPr marL="288036" indent="-216027" defTabSz="768096">
              <a:buFont typeface="+mj-lt"/>
              <a:buAutoNum type="arabicPeriod" startAt="17"/>
            </a:pPr>
            <a:r>
              <a:rPr lang="ru-RU" sz="1200" dirty="0">
                <a:solidFill>
                  <a:srgbClr val="1F497D"/>
                </a:solidFill>
              </a:rPr>
              <a:t>Тульская область</a:t>
            </a:r>
          </a:p>
          <a:p>
            <a:pPr marL="288036" indent="-216027" defTabSz="768096">
              <a:buFont typeface="+mj-lt"/>
              <a:buAutoNum type="arabicPeriod" startAt="17"/>
            </a:pPr>
            <a:r>
              <a:rPr lang="ru-RU" sz="1200" dirty="0">
                <a:solidFill>
                  <a:srgbClr val="1F497D"/>
                </a:solidFill>
              </a:rPr>
              <a:t>Тюменская область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963658" y="4797153"/>
            <a:ext cx="1944216" cy="1146775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marL="288036" indent="-216027" defTabSz="768096">
              <a:buFont typeface="+mj-lt"/>
              <a:buAutoNum type="arabicPeriod" startAt="8"/>
            </a:pPr>
            <a:r>
              <a:rPr lang="ru-RU" sz="1200" dirty="0">
                <a:solidFill>
                  <a:srgbClr val="1F497D"/>
                </a:solidFill>
              </a:rPr>
              <a:t>Санкт-Петербург</a:t>
            </a:r>
          </a:p>
          <a:p>
            <a:pPr marL="288036" indent="-216027" defTabSz="768096">
              <a:buFont typeface="+mj-lt"/>
              <a:buAutoNum type="arabicPeriod" startAt="8"/>
            </a:pPr>
            <a:r>
              <a:rPr lang="ru-RU" sz="1200" dirty="0">
                <a:solidFill>
                  <a:srgbClr val="1F497D"/>
                </a:solidFill>
              </a:rPr>
              <a:t>Свердловская область</a:t>
            </a:r>
          </a:p>
          <a:p>
            <a:pPr marL="288036" indent="-216027" defTabSz="768096">
              <a:buFont typeface="+mj-lt"/>
              <a:buAutoNum type="arabicPeriod" startAt="8"/>
            </a:pPr>
            <a:r>
              <a:rPr lang="ru-RU" sz="1200" dirty="0">
                <a:solidFill>
                  <a:srgbClr val="1F497D"/>
                </a:solidFill>
              </a:rPr>
              <a:t>Ульяновская область</a:t>
            </a:r>
          </a:p>
          <a:p>
            <a:pPr marL="288036" indent="-216027" defTabSz="768096">
              <a:buFont typeface="+mj-lt"/>
              <a:buAutoNum type="arabicPeriod" startAt="8"/>
            </a:pPr>
            <a:r>
              <a:rPr lang="ru-RU" sz="1200" dirty="0">
                <a:solidFill>
                  <a:srgbClr val="1F497D"/>
                </a:solidFill>
              </a:rPr>
              <a:t>Хабаровский край</a:t>
            </a:r>
          </a:p>
          <a:p>
            <a:pPr marL="288036" indent="-216027" defTabSz="768096">
              <a:buFont typeface="+mj-lt"/>
              <a:buAutoNum type="arabicPeriod" startAt="8"/>
            </a:pPr>
            <a:r>
              <a:rPr lang="ru-RU" sz="1200" dirty="0">
                <a:solidFill>
                  <a:srgbClr val="1F497D"/>
                </a:solidFill>
              </a:rPr>
              <a:t>ХМАО-Югра</a:t>
            </a:r>
          </a:p>
          <a:p>
            <a:pPr marL="288036" indent="-216027" defTabSz="768096">
              <a:buFont typeface="+mj-lt"/>
              <a:buAutoNum type="arabicPeriod" startAt="8"/>
            </a:pPr>
            <a:r>
              <a:rPr lang="ru-RU" sz="1200" dirty="0">
                <a:solidFill>
                  <a:srgbClr val="1F497D"/>
                </a:solidFill>
              </a:rPr>
              <a:t>Челябинская област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169690" y="3508188"/>
            <a:ext cx="1129130" cy="438889"/>
          </a:xfrm>
          <a:prstGeom prst="rect">
            <a:avLst/>
          </a:prstGeom>
        </p:spPr>
        <p:txBody>
          <a:bodyPr wrap="none" lIns="38405" tIns="19202" rIns="38405" bIns="19202">
            <a:spAutoFit/>
          </a:bodyPr>
          <a:lstStyle/>
          <a:p>
            <a:pPr defTabSz="768096"/>
            <a:r>
              <a:rPr lang="ru-RU" sz="1300" dirty="0">
                <a:solidFill>
                  <a:srgbClr val="1F497D"/>
                </a:solidFill>
              </a:rPr>
              <a:t>региональных </a:t>
            </a:r>
          </a:p>
          <a:p>
            <a:pPr defTabSz="768096"/>
            <a:r>
              <a:rPr lang="ru-RU" sz="1300" dirty="0">
                <a:solidFill>
                  <a:srgbClr val="1F497D"/>
                </a:solidFill>
              </a:rPr>
              <a:t>тренеров 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292281" y="1379384"/>
            <a:ext cx="764072" cy="808220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defTabSz="768096"/>
            <a:r>
              <a:rPr lang="ru-RU" sz="5000" b="1" dirty="0">
                <a:solidFill>
                  <a:srgbClr val="4F81BD">
                    <a:lumMod val="75000"/>
                  </a:srgbClr>
                </a:solidFill>
              </a:rPr>
              <a:t>11</a:t>
            </a:r>
            <a:endParaRPr lang="ru-RU" sz="5000"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137361" y="1528046"/>
            <a:ext cx="1350151" cy="638943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defTabSz="768096"/>
            <a:r>
              <a:rPr lang="ru-RU" sz="1300" dirty="0">
                <a:solidFill>
                  <a:srgbClr val="1F497D"/>
                </a:solidFill>
              </a:rPr>
              <a:t>курсов образовательной программы РЭЦ</a:t>
            </a:r>
            <a:endParaRPr lang="ru-RU" sz="1300" dirty="0">
              <a:solidFill>
                <a:prstClr val="black"/>
              </a:solidFill>
            </a:endParaRPr>
          </a:p>
        </p:txBody>
      </p:sp>
      <p:cxnSp>
        <p:nvCxnSpPr>
          <p:cNvPr id="56" name="Прямая соединительная линия 55"/>
          <p:cNvCxnSpPr>
            <a:stCxn id="45" idx="1"/>
            <a:endCxn id="45" idx="3"/>
          </p:cNvCxnSpPr>
          <p:nvPr/>
        </p:nvCxnSpPr>
        <p:spPr>
          <a:xfrm>
            <a:off x="176332" y="2394750"/>
            <a:ext cx="22658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300269" y="2528900"/>
            <a:ext cx="2025225" cy="777443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defTabSz="768096"/>
            <a:r>
              <a:rPr lang="ru-RU" sz="1200" dirty="0">
                <a:solidFill>
                  <a:srgbClr val="1F497D"/>
                </a:solidFill>
              </a:rPr>
              <a:t>8 курсов программы были запущены в 2016 г., 3 курса будут разработаны и запущены в 2017 г.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5686363" y="4812538"/>
            <a:ext cx="1822512" cy="1516107"/>
          </a:xfrm>
          <a:prstGeom prst="rect">
            <a:avLst/>
          </a:prstGeom>
        </p:spPr>
        <p:txBody>
          <a:bodyPr wrap="square" lIns="38405" tIns="19202" rIns="38405" bIns="19202">
            <a:spAutoFit/>
          </a:bodyPr>
          <a:lstStyle/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Омская область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Ярославская область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Республика Бурятия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Республика Карелия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Республика Удмуртия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Рязанская область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Саратовская область</a:t>
            </a:r>
          </a:p>
          <a:p>
            <a:pPr marL="288036" indent="-216027" defTabSz="768096">
              <a:buFont typeface="+mj-lt"/>
              <a:buAutoNum type="arabicPeriod" startAt="9"/>
            </a:pPr>
            <a:r>
              <a:rPr lang="ru-RU" sz="1200" dirty="0">
                <a:solidFill>
                  <a:srgbClr val="1F497D"/>
                </a:solidFill>
              </a:rPr>
              <a:t>Севастополь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185399" y="3996692"/>
            <a:ext cx="1140095" cy="438889"/>
          </a:xfrm>
          <a:prstGeom prst="rect">
            <a:avLst/>
          </a:prstGeom>
        </p:spPr>
        <p:txBody>
          <a:bodyPr wrap="none" lIns="38405" tIns="19202" rIns="38405" bIns="19202">
            <a:spAutoFit/>
          </a:bodyPr>
          <a:lstStyle/>
          <a:p>
            <a:pPr defTabSz="768096"/>
            <a:r>
              <a:rPr lang="ru-RU" sz="1300" dirty="0">
                <a:solidFill>
                  <a:srgbClr val="1F497D"/>
                </a:solidFill>
              </a:rPr>
              <a:t>выданных </a:t>
            </a:r>
          </a:p>
          <a:p>
            <a:pPr defTabSz="768096"/>
            <a:r>
              <a:rPr lang="ru-RU" sz="1300" dirty="0">
                <a:solidFill>
                  <a:srgbClr val="1F497D"/>
                </a:solidFill>
              </a:rPr>
              <a:t>удостоверения</a:t>
            </a:r>
            <a:endParaRPr lang="ru-RU" sz="13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67767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0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762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C:\Users\minaeva\Desktop\значки для презы\todo-list_318-10185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049" y="1910836"/>
            <a:ext cx="712553" cy="71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065020" y="664650"/>
            <a:ext cx="7078981" cy="844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</a:t>
            </a:r>
            <a:r>
              <a:rPr lang="ru-RU" dirty="0"/>
              <a:t>создания экспортной экосистемы</a:t>
            </a:r>
          </a:p>
          <a:p>
            <a:r>
              <a:rPr lang="ru-RU" dirty="0" smtClean="0"/>
              <a:t>Клуб экспортеров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867767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1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66977" y="1434081"/>
            <a:ext cx="4301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283E6E"/>
                </a:solidFill>
              </a:rPr>
              <a:t>Условия </a:t>
            </a:r>
          </a:p>
          <a:p>
            <a:pPr algn="ctr"/>
            <a:r>
              <a:rPr lang="ru-RU" sz="1600" b="1" u="sng" dirty="0" smtClean="0">
                <a:solidFill>
                  <a:srgbClr val="283E6E"/>
                </a:solidFill>
              </a:rPr>
              <a:t>Регионального экспортного стандарта</a:t>
            </a:r>
            <a:endParaRPr lang="ru-RU" sz="1600" b="1" u="sng" dirty="0">
              <a:solidFill>
                <a:srgbClr val="283E6E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564049" y="1995777"/>
            <a:ext cx="15902" cy="4762832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6196891" y="1572282"/>
            <a:ext cx="14119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u="sng" dirty="0">
                <a:solidFill>
                  <a:srgbClr val="283E6E"/>
                </a:solidFill>
              </a:rPr>
              <a:t>Альтернатив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62000" y="2049336"/>
            <a:ext cx="36195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solidFill>
                  <a:srgbClr val="283E6E"/>
                </a:solidFill>
              </a:rPr>
              <a:t>Поощрение создания объединений и ассоциаций экспортеров, торговых домов на территории регион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20981" y="2937331"/>
            <a:ext cx="4247651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b="1" dirty="0" smtClean="0">
                <a:solidFill>
                  <a:srgbClr val="283E6E"/>
                </a:solidFill>
              </a:rPr>
              <a:t>Площадка для </a:t>
            </a:r>
            <a:r>
              <a:rPr lang="ru-RU" sz="1100" b="1" dirty="0">
                <a:solidFill>
                  <a:srgbClr val="283E6E"/>
                </a:solidFill>
              </a:rPr>
              <a:t>обмена опытом, </a:t>
            </a:r>
            <a:r>
              <a:rPr lang="ru-RU" sz="1100" b="1" dirty="0" smtClean="0">
                <a:solidFill>
                  <a:srgbClr val="283E6E"/>
                </a:solidFill>
              </a:rPr>
              <a:t>решения </a:t>
            </a:r>
            <a:r>
              <a:rPr lang="ru-RU" sz="1100" b="1" dirty="0">
                <a:solidFill>
                  <a:srgbClr val="283E6E"/>
                </a:solidFill>
              </a:rPr>
              <a:t>общих проблем продвижения товаров и услуг </a:t>
            </a:r>
            <a:r>
              <a:rPr lang="ru-RU" sz="1100" b="1" dirty="0" smtClean="0">
                <a:solidFill>
                  <a:srgbClr val="283E6E"/>
                </a:solidFill>
              </a:rPr>
              <a:t>за рубеж</a:t>
            </a:r>
          </a:p>
          <a:p>
            <a:endParaRPr lang="ru-RU" sz="1100" b="1" dirty="0" smtClean="0">
              <a:solidFill>
                <a:srgbClr val="283E6E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b="1" dirty="0">
                <a:solidFill>
                  <a:srgbClr val="283E6E"/>
                </a:solidFill>
              </a:rPr>
              <a:t>Кооперация региональных компаний для вывода совместного продукта за </a:t>
            </a:r>
            <a:r>
              <a:rPr lang="ru-RU" sz="1100" b="1" dirty="0" smtClean="0">
                <a:solidFill>
                  <a:srgbClr val="283E6E"/>
                </a:solidFill>
              </a:rPr>
              <a:t>рубеж (коммерческие </a:t>
            </a:r>
            <a:r>
              <a:rPr lang="ru-RU" sz="1100" b="1" dirty="0">
                <a:solidFill>
                  <a:srgbClr val="283E6E"/>
                </a:solidFill>
              </a:rPr>
              <a:t>торговые дома</a:t>
            </a:r>
            <a:r>
              <a:rPr lang="ru-RU" sz="1100" b="1" dirty="0" smtClean="0">
                <a:solidFill>
                  <a:srgbClr val="283E6E"/>
                </a:solidFill>
              </a:rPr>
              <a:t>)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66977" y="4110361"/>
            <a:ext cx="4301655" cy="2648248"/>
          </a:xfrm>
          <a:prstGeom prst="rect">
            <a:avLst/>
          </a:prstGeom>
          <a:solidFill>
            <a:schemeClr val="bg1"/>
          </a:solidFill>
          <a:ln w="3492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Удмуртская Республика</a:t>
            </a:r>
          </a:p>
          <a:p>
            <a:r>
              <a:rPr lang="ru-RU" sz="1400" b="1" dirty="0" smtClean="0">
                <a:solidFill>
                  <a:srgbClr val="283E6E"/>
                </a:solidFill>
              </a:rPr>
              <a:t>Экспорт-клуб </a:t>
            </a:r>
            <a:r>
              <a:rPr lang="ru-RU" sz="1400" dirty="0" smtClean="0">
                <a:solidFill>
                  <a:srgbClr val="283E6E"/>
                </a:solidFill>
              </a:rPr>
              <a:t>создан в 2013 году ЦПЭ и Деловой Россией </a:t>
            </a:r>
          </a:p>
          <a:p>
            <a:endParaRPr lang="ru-RU" sz="800" dirty="0" smtClean="0">
              <a:solidFill>
                <a:srgbClr val="283E6E"/>
              </a:solidFill>
            </a:endParaRPr>
          </a:p>
          <a:p>
            <a:r>
              <a:rPr lang="ru-RU" sz="1400" b="1" dirty="0">
                <a:solidFill>
                  <a:srgbClr val="283E6E"/>
                </a:solidFill>
              </a:rPr>
              <a:t>Ульяновская </a:t>
            </a:r>
            <a:r>
              <a:rPr lang="ru-RU" sz="1400" b="1" dirty="0" smtClean="0">
                <a:solidFill>
                  <a:srgbClr val="283E6E"/>
                </a:solidFill>
              </a:rPr>
              <a:t>область</a:t>
            </a:r>
          </a:p>
          <a:p>
            <a:r>
              <a:rPr lang="ru-RU" sz="1400" b="1" dirty="0" smtClean="0">
                <a:solidFill>
                  <a:srgbClr val="283E6E"/>
                </a:solidFill>
              </a:rPr>
              <a:t>Некоммерческое партнерство экспортеров </a:t>
            </a:r>
            <a:r>
              <a:rPr lang="ru-RU" sz="1400" b="1" dirty="0">
                <a:solidFill>
                  <a:srgbClr val="283E6E"/>
                </a:solidFill>
              </a:rPr>
              <a:t>и </a:t>
            </a:r>
            <a:r>
              <a:rPr lang="ru-RU" sz="1400" b="1" dirty="0" smtClean="0">
                <a:solidFill>
                  <a:srgbClr val="283E6E"/>
                </a:solidFill>
              </a:rPr>
              <a:t>импортеров </a:t>
            </a:r>
          </a:p>
          <a:p>
            <a:r>
              <a:rPr lang="ru-RU" sz="1400" dirty="0" smtClean="0">
                <a:solidFill>
                  <a:srgbClr val="283E6E"/>
                </a:solidFill>
              </a:rPr>
              <a:t>создано </a:t>
            </a:r>
            <a:r>
              <a:rPr lang="ru-RU" sz="1400" dirty="0">
                <a:solidFill>
                  <a:srgbClr val="283E6E"/>
                </a:solidFill>
              </a:rPr>
              <a:t>в </a:t>
            </a:r>
            <a:r>
              <a:rPr lang="ru-RU" sz="1400" dirty="0" smtClean="0">
                <a:solidFill>
                  <a:srgbClr val="283E6E"/>
                </a:solidFill>
              </a:rPr>
              <a:t>2013 году ЦПЭ</a:t>
            </a:r>
            <a:endParaRPr lang="ru-RU" sz="1400" b="1" dirty="0" smtClean="0">
              <a:solidFill>
                <a:srgbClr val="283E6E"/>
              </a:solidFill>
            </a:endParaRPr>
          </a:p>
          <a:p>
            <a:endParaRPr lang="ru-RU" sz="800" i="1" dirty="0">
              <a:solidFill>
                <a:srgbClr val="283E6E"/>
              </a:solidFill>
            </a:endParaRPr>
          </a:p>
          <a:p>
            <a:r>
              <a:rPr lang="ru-RU" sz="1400" b="1" dirty="0" smtClean="0">
                <a:solidFill>
                  <a:srgbClr val="283E6E"/>
                </a:solidFill>
              </a:rPr>
              <a:t>Ленинградская область</a:t>
            </a:r>
          </a:p>
          <a:p>
            <a:r>
              <a:rPr lang="ru-RU" sz="1400" b="1" dirty="0" smtClean="0">
                <a:solidFill>
                  <a:srgbClr val="283E6E"/>
                </a:solidFill>
              </a:rPr>
              <a:t>Ассоциация </a:t>
            </a:r>
            <a:r>
              <a:rPr lang="ru-RU" sz="1400" b="1" dirty="0">
                <a:solidFill>
                  <a:srgbClr val="283E6E"/>
                </a:solidFill>
              </a:rPr>
              <a:t>экспортеров и импортеров при ТПП </a:t>
            </a:r>
            <a:r>
              <a:rPr lang="ru-RU" sz="1400" dirty="0" smtClean="0">
                <a:solidFill>
                  <a:srgbClr val="283E6E"/>
                </a:solidFill>
              </a:rPr>
              <a:t>создана </a:t>
            </a:r>
            <a:r>
              <a:rPr lang="ru-RU" sz="1400" dirty="0">
                <a:solidFill>
                  <a:srgbClr val="283E6E"/>
                </a:solidFill>
              </a:rPr>
              <a:t>в </a:t>
            </a:r>
            <a:r>
              <a:rPr lang="ru-RU" sz="1400" dirty="0" smtClean="0">
                <a:solidFill>
                  <a:srgbClr val="283E6E"/>
                </a:solidFill>
              </a:rPr>
              <a:t>2005 году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05400" y="2034949"/>
            <a:ext cx="39321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283E6E"/>
                </a:solidFill>
              </a:defRPr>
            </a:lvl1pPr>
          </a:lstStyle>
          <a:p>
            <a:r>
              <a:rPr lang="ru-RU" dirty="0"/>
              <a:t>Наполнение повестки отраслевых ассоциаций региона экспортной тематикой</a:t>
            </a:r>
          </a:p>
        </p:txBody>
      </p:sp>
      <p:pic>
        <p:nvPicPr>
          <p:cNvPr id="1026" name="Picture 2" descr="C:\Users\minaeva\Desktop\значки для презы\naesp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540" y="5697772"/>
            <a:ext cx="1173480" cy="10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inaeva\Desktop\значки для презы\1491895152_prodexpor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814" y="5945476"/>
            <a:ext cx="931545" cy="838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inaeva\Desktop\значки для презы\ff922edcb35738040178b594ee8fa9c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503" y="5917750"/>
            <a:ext cx="1314450" cy="817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inaeva\Desktop\значки для презы\p2_df60a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9112" y="4884337"/>
            <a:ext cx="1090820" cy="836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inaeva\Desktop\значки для презы\logo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0223" y="5316053"/>
            <a:ext cx="1302066" cy="49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196840" y="3450007"/>
            <a:ext cx="385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283E6E"/>
                </a:solidFill>
              </a:defRPr>
            </a:lvl1pPr>
          </a:lstStyle>
          <a:p>
            <a:r>
              <a:rPr lang="ru-RU" dirty="0"/>
              <a:t>Координация участия бизнеса в существующих союзах и ассоциациях экспортеров</a:t>
            </a:r>
          </a:p>
        </p:txBody>
      </p:sp>
      <p:pic>
        <p:nvPicPr>
          <p:cNvPr id="1029" name="Picture 5" descr="C:\Users\minaeva\Desktop\значки для презы\0173634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581" y="5966884"/>
            <a:ext cx="876300" cy="509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minaeva\Desktop\значки для презы\mse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510" y="4712922"/>
            <a:ext cx="1514475" cy="856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minaeva\Desktop\значки для презы\logo-2212635-moskva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893" y="5347252"/>
            <a:ext cx="1042988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4579952" y="4025079"/>
            <a:ext cx="4516430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83E6E"/>
                </a:solidFill>
              </a:rPr>
              <a:t> </a:t>
            </a:r>
            <a:r>
              <a:rPr lang="ru-RU" sz="1100" b="1" dirty="0">
                <a:solidFill>
                  <a:srgbClr val="283E6E"/>
                </a:solidFill>
              </a:rPr>
              <a:t>Определение количества региональных компаний – членов национальных и региональных ассоциаций экспортеров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83E6E"/>
                </a:solidFill>
              </a:rPr>
              <a:t> </a:t>
            </a:r>
            <a:r>
              <a:rPr lang="ru-RU" sz="1100" b="1" dirty="0">
                <a:solidFill>
                  <a:srgbClr val="C00000"/>
                </a:solidFill>
              </a:rPr>
              <a:t>Получение обратной связи по эффективности членства в союзах в рамках Экспортного совет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100" dirty="0">
              <a:solidFill>
                <a:srgbClr val="283E6E"/>
              </a:solidFill>
            </a:endParaRPr>
          </a:p>
        </p:txBody>
      </p:sp>
      <p:pic>
        <p:nvPicPr>
          <p:cNvPr id="26" name="Picture 6" descr="C:\Users\minaeva\Desktop\значки для презы\staff-people-group-in-a-circular-arrow_318-52415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" y="2001859"/>
            <a:ext cx="611505" cy="611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4627571" y="2607463"/>
            <a:ext cx="443471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83E6E"/>
                </a:solidFill>
              </a:rPr>
              <a:t> </a:t>
            </a:r>
            <a:r>
              <a:rPr lang="ru-RU" sz="1100" b="1" dirty="0" smtClean="0">
                <a:solidFill>
                  <a:srgbClr val="C00000"/>
                </a:solidFill>
              </a:rPr>
              <a:t>Сертификация</a:t>
            </a:r>
            <a:r>
              <a:rPr lang="ru-RU" sz="1100" b="1" dirty="0" smtClean="0">
                <a:solidFill>
                  <a:srgbClr val="283E6E"/>
                </a:solidFill>
              </a:rPr>
              <a:t> продукции отрасли на вешних рынках</a:t>
            </a:r>
            <a:endParaRPr lang="ru-RU" sz="1100" b="1" dirty="0">
              <a:solidFill>
                <a:srgbClr val="283E6E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83E6E"/>
                </a:solidFill>
              </a:rPr>
              <a:t> </a:t>
            </a:r>
            <a:r>
              <a:rPr lang="ru-RU" sz="1100" b="1" dirty="0" smtClean="0">
                <a:solidFill>
                  <a:srgbClr val="283E6E"/>
                </a:solidFill>
              </a:rPr>
              <a:t>Оптимизация </a:t>
            </a:r>
            <a:r>
              <a:rPr lang="ru-RU" sz="1100" b="1" dirty="0" smtClean="0">
                <a:solidFill>
                  <a:srgbClr val="C00000"/>
                </a:solidFill>
              </a:rPr>
              <a:t>логистики</a:t>
            </a:r>
            <a:r>
              <a:rPr lang="ru-RU" sz="1100" b="1" dirty="0" smtClean="0">
                <a:solidFill>
                  <a:srgbClr val="283E6E"/>
                </a:solidFill>
              </a:rPr>
              <a:t> отрасли за рубеж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100" b="1" dirty="0" smtClean="0">
                <a:solidFill>
                  <a:srgbClr val="283E6E"/>
                </a:solidFill>
              </a:rPr>
              <a:t> </a:t>
            </a:r>
            <a:r>
              <a:rPr lang="ru-RU" sz="1100" b="1" dirty="0" smtClean="0">
                <a:solidFill>
                  <a:srgbClr val="C00000"/>
                </a:solidFill>
              </a:rPr>
              <a:t>Кооперация</a:t>
            </a:r>
            <a:r>
              <a:rPr lang="ru-RU" sz="1100" b="1" dirty="0" smtClean="0">
                <a:solidFill>
                  <a:srgbClr val="283E6E"/>
                </a:solidFill>
              </a:rPr>
              <a:t> для выхода на новый рынок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100" b="1" dirty="0">
              <a:solidFill>
                <a:srgbClr val="C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100" dirty="0">
              <a:solidFill>
                <a:srgbClr val="283E6E"/>
              </a:solidFill>
            </a:endParaRPr>
          </a:p>
        </p:txBody>
      </p:sp>
      <p:pic>
        <p:nvPicPr>
          <p:cNvPr id="1035" name="Picture 11" descr="C:\Users\minaeva\Desktop\значки для презы\magnifying-glass_318-62143.jpg"/>
          <p:cNvPicPr>
            <a:picLocks noChangeAspect="1" noChangeArrowheads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535" y="3489774"/>
            <a:ext cx="535305" cy="535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8472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70481" y="7027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Ресурсное обеспечение внедрения стандарта</a:t>
            </a:r>
            <a:endParaRPr lang="ru-RU" dirty="0"/>
          </a:p>
        </p:txBody>
      </p:sp>
      <p:sp>
        <p:nvSpPr>
          <p:cNvPr id="16" name="Овал 4"/>
          <p:cNvSpPr/>
          <p:nvPr/>
        </p:nvSpPr>
        <p:spPr>
          <a:xfrm>
            <a:off x="4746911" y="2051221"/>
            <a:ext cx="1142999" cy="80822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7940" tIns="27940" rIns="27940" bIns="27940" numCol="1" spcCol="1270" anchor="ctr" anchorCtr="0">
            <a:noAutofit/>
          </a:bodyPr>
          <a:lstStyle/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200" dirty="0" smtClean="0"/>
              <a:t>Дни </a:t>
            </a:r>
            <a:r>
              <a:rPr lang="ru-RU" sz="1600" dirty="0" smtClean="0"/>
              <a:t>бизнеса</a:t>
            </a:r>
            <a:endParaRPr lang="ru-RU" sz="1000" kern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4889227" y="1025983"/>
            <a:ext cx="41537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b="1" dirty="0">
                <a:solidFill>
                  <a:srgbClr val="A40000"/>
                </a:solidFill>
              </a:rPr>
              <a:t>0,01% ВРП или не менее 50 млн рублей</a:t>
            </a:r>
            <a:endParaRPr lang="ru-RU" dirty="0"/>
          </a:p>
          <a:p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146521" y="1695174"/>
            <a:ext cx="28745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Владимир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     </a:t>
            </a:r>
            <a:r>
              <a:rPr lang="ru-RU" sz="1100" b="1" dirty="0" smtClean="0">
                <a:solidFill>
                  <a:srgbClr val="C00000"/>
                </a:solidFill>
              </a:rPr>
              <a:t>50,0 </a:t>
            </a:r>
            <a:r>
              <a:rPr lang="ru-RU" sz="1100" b="1" dirty="0">
                <a:solidFill>
                  <a:srgbClr val="C00000"/>
                </a:solidFill>
              </a:rPr>
              <a:t>млн руб.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4674" y="1989816"/>
            <a:ext cx="28729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Тульская </a:t>
            </a:r>
            <a:r>
              <a:rPr lang="ru-RU" sz="1100" b="1" dirty="0">
                <a:solidFill>
                  <a:srgbClr val="283E6E"/>
                </a:solidFill>
              </a:rPr>
              <a:t>область   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 </a:t>
            </a:r>
            <a:r>
              <a:rPr lang="ru-RU" sz="1100" b="1" dirty="0" smtClean="0">
                <a:solidFill>
                  <a:srgbClr val="C00000"/>
                </a:solidFill>
              </a:rPr>
              <a:t>50,0 </a:t>
            </a:r>
            <a:r>
              <a:rPr lang="ru-RU" sz="1100" b="1" dirty="0">
                <a:solidFill>
                  <a:srgbClr val="C00000"/>
                </a:solidFill>
              </a:rPr>
              <a:t>млн руб.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1501" y="2277666"/>
            <a:ext cx="29065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ензен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</a:t>
            </a:r>
            <a:r>
              <a:rPr lang="ru-RU" sz="1100" b="1" dirty="0" smtClean="0">
                <a:solidFill>
                  <a:srgbClr val="C00000"/>
                </a:solidFill>
              </a:rPr>
              <a:t>50,0 </a:t>
            </a:r>
            <a:r>
              <a:rPr lang="ru-RU" sz="1100" b="1" dirty="0">
                <a:solidFill>
                  <a:srgbClr val="C00000"/>
                </a:solidFill>
              </a:rPr>
              <a:t>млн руб.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41330" y="1843385"/>
            <a:ext cx="28793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язан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  </a:t>
            </a:r>
            <a:r>
              <a:rPr lang="ru-RU" sz="1100" b="1" dirty="0" smtClean="0">
                <a:solidFill>
                  <a:srgbClr val="C00000"/>
                </a:solidFill>
              </a:rPr>
              <a:t>50,0 </a:t>
            </a:r>
            <a:r>
              <a:rPr lang="ru-RU" sz="1100" b="1" dirty="0">
                <a:solidFill>
                  <a:srgbClr val="C00000"/>
                </a:solidFill>
              </a:rPr>
              <a:t>млн руб.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45005" y="2579983"/>
            <a:ext cx="29193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Башкортостан      </a:t>
            </a:r>
            <a:r>
              <a:rPr lang="ru-RU" sz="1100" b="1" dirty="0" smtClean="0">
                <a:solidFill>
                  <a:srgbClr val="C00000"/>
                </a:solidFill>
              </a:rPr>
              <a:t>131,7 </a:t>
            </a:r>
            <a:r>
              <a:rPr lang="ru-RU" sz="1100" b="1" dirty="0">
                <a:solidFill>
                  <a:srgbClr val="C00000"/>
                </a:solidFill>
              </a:rPr>
              <a:t>млн руб.</a:t>
            </a:r>
          </a:p>
          <a:p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37080" y="2431174"/>
            <a:ext cx="28953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ермский край                           </a:t>
            </a:r>
            <a:r>
              <a:rPr lang="ru-RU" sz="1100" b="1" dirty="0" smtClean="0">
                <a:solidFill>
                  <a:srgbClr val="C00000"/>
                </a:solidFill>
              </a:rPr>
              <a:t>104,8 </a:t>
            </a:r>
            <a:r>
              <a:rPr lang="ru-RU" sz="1100" b="1" dirty="0">
                <a:solidFill>
                  <a:srgbClr val="C00000"/>
                </a:solidFill>
              </a:rPr>
              <a:t>млн руб</a:t>
            </a:r>
            <a:r>
              <a:rPr lang="ru-RU" sz="1100" b="1" dirty="0" smtClean="0">
                <a:solidFill>
                  <a:srgbClr val="C00000"/>
                </a:solidFill>
              </a:rPr>
              <a:t>.</a:t>
            </a:r>
            <a:endParaRPr lang="ru-RU" sz="1100" b="1" dirty="0">
              <a:solidFill>
                <a:srgbClr val="C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40619" y="2864629"/>
            <a:ext cx="29001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Удмуртская Республика             </a:t>
            </a:r>
            <a:r>
              <a:rPr lang="ru-RU" sz="1100" b="1" dirty="0" smtClean="0">
                <a:solidFill>
                  <a:srgbClr val="C00000"/>
                </a:solidFill>
              </a:rPr>
              <a:t>50,0 </a:t>
            </a:r>
            <a:r>
              <a:rPr lang="ru-RU" sz="1100" b="1" dirty="0">
                <a:solidFill>
                  <a:srgbClr val="C00000"/>
                </a:solidFill>
              </a:rPr>
              <a:t>млн руб</a:t>
            </a:r>
            <a:r>
              <a:rPr lang="ru-RU" sz="1100" b="1" dirty="0" smtClean="0">
                <a:solidFill>
                  <a:srgbClr val="C00000"/>
                </a:solidFill>
              </a:rPr>
              <a:t>.</a:t>
            </a:r>
            <a:endParaRPr lang="ru-RU" sz="1100" b="1" dirty="0">
              <a:solidFill>
                <a:srgbClr val="C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37080" y="2722779"/>
            <a:ext cx="290816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Татарстан               </a:t>
            </a:r>
            <a:r>
              <a:rPr lang="ru-RU" sz="1100" b="1" dirty="0" smtClean="0">
                <a:solidFill>
                  <a:srgbClr val="C00000"/>
                </a:solidFill>
              </a:rPr>
              <a:t>183,3 млн руб.</a:t>
            </a:r>
            <a:endParaRPr lang="ru-RU" sz="1100" b="1" dirty="0">
              <a:solidFill>
                <a:srgbClr val="C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36912" y="3011599"/>
            <a:ext cx="38106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Ульяновская область 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50,0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          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2483" y="3298567"/>
            <a:ext cx="28873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Калининград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</a:t>
            </a:r>
            <a:r>
              <a:rPr lang="ru-RU" sz="1100" b="1" dirty="0" smtClean="0">
                <a:solidFill>
                  <a:srgbClr val="A40000"/>
                </a:solidFill>
              </a:rPr>
              <a:t>50,0 </a:t>
            </a:r>
            <a:r>
              <a:rPr lang="ru-RU" sz="1100" b="1" dirty="0">
                <a:solidFill>
                  <a:srgbClr val="A40000"/>
                </a:solidFill>
              </a:rPr>
              <a:t>млн руб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0676" y="3439370"/>
            <a:ext cx="29690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Ленинградская область              </a:t>
            </a:r>
            <a:r>
              <a:rPr lang="ru-RU" sz="1100" b="1" dirty="0" smtClean="0">
                <a:solidFill>
                  <a:srgbClr val="A40000"/>
                </a:solidFill>
              </a:rPr>
              <a:t>85,3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39783" y="3578197"/>
            <a:ext cx="29274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Новгород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</a:t>
            </a:r>
            <a:r>
              <a:rPr lang="ru-RU" sz="1100" b="1" dirty="0" smtClean="0">
                <a:solidFill>
                  <a:srgbClr val="A40000"/>
                </a:solidFill>
              </a:rPr>
              <a:t>50,0 </a:t>
            </a:r>
            <a:r>
              <a:rPr lang="ru-RU" sz="1100" b="1" dirty="0">
                <a:solidFill>
                  <a:srgbClr val="A40000"/>
                </a:solidFill>
              </a:rPr>
              <a:t>млн руб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38794" y="3728168"/>
            <a:ext cx="28905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сков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50,0 </a:t>
            </a:r>
            <a:r>
              <a:rPr lang="ru-RU" sz="1100" b="1" dirty="0">
                <a:solidFill>
                  <a:srgbClr val="A40000"/>
                </a:solidFill>
              </a:rPr>
              <a:t>млн руб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39014" y="4015297"/>
            <a:ext cx="289855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Волгоградская область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73,5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39951" y="4151190"/>
            <a:ext cx="29161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</a:t>
            </a:r>
            <a:r>
              <a:rPr lang="ru-RU" sz="1100" b="1" dirty="0">
                <a:solidFill>
                  <a:srgbClr val="283E6E"/>
                </a:solidFill>
              </a:rPr>
              <a:t>Крым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50,0 </a:t>
            </a:r>
            <a:r>
              <a:rPr lang="ru-RU" sz="1100" b="1" dirty="0">
                <a:solidFill>
                  <a:srgbClr val="A40000"/>
                </a:solidFill>
              </a:rPr>
              <a:t>млн руб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37795" y="4300998"/>
            <a:ext cx="30091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остовская область  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117,1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9121" y="5194243"/>
            <a:ext cx="29322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Челябинская область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117,0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0587" y="4610770"/>
            <a:ext cx="29145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Ставропольский край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60,9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41223" y="4913965"/>
            <a:ext cx="29129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Курганская </a:t>
            </a:r>
            <a:r>
              <a:rPr lang="ru-RU" sz="1100" b="1" dirty="0">
                <a:solidFill>
                  <a:srgbClr val="283E6E"/>
                </a:solidFill>
              </a:rPr>
              <a:t>область  </a:t>
            </a:r>
            <a:r>
              <a:rPr lang="ru-RU" sz="1100" b="1" dirty="0" smtClean="0">
                <a:solidFill>
                  <a:srgbClr val="283E6E"/>
                </a:solidFill>
              </a:rPr>
              <a:t>  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50,0 </a:t>
            </a:r>
            <a:r>
              <a:rPr lang="ru-RU" sz="1100" b="1" dirty="0">
                <a:solidFill>
                  <a:srgbClr val="A40000"/>
                </a:solidFill>
              </a:rPr>
              <a:t>млн руб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32967" y="5052938"/>
            <a:ext cx="29354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Свердловская область              </a:t>
            </a:r>
            <a:r>
              <a:rPr lang="ru-RU" sz="1100" b="1" dirty="0" smtClean="0">
                <a:solidFill>
                  <a:srgbClr val="A40000"/>
                </a:solidFill>
              </a:rPr>
              <a:t>177,9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0619" y="5593735"/>
            <a:ext cx="29562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Новосибирская область             </a:t>
            </a:r>
            <a:r>
              <a:rPr lang="ru-RU" sz="1100" b="1" dirty="0" smtClean="0">
                <a:solidFill>
                  <a:srgbClr val="A40000"/>
                </a:solidFill>
              </a:rPr>
              <a:t>100,0 млн </a:t>
            </a:r>
            <a:r>
              <a:rPr lang="ru-RU" sz="1100" b="1" dirty="0">
                <a:solidFill>
                  <a:srgbClr val="A40000"/>
                </a:solidFill>
              </a:rPr>
              <a:t>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52101" y="5921397"/>
            <a:ext cx="28712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Хабаровский край                       </a:t>
            </a:r>
            <a:r>
              <a:rPr lang="ru-RU" sz="1100" b="1" dirty="0" smtClean="0">
                <a:solidFill>
                  <a:srgbClr val="A40000"/>
                </a:solidFill>
              </a:rPr>
              <a:t>57,1 </a:t>
            </a:r>
            <a:r>
              <a:rPr lang="ru-RU" sz="1100" b="1" dirty="0">
                <a:solidFill>
                  <a:srgbClr val="A40000"/>
                </a:solidFill>
              </a:rPr>
              <a:t>млн руб</a:t>
            </a:r>
            <a:r>
              <a:rPr lang="ru-RU" sz="1100" b="1" dirty="0" smtClean="0">
                <a:solidFill>
                  <a:srgbClr val="A40000"/>
                </a:solidFill>
              </a:rPr>
              <a:t>.</a:t>
            </a:r>
            <a:endParaRPr lang="ru-RU" sz="1100" b="1" dirty="0">
              <a:solidFill>
                <a:srgbClr val="A4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52640" y="1311048"/>
            <a:ext cx="14934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Рекомендуемый бюджет на 2018 год</a:t>
            </a:r>
            <a:endParaRPr lang="ru-RU" sz="1100" b="1" dirty="0">
              <a:solidFill>
                <a:srgbClr val="283E6E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208557"/>
              </p:ext>
            </p:extLst>
          </p:nvPr>
        </p:nvGraphicFramePr>
        <p:xfrm>
          <a:off x="3474720" y="1889087"/>
          <a:ext cx="5471160" cy="428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36720"/>
                <a:gridCol w="123444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татья расходов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Рекомендуемая сумма (млн руб.)</a:t>
                      </a:r>
                      <a:endParaRPr lang="ru-RU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ЦПЭ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10 – 15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Обеспечение интересов региона за рубежом (не менее 3 представительств/торговых домов)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10 – 30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Визиты за рубеж с участием бизнес-делегаций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3-5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Дни</a:t>
                      </a:r>
                      <a:r>
                        <a:rPr lang="ru-RU" sz="1200" b="1" baseline="0" dirty="0" smtClean="0">
                          <a:solidFill>
                            <a:srgbClr val="283E6E"/>
                          </a:solidFill>
                        </a:rPr>
                        <a:t> международного бизнеса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5 – 15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Создание и продвижение регионального бренда, субсидия</a:t>
                      </a:r>
                      <a:r>
                        <a:rPr lang="ru-RU" sz="1200" b="1" baseline="0" dirty="0" smtClean="0">
                          <a:solidFill>
                            <a:srgbClr val="283E6E"/>
                          </a:solidFill>
                        </a:rPr>
                        <a:t> на продвижение брендов компаний, связанных с местностью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1</a:t>
                      </a:r>
                      <a:r>
                        <a:rPr lang="ru-RU" smtClean="0">
                          <a:solidFill>
                            <a:srgbClr val="283E6E"/>
                          </a:solidFill>
                        </a:rPr>
                        <a:t>0 </a:t>
                      </a:r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– 50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Создание</a:t>
                      </a:r>
                      <a:r>
                        <a:rPr lang="ru-RU" sz="1200" b="1" baseline="0" dirty="0" smtClean="0">
                          <a:solidFill>
                            <a:srgbClr val="283E6E"/>
                          </a:solidFill>
                        </a:rPr>
                        <a:t> и продвижение информационного ресурса в сети «Интернет»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3 – 5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Обучение начинающих экспортеров и госслужащих вопросам ведения</a:t>
                      </a:r>
                      <a:r>
                        <a:rPr lang="ru-RU" sz="1200" b="1" baseline="0" dirty="0" smtClean="0">
                          <a:solidFill>
                            <a:srgbClr val="283E6E"/>
                          </a:solidFill>
                        </a:rPr>
                        <a:t> экспортной деятельности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3</a:t>
                      </a:r>
                      <a:r>
                        <a:rPr lang="ru-RU" baseline="0" dirty="0" smtClean="0">
                          <a:solidFill>
                            <a:srgbClr val="283E6E"/>
                          </a:solidFill>
                        </a:rPr>
                        <a:t> – 5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Проведение выборочных</a:t>
                      </a:r>
                      <a:r>
                        <a:rPr lang="ru-RU" sz="1200" b="1" baseline="0" dirty="0" smtClean="0">
                          <a:solidFill>
                            <a:srgbClr val="283E6E"/>
                          </a:solidFill>
                        </a:rPr>
                        <a:t> и сплошных исследований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3 – 5 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283E6E"/>
                          </a:solidFill>
                        </a:rPr>
                        <a:t>Инициативные инструменты региона</a:t>
                      </a:r>
                      <a:endParaRPr lang="ru-RU" sz="1200" b="1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…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2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41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70481" y="7408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Статистические ориентиры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234820"/>
              </p:ext>
            </p:extLst>
          </p:nvPr>
        </p:nvGraphicFramePr>
        <p:xfrm>
          <a:off x="377601" y="1833361"/>
          <a:ext cx="8468141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76439"/>
                <a:gridCol w="746760"/>
                <a:gridCol w="792480"/>
                <a:gridCol w="826231"/>
                <a:gridCol w="826231"/>
              </a:tblGrid>
              <a:tr h="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1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1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2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25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Рост объема </a:t>
                      </a:r>
                      <a:r>
                        <a:rPr lang="ru-RU" sz="1600" dirty="0" err="1" smtClean="0">
                          <a:solidFill>
                            <a:srgbClr val="283E6E"/>
                          </a:solidFill>
                        </a:rPr>
                        <a:t>несырьевого</a:t>
                      </a:r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 неэнергетического экспорта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00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15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40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283E6E"/>
                          </a:solidFill>
                        </a:rPr>
                        <a:t>200%</a:t>
                      </a:r>
                      <a:endParaRPr lang="ru-RU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Рост объема экспорта услуг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00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20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50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200%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Рост числа экспортеров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00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10,3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125%</a:t>
                      </a:r>
                      <a:endParaRPr lang="ru-RU" sz="160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283E6E"/>
                          </a:solidFill>
                        </a:rPr>
                        <a:t>200%</a:t>
                      </a: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378726"/>
              </p:ext>
            </p:extLst>
          </p:nvPr>
        </p:nvGraphicFramePr>
        <p:xfrm>
          <a:off x="341904" y="4546596"/>
          <a:ext cx="8468140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263"/>
                <a:gridCol w="818984"/>
                <a:gridCol w="739472"/>
                <a:gridCol w="747421"/>
              </a:tblGrid>
              <a:tr h="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1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2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25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Количество экспортеров</a:t>
                      </a:r>
                      <a:r>
                        <a:rPr lang="ru-RU" sz="1600" b="0" baseline="0" dirty="0" smtClean="0">
                          <a:solidFill>
                            <a:srgbClr val="283E6E"/>
                          </a:solidFill>
                        </a:rPr>
                        <a:t> из числа МСП (шт.)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100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200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500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Диверсификация </a:t>
                      </a:r>
                      <a:r>
                        <a:rPr lang="ru-RU" sz="1600" b="0" dirty="0" err="1" smtClean="0">
                          <a:solidFill>
                            <a:srgbClr val="283E6E"/>
                          </a:solidFill>
                        </a:rPr>
                        <a:t>несырьевого</a:t>
                      </a:r>
                      <a:r>
                        <a:rPr lang="ru-RU" sz="1600" b="0" baseline="0" dirty="0" smtClean="0">
                          <a:solidFill>
                            <a:srgbClr val="283E6E"/>
                          </a:solidFill>
                        </a:rPr>
                        <a:t> </a:t>
                      </a:r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экспорта (доля ведущей отрасли)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40%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40%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40%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Диверсификация</a:t>
                      </a:r>
                      <a:r>
                        <a:rPr lang="ru-RU" sz="1600" b="0" baseline="0" dirty="0" smtClean="0">
                          <a:solidFill>
                            <a:srgbClr val="283E6E"/>
                          </a:solidFill>
                        </a:rPr>
                        <a:t> географии поставок (стран)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25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25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283E6E"/>
                          </a:solidFill>
                        </a:rPr>
                        <a:t>25</a:t>
                      </a:r>
                      <a:endParaRPr lang="ru-RU" sz="1600" b="0" dirty="0">
                        <a:solidFill>
                          <a:srgbClr val="283E6E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364535" y="1285793"/>
            <a:ext cx="2392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Основные показател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56694" y="4016728"/>
            <a:ext cx="31099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283E6E"/>
                </a:solidFill>
              </a:rPr>
              <a:t>Д</a:t>
            </a:r>
            <a:r>
              <a:rPr lang="ru-RU" b="1" dirty="0" smtClean="0">
                <a:solidFill>
                  <a:srgbClr val="283E6E"/>
                </a:solidFill>
              </a:rPr>
              <a:t>ополнительные показател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3</a:t>
            </a:r>
            <a:endParaRPr lang="ru-RU" b="1" dirty="0">
              <a:solidFill>
                <a:srgbClr val="283E6E"/>
              </a:solidFill>
            </a:endParaRPr>
          </a:p>
        </p:txBody>
      </p:sp>
      <p:pic>
        <p:nvPicPr>
          <p:cNvPr id="1026" name="Picture 2" descr="C:\Users\minaeva\Desktop\значки для презы\RedCircl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2120" y="3436620"/>
            <a:ext cx="382524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minaeva\Desktop\значки для презы\170117073217325~Kcjg7Rgpi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486" y="2804160"/>
            <a:ext cx="489213" cy="49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250192" y="3251954"/>
            <a:ext cx="728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  <a:latin typeface="Comic Sans MS" panose="030F0702030302020204" pitchFamily="66" charset="0"/>
              </a:rPr>
              <a:t>150%</a:t>
            </a:r>
            <a:endParaRPr lang="ru-RU" sz="1600" b="1" dirty="0">
              <a:solidFill>
                <a:srgbClr val="FF0000"/>
              </a:solidFill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347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70481" y="7408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едложения по корректировке стандарта</a:t>
            </a:r>
            <a:endParaRPr lang="ru-RU" dirty="0"/>
          </a:p>
        </p:txBody>
      </p:sp>
      <p:pic>
        <p:nvPicPr>
          <p:cNvPr id="13" name="Picture 2" descr="C:\Users\kosmin\Desktop\no-translate-detected_318-45481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00" y="1762852"/>
            <a:ext cx="506908" cy="506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36108" y="1850525"/>
            <a:ext cx="2560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Экспортная стратегия региона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29199" y="2403912"/>
            <a:ext cx="42485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часть</a:t>
            </a:r>
            <a:r>
              <a:rPr lang="ru-RU" sz="1400" dirty="0" smtClean="0">
                <a:solidFill>
                  <a:srgbClr val="283E6E"/>
                </a:solidFill>
              </a:rPr>
              <a:t> социально-экономической стратегии 203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экспорт </a:t>
            </a:r>
            <a:r>
              <a:rPr lang="ru-RU" sz="1400" dirty="0" smtClean="0">
                <a:solidFill>
                  <a:srgbClr val="283E6E"/>
                </a:solidFill>
              </a:rPr>
              <a:t>во всех документах стратегического планировани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детализация в </a:t>
            </a:r>
            <a:r>
              <a:rPr lang="ru-RU" sz="1400" dirty="0" smtClean="0">
                <a:solidFill>
                  <a:srgbClr val="A40000"/>
                </a:solidFill>
              </a:rPr>
              <a:t>«дорожной карте»</a:t>
            </a:r>
            <a:endParaRPr lang="ru-RU" sz="1400" dirty="0">
              <a:solidFill>
                <a:srgbClr val="A40000"/>
              </a:solidFill>
            </a:endParaRPr>
          </a:p>
        </p:txBody>
      </p:sp>
      <p:pic>
        <p:nvPicPr>
          <p:cNvPr id="19" name="Picture 6" descr="C:\Users\kosmin\Desktop\trademark16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5433" y="1686078"/>
            <a:ext cx="697720" cy="69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453206" y="1850525"/>
            <a:ext cx="2560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Региональный бренд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623010" y="2385288"/>
            <a:ext cx="47423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межрегиональный </a:t>
            </a:r>
            <a:r>
              <a:rPr lang="ru-RU" sz="1400" dirty="0" smtClean="0">
                <a:solidFill>
                  <a:srgbClr val="283E6E"/>
                </a:solidFill>
              </a:rPr>
              <a:t>бренд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продвижение брендов </a:t>
            </a:r>
            <a:r>
              <a:rPr lang="ru-RU" sz="1400" dirty="0" smtClean="0">
                <a:solidFill>
                  <a:srgbClr val="A40000"/>
                </a:solidFill>
              </a:rPr>
              <a:t>компаний </a:t>
            </a:r>
            <a:r>
              <a:rPr lang="ru-RU" sz="1400" dirty="0" smtClean="0">
                <a:solidFill>
                  <a:srgbClr val="283E6E"/>
                </a:solidFill>
              </a:rPr>
              <a:t>за рубежом, если бренд связан с местностью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а</a:t>
            </a:r>
            <a:r>
              <a:rPr lang="ru-RU" sz="1400" dirty="0" smtClean="0">
                <a:solidFill>
                  <a:srgbClr val="283E6E"/>
                </a:solidFill>
              </a:rPr>
              <a:t>ссоциация региона с конкретным </a:t>
            </a:r>
            <a:r>
              <a:rPr lang="ru-RU" sz="1400" dirty="0" smtClean="0">
                <a:solidFill>
                  <a:srgbClr val="A40000"/>
                </a:solidFill>
              </a:rPr>
              <a:t>продуктом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6108" y="4058677"/>
            <a:ext cx="2560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Объекты консультационной инфраструктуры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29200" y="4828737"/>
            <a:ext cx="42485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муниципалитеты с численностью свыше </a:t>
            </a:r>
            <a:br>
              <a:rPr lang="ru-RU" sz="1400" dirty="0" smtClean="0">
                <a:solidFill>
                  <a:srgbClr val="283E6E"/>
                </a:solidFill>
              </a:rPr>
            </a:br>
            <a:r>
              <a:rPr lang="ru-RU" sz="1400" dirty="0" smtClean="0">
                <a:solidFill>
                  <a:srgbClr val="A40000"/>
                </a:solidFill>
              </a:rPr>
              <a:t>100 </a:t>
            </a:r>
            <a:r>
              <a:rPr lang="ru-RU" sz="1400" dirty="0" smtClean="0">
                <a:solidFill>
                  <a:srgbClr val="283E6E"/>
                </a:solidFill>
              </a:rPr>
              <a:t>тыс. человек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283E6E"/>
                </a:solidFill>
              </a:rPr>
              <a:t>филиал/подразделение </a:t>
            </a:r>
            <a:r>
              <a:rPr lang="ru-RU" sz="1400" dirty="0" smtClean="0">
                <a:solidFill>
                  <a:srgbClr val="A40000"/>
                </a:solidFill>
              </a:rPr>
              <a:t>ЦПЭ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МФЦ</a:t>
            </a:r>
          </a:p>
        </p:txBody>
      </p:sp>
      <p:pic>
        <p:nvPicPr>
          <p:cNvPr id="5122" name="Picture 2" descr="C:\Users\minaeva\Desktop\значки для презы\Customer-Service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65" y="3943576"/>
            <a:ext cx="592265" cy="592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minaeva\Desktop\значки для презы\id-badge_318-47612.jp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575" y="3933276"/>
            <a:ext cx="558578" cy="558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5405551" y="4058677"/>
            <a:ext cx="2560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Дни международного бизнеса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670722" y="4812835"/>
            <a:ext cx="42485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10</a:t>
            </a:r>
            <a:r>
              <a:rPr lang="ru-RU" sz="1400" dirty="0" smtClean="0">
                <a:solidFill>
                  <a:srgbClr val="283E6E"/>
                </a:solidFill>
              </a:rPr>
              <a:t> реверсных бизнес-миссий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Кооперация по федеральным </a:t>
            </a:r>
            <a:r>
              <a:rPr lang="ru-RU" sz="1400" dirty="0" smtClean="0">
                <a:solidFill>
                  <a:srgbClr val="A40000"/>
                </a:solidFill>
              </a:rPr>
              <a:t>округам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Проведение крупного </a:t>
            </a:r>
            <a:r>
              <a:rPr lang="ru-RU" sz="1400" dirty="0" smtClean="0">
                <a:solidFill>
                  <a:srgbClr val="A40000"/>
                </a:solidFill>
              </a:rPr>
              <a:t>двустороннего </a:t>
            </a:r>
            <a:r>
              <a:rPr lang="ru-RU" sz="1400" dirty="0" smtClean="0">
                <a:solidFill>
                  <a:srgbClr val="283E6E"/>
                </a:solidFill>
              </a:rPr>
              <a:t>мероприятия</a:t>
            </a:r>
          </a:p>
          <a:p>
            <a:endParaRPr lang="ru-RU" sz="1400" dirty="0" smtClean="0">
              <a:solidFill>
                <a:srgbClr val="283E6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4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7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70481" y="7408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едложения по корректировке стандарта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826464" y="1863118"/>
            <a:ext cx="29131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Обеспечение интересов региона за рубежом</a:t>
            </a:r>
            <a:endParaRPr lang="ru-RU" sz="1400" b="1" dirty="0">
              <a:solidFill>
                <a:srgbClr val="283E6E"/>
              </a:solidFill>
            </a:endParaRPr>
          </a:p>
        </p:txBody>
      </p:sp>
      <p:pic>
        <p:nvPicPr>
          <p:cNvPr id="4" name="Picture 2" descr="C:\Users\minaeva\Desktop\значки для презы\1046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587" y="1820881"/>
            <a:ext cx="700653" cy="647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96358" y="2552014"/>
            <a:ext cx="42485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ГЧП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>
                <a:solidFill>
                  <a:srgbClr val="A40000"/>
                </a:solidFill>
              </a:rPr>
              <a:t>п</a:t>
            </a:r>
            <a:r>
              <a:rPr lang="ru-RU" sz="1400" dirty="0" smtClean="0">
                <a:solidFill>
                  <a:srgbClr val="A40000"/>
                </a:solidFill>
              </a:rPr>
              <a:t>одведомственная</a:t>
            </a:r>
            <a:r>
              <a:rPr lang="ru-RU" sz="1400" dirty="0" smtClean="0">
                <a:solidFill>
                  <a:srgbClr val="283E6E"/>
                </a:solidFill>
              </a:rPr>
              <a:t> организация</a:t>
            </a:r>
            <a:endParaRPr lang="ru-RU" sz="1400" dirty="0" smtClean="0">
              <a:solidFill>
                <a:srgbClr val="A4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межрегиональная</a:t>
            </a:r>
            <a:r>
              <a:rPr lang="ru-RU" sz="1400" dirty="0" smtClean="0">
                <a:solidFill>
                  <a:srgbClr val="283E6E"/>
                </a:solidFill>
              </a:rPr>
              <a:t> ассоциация</a:t>
            </a:r>
            <a:endParaRPr lang="ru-RU" sz="1400" dirty="0" smtClean="0">
              <a:solidFill>
                <a:srgbClr val="A40000"/>
              </a:solidFill>
            </a:endParaRPr>
          </a:p>
        </p:txBody>
      </p:sp>
      <p:pic>
        <p:nvPicPr>
          <p:cNvPr id="6" name="Picture 5" descr="C:\Users\minaeva\Desktop\значки для презы\sit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94" y="4243720"/>
            <a:ext cx="468091" cy="494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98003" y="4337242"/>
            <a:ext cx="2560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Информационный ресурс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96358" y="4935993"/>
            <a:ext cx="42485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модификация</a:t>
            </a:r>
            <a:r>
              <a:rPr lang="ru-RU" sz="1400" dirty="0" smtClean="0">
                <a:solidFill>
                  <a:srgbClr val="A40000"/>
                </a:solidFill>
              </a:rPr>
              <a:t> </a:t>
            </a:r>
            <a:r>
              <a:rPr lang="ru-RU" sz="1400" dirty="0" smtClean="0">
                <a:solidFill>
                  <a:srgbClr val="283E6E"/>
                </a:solidFill>
              </a:rPr>
              <a:t>сайта </a:t>
            </a:r>
            <a:r>
              <a:rPr lang="ru-RU" sz="1400" dirty="0" smtClean="0">
                <a:solidFill>
                  <a:srgbClr val="A40000"/>
                </a:solidFill>
              </a:rPr>
              <a:t>ЦПЭ</a:t>
            </a:r>
            <a:r>
              <a:rPr lang="ru-RU" sz="1400" dirty="0" smtClean="0">
                <a:solidFill>
                  <a:srgbClr val="283E6E"/>
                </a:solidFill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продвижение</a:t>
            </a: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smtClean="0">
                <a:solidFill>
                  <a:srgbClr val="283E6E"/>
                </a:solidFill>
              </a:rPr>
              <a:t>сайта посредством </a:t>
            </a:r>
            <a:r>
              <a:rPr lang="en-US" sz="1400" dirty="0" smtClean="0">
                <a:solidFill>
                  <a:srgbClr val="283E6E"/>
                </a:solidFill>
              </a:rPr>
              <a:t>SMM</a:t>
            </a:r>
            <a:endParaRPr lang="ru-RU" sz="1400" dirty="0" smtClean="0">
              <a:solidFill>
                <a:srgbClr val="283E6E"/>
              </a:solidFill>
            </a:endParaRPr>
          </a:p>
          <a:p>
            <a:endParaRPr lang="ru-RU" sz="1400" dirty="0" smtClean="0">
              <a:solidFill>
                <a:srgbClr val="283E6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51733" y="1863118"/>
            <a:ext cx="35309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Объединения и ассоциации экспортер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pic>
        <p:nvPicPr>
          <p:cNvPr id="10" name="Picture 2" descr="C:\Users\minaeva\Desktop\значки для презы\staff-people-group-in-a-circular-arrow_318-52415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497" y="1746256"/>
            <a:ext cx="684617" cy="68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770644" y="2517971"/>
            <a:ext cx="424859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Наполнение </a:t>
            </a:r>
            <a:r>
              <a:rPr lang="ru-RU" sz="1400" dirty="0">
                <a:solidFill>
                  <a:srgbClr val="A40000"/>
                </a:solidFill>
              </a:rPr>
              <a:t>повестки</a:t>
            </a:r>
            <a:r>
              <a:rPr lang="ru-RU" sz="1400" dirty="0">
                <a:solidFill>
                  <a:srgbClr val="283E6E"/>
                </a:solidFill>
              </a:rPr>
              <a:t> отраслевых ассоциаций региона </a:t>
            </a:r>
            <a:r>
              <a:rPr lang="ru-RU" sz="1400" dirty="0">
                <a:solidFill>
                  <a:srgbClr val="A40000"/>
                </a:solidFill>
              </a:rPr>
              <a:t>экспортной тематикой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>
                <a:solidFill>
                  <a:srgbClr val="A40000"/>
                </a:solidFill>
              </a:rPr>
              <a:t>Координация</a:t>
            </a: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>
                <a:solidFill>
                  <a:srgbClr val="283E6E"/>
                </a:solidFill>
              </a:rPr>
              <a:t>участия бизнеса в существующих союзах и ассоциациях экспортеров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защита интересов экспортеров – участие компаний в </a:t>
            </a:r>
            <a:r>
              <a:rPr lang="ru-RU" sz="1400" dirty="0" smtClean="0">
                <a:solidFill>
                  <a:srgbClr val="A40000"/>
                </a:solidFill>
              </a:rPr>
              <a:t>Экспортном совете</a:t>
            </a:r>
            <a:endParaRPr lang="ru-RU" sz="1400" dirty="0" smtClean="0">
              <a:solidFill>
                <a:srgbClr val="283E6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5</a:t>
            </a:r>
            <a:endParaRPr lang="ru-RU" b="1" dirty="0">
              <a:solidFill>
                <a:srgbClr val="283E6E"/>
              </a:solidFill>
            </a:endParaRPr>
          </a:p>
        </p:txBody>
      </p:sp>
      <p:pic>
        <p:nvPicPr>
          <p:cNvPr id="3074" name="Picture 2" descr="C:\Users\minaeva\Desktop\значки для презы\vector-icon-business-graph_391025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135" y="4090173"/>
            <a:ext cx="815340" cy="815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398114" y="4430765"/>
            <a:ext cx="35309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татистические показатели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870649" y="4953985"/>
            <a:ext cx="424859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Снижение показателя </a:t>
            </a:r>
            <a:r>
              <a:rPr lang="ru-RU" sz="1400" dirty="0" smtClean="0">
                <a:solidFill>
                  <a:srgbClr val="283E6E"/>
                </a:solidFill>
              </a:rPr>
              <a:t>«Рост </a:t>
            </a:r>
            <a:r>
              <a:rPr lang="ru-RU" sz="1400" dirty="0">
                <a:solidFill>
                  <a:srgbClr val="283E6E"/>
                </a:solidFill>
              </a:rPr>
              <a:t>числа </a:t>
            </a:r>
            <a:r>
              <a:rPr lang="ru-RU" sz="1400" dirty="0" smtClean="0">
                <a:solidFill>
                  <a:srgbClr val="283E6E"/>
                </a:solidFill>
              </a:rPr>
              <a:t>экспортеров» в 2025 году до </a:t>
            </a:r>
            <a:r>
              <a:rPr lang="ru-RU" sz="1400" dirty="0" smtClean="0">
                <a:solidFill>
                  <a:srgbClr val="C00000"/>
                </a:solidFill>
              </a:rPr>
              <a:t>150%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Ежегодный </a:t>
            </a:r>
            <a:r>
              <a:rPr lang="ru-RU" sz="1400" dirty="0" smtClean="0">
                <a:solidFill>
                  <a:srgbClr val="C00000"/>
                </a:solidFill>
              </a:rPr>
              <a:t>рост</a:t>
            </a:r>
            <a:r>
              <a:rPr lang="ru-RU" sz="1400" dirty="0" smtClean="0">
                <a:solidFill>
                  <a:srgbClr val="283E6E"/>
                </a:solidFill>
              </a:rPr>
              <a:t> количества </a:t>
            </a:r>
            <a:r>
              <a:rPr lang="ru-RU" sz="1400" dirty="0">
                <a:solidFill>
                  <a:srgbClr val="283E6E"/>
                </a:solidFill>
              </a:rPr>
              <a:t>экспортеров из числа </a:t>
            </a:r>
            <a:r>
              <a:rPr lang="ru-RU" sz="1400" dirty="0" smtClean="0">
                <a:solidFill>
                  <a:srgbClr val="283E6E"/>
                </a:solidFill>
              </a:rPr>
              <a:t>МСП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Ежегодное </a:t>
            </a:r>
            <a:r>
              <a:rPr lang="ru-RU" sz="1400" dirty="0" smtClean="0">
                <a:solidFill>
                  <a:srgbClr val="C00000"/>
                </a:solidFill>
              </a:rPr>
              <a:t>расширение</a:t>
            </a:r>
            <a:r>
              <a:rPr lang="ru-RU" sz="1400" dirty="0" smtClean="0">
                <a:solidFill>
                  <a:srgbClr val="283E6E"/>
                </a:solidFill>
              </a:rPr>
              <a:t> географии поставок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rgbClr val="283E6E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5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70481" y="7408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едложения по корректировке стандарта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794587" y="1896193"/>
            <a:ext cx="28883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Региональный реестр экспортер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6606" y="3448233"/>
            <a:ext cx="32581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тимулирование региональных банк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61343" y="1903118"/>
            <a:ext cx="2938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Обучение госслужащих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33524" y="1477165"/>
            <a:ext cx="12843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Исключить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96021" y="1477165"/>
            <a:ext cx="11673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Включить</a:t>
            </a:r>
            <a:endParaRPr lang="ru-RU" b="1" dirty="0">
              <a:solidFill>
                <a:srgbClr val="283E6E"/>
              </a:solidFill>
            </a:endParaRPr>
          </a:p>
        </p:txBody>
      </p:sp>
      <p:pic>
        <p:nvPicPr>
          <p:cNvPr id="9" name="Picture 2" descr="C:\Users\kosmin\Desktop\training_filled16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625" y="1793249"/>
            <a:ext cx="626123" cy="66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502437" y="3440095"/>
            <a:ext cx="12436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Экспорт услуг</a:t>
            </a:r>
            <a:endParaRPr lang="ru-RU" sz="1400" b="1" dirty="0">
              <a:solidFill>
                <a:srgbClr val="283E6E"/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H="1">
            <a:off x="4556097" y="1661830"/>
            <a:ext cx="7952" cy="3314871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7" descr="C:\Users\kosmin\Desktop\w512h5121390727886addlist512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733" y="1821784"/>
            <a:ext cx="591854" cy="591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02733" y="2477570"/>
            <a:ext cx="42485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83E6E"/>
                </a:solidFill>
              </a:rPr>
              <a:t>* Предлагается создать </a:t>
            </a:r>
            <a:r>
              <a:rPr lang="ru-RU" sz="1400" dirty="0" smtClean="0">
                <a:solidFill>
                  <a:srgbClr val="A40000"/>
                </a:solidFill>
              </a:rPr>
              <a:t>федеральный</a:t>
            </a:r>
            <a:r>
              <a:rPr lang="ru-RU" sz="1400" dirty="0" smtClean="0">
                <a:solidFill>
                  <a:srgbClr val="283E6E"/>
                </a:solidFill>
              </a:rPr>
              <a:t> реестр, обеспечив участие </a:t>
            </a:r>
            <a:r>
              <a:rPr lang="ru-RU" sz="1400" dirty="0" smtClean="0">
                <a:solidFill>
                  <a:srgbClr val="A40000"/>
                </a:solidFill>
              </a:rPr>
              <a:t>регионов</a:t>
            </a:r>
            <a:r>
              <a:rPr lang="ru-RU" sz="1400" dirty="0" smtClean="0">
                <a:solidFill>
                  <a:srgbClr val="283E6E"/>
                </a:solidFill>
              </a:rPr>
              <a:t> в его наполнении</a:t>
            </a:r>
            <a:endParaRPr lang="ru-RU" sz="1400" dirty="0">
              <a:solidFill>
                <a:srgbClr val="A4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831717" y="2432124"/>
            <a:ext cx="42485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ведению </a:t>
            </a:r>
            <a:r>
              <a:rPr lang="ru-RU" sz="1400" dirty="0" smtClean="0">
                <a:solidFill>
                  <a:srgbClr val="283E6E"/>
                </a:solidFill>
              </a:rPr>
              <a:t>экспортной деятельност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>
                <a:solidFill>
                  <a:srgbClr val="A40000"/>
                </a:solidFill>
              </a:rPr>
              <a:t>лучшим практикам </a:t>
            </a:r>
            <a:r>
              <a:rPr lang="ru-RU" sz="1400" dirty="0" smtClean="0">
                <a:solidFill>
                  <a:srgbClr val="283E6E"/>
                </a:solidFill>
              </a:rPr>
              <a:t>внедрения Регионального экспортного стандарта</a:t>
            </a:r>
            <a:endParaRPr lang="ru-RU" sz="1400" dirty="0">
              <a:solidFill>
                <a:srgbClr val="A40000"/>
              </a:solidFill>
            </a:endParaRPr>
          </a:p>
        </p:txBody>
      </p:sp>
      <p:pic>
        <p:nvPicPr>
          <p:cNvPr id="6147" name="Picture 3" descr="C:\Users\minaeva\Desktop\значки для презы\iWVAFLO7X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877" y="3215096"/>
            <a:ext cx="801270" cy="801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4887789" y="4022594"/>
            <a:ext cx="42485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т</a:t>
            </a:r>
            <a:r>
              <a:rPr lang="ru-RU" sz="1400" dirty="0" smtClean="0">
                <a:solidFill>
                  <a:srgbClr val="283E6E"/>
                </a:solidFill>
              </a:rPr>
              <a:t>уристических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медицинских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образовательных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rgbClr val="283E6E"/>
              </a:solidFill>
            </a:endParaRPr>
          </a:p>
        </p:txBody>
      </p:sp>
      <p:pic>
        <p:nvPicPr>
          <p:cNvPr id="6148" name="Picture 4" descr="C:\Users\minaeva\Desktop\значки для презы\bw-bank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19" y="3201138"/>
            <a:ext cx="716168" cy="716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228818" y="4054466"/>
            <a:ext cx="42485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83E6E"/>
                </a:solidFill>
              </a:rPr>
              <a:t>* Предлагается сфокусироваться на помощи в получении </a:t>
            </a:r>
            <a:r>
              <a:rPr lang="ru-RU" sz="1400" dirty="0" smtClean="0">
                <a:solidFill>
                  <a:srgbClr val="A40000"/>
                </a:solidFill>
              </a:rPr>
              <a:t>существующих</a:t>
            </a:r>
            <a:r>
              <a:rPr lang="ru-RU" sz="1400" dirty="0" smtClean="0">
                <a:solidFill>
                  <a:srgbClr val="283E6E"/>
                </a:solidFill>
              </a:rPr>
              <a:t> финансовых мер поддержки экспортеров </a:t>
            </a:r>
            <a:br>
              <a:rPr lang="ru-RU" sz="1400" dirty="0" smtClean="0">
                <a:solidFill>
                  <a:srgbClr val="283E6E"/>
                </a:solidFill>
              </a:rPr>
            </a:br>
            <a:r>
              <a:rPr lang="ru-RU" sz="1200" i="1" dirty="0" smtClean="0">
                <a:solidFill>
                  <a:srgbClr val="283E6E"/>
                </a:solidFill>
              </a:rPr>
              <a:t>(ЭКСАР, РЭБ, федеральные коммерческие банки)</a:t>
            </a:r>
          </a:p>
        </p:txBody>
      </p:sp>
      <p:pic>
        <p:nvPicPr>
          <p:cNvPr id="6149" name="Picture 5" descr="C:\Users\minaeva\Desktop\значки для презы\Question_sign_font_awesome_svg.png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4510" y="5288971"/>
            <a:ext cx="824285" cy="82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4592877" y="5547226"/>
            <a:ext cx="2938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Предложения «пилотов»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6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09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kosmin\Documents\Заключенные соглашения\EDe2D0zDP2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48585">
            <a:off x="-20445" y="1393154"/>
            <a:ext cx="3646986" cy="3646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 rot="20548883">
            <a:off x="708340" y="4082417"/>
            <a:ext cx="1989702" cy="380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 rot="20548883">
            <a:off x="2274899" y="3484034"/>
            <a:ext cx="1989702" cy="380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 txBox="1">
            <a:spLocks/>
          </p:cNvSpPr>
          <p:nvPr/>
        </p:nvSpPr>
        <p:spPr>
          <a:xfrm>
            <a:off x="2046857" y="655326"/>
            <a:ext cx="7089400" cy="879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30000"/>
              </a:lnSpc>
            </a:pPr>
            <a:r>
              <a:rPr lang="ru-RU" sz="2400" b="1" cap="all" dirty="0" smtClean="0">
                <a:solidFill>
                  <a:srgbClr val="283E6E"/>
                </a:solidFill>
                <a:latin typeface="Bebas Neue Bold"/>
                <a:cs typeface="Circe Extra Bold"/>
              </a:rPr>
              <a:t>Следующие шаги</a:t>
            </a:r>
            <a:endParaRPr lang="ru-RU" sz="2400" cap="all" dirty="0">
              <a:solidFill>
                <a:srgbClr val="283E6E"/>
              </a:solidFill>
              <a:latin typeface="Bebas Neue Bold"/>
              <a:cs typeface="Circe Extra Bold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641064944"/>
              </p:ext>
            </p:extLst>
          </p:nvPr>
        </p:nvGraphicFramePr>
        <p:xfrm>
          <a:off x="237638" y="1622007"/>
          <a:ext cx="8774625" cy="59958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18" descr="2a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638058">
            <a:off x="2040477" y="3982902"/>
            <a:ext cx="296300" cy="533176"/>
          </a:xfrm>
          <a:prstGeom prst="rect">
            <a:avLst/>
          </a:prstGeom>
        </p:spPr>
      </p:pic>
      <p:pic>
        <p:nvPicPr>
          <p:cNvPr id="5" name="Picture 18" descr="2a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638058">
            <a:off x="4285148" y="3408618"/>
            <a:ext cx="296300" cy="533176"/>
          </a:xfrm>
          <a:prstGeom prst="rect">
            <a:avLst/>
          </a:prstGeom>
        </p:spPr>
      </p:pic>
      <p:pic>
        <p:nvPicPr>
          <p:cNvPr id="6" name="Picture 18" descr="2a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638058">
            <a:off x="6532533" y="2878540"/>
            <a:ext cx="296300" cy="533176"/>
          </a:xfrm>
          <a:prstGeom prst="rect">
            <a:avLst/>
          </a:prstGeom>
        </p:spPr>
      </p:pic>
      <p:pic>
        <p:nvPicPr>
          <p:cNvPr id="7" name="Picture 18" descr="2a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638058">
            <a:off x="8764158" y="2290485"/>
            <a:ext cx="296300" cy="53317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7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05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2046857" y="655326"/>
            <a:ext cx="7089400" cy="879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30000"/>
              </a:lnSpc>
            </a:pPr>
            <a:r>
              <a:rPr lang="ru-RU" sz="2400" b="1" cap="all" dirty="0" err="1" smtClean="0">
                <a:solidFill>
                  <a:srgbClr val="283E6E"/>
                </a:solidFill>
                <a:latin typeface="Bebas Neue Bold"/>
                <a:cs typeface="Circe Extra Bold"/>
              </a:rPr>
              <a:t>РЭнкинг</a:t>
            </a:r>
            <a:r>
              <a:rPr lang="ru-RU" sz="2400" b="1" cap="all" dirty="0" smtClean="0">
                <a:solidFill>
                  <a:srgbClr val="283E6E"/>
                </a:solidFill>
                <a:latin typeface="Bebas Neue Bold"/>
                <a:cs typeface="Circe Extra Bold"/>
              </a:rPr>
              <a:t> регионов</a:t>
            </a:r>
            <a:endParaRPr lang="ru-RU" sz="2400" cap="all" dirty="0">
              <a:solidFill>
                <a:srgbClr val="283E6E"/>
              </a:solidFill>
              <a:latin typeface="Bebas Neue Bold"/>
              <a:cs typeface="Circe Extra Bold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673903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8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050692" y="4596719"/>
            <a:ext cx="2362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Удовлетворенность качеством работы системы  поддержки	</a:t>
            </a:r>
          </a:p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	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4252" y="1487295"/>
            <a:ext cx="450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Сравнение групп регионов по показателям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823279" y="5830669"/>
            <a:ext cx="24441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 smtClean="0">
                <a:solidFill>
                  <a:srgbClr val="283E6E"/>
                </a:solidFill>
              </a:rPr>
              <a:t>Доля экспортеров из числа зарегистрированных  </a:t>
            </a:r>
            <a:r>
              <a:rPr lang="ru-RU" sz="1200" b="1" dirty="0">
                <a:solidFill>
                  <a:srgbClr val="283E6E"/>
                </a:solidFill>
              </a:rPr>
              <a:t>МСП </a:t>
            </a:r>
            <a:endParaRPr lang="ru-RU" sz="1200" b="1" dirty="0" smtClean="0">
              <a:solidFill>
                <a:srgbClr val="283E6E"/>
              </a:solidFill>
            </a:endParaRPr>
          </a:p>
          <a:p>
            <a:pPr fontAlgn="ctr"/>
            <a:r>
              <a:rPr lang="ru-RU" sz="800" b="1" dirty="0" smtClean="0">
                <a:solidFill>
                  <a:srgbClr val="283E6E"/>
                </a:solidFill>
              </a:rPr>
              <a:t>(%)</a:t>
            </a:r>
            <a:endParaRPr lang="ru-RU" sz="800" b="1" dirty="0">
              <a:solidFill>
                <a:srgbClr val="283E6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875972" y="4628093"/>
            <a:ext cx="20711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Степень внедрения </a:t>
            </a:r>
            <a:r>
              <a:rPr lang="ru-RU" sz="1200" b="1" dirty="0" smtClean="0">
                <a:solidFill>
                  <a:srgbClr val="283E6E"/>
                </a:solidFill>
              </a:rPr>
              <a:t>механизмов Регионального </a:t>
            </a:r>
            <a:r>
              <a:rPr lang="ru-RU" sz="1200" b="1" dirty="0">
                <a:solidFill>
                  <a:srgbClr val="283E6E"/>
                </a:solidFill>
              </a:rPr>
              <a:t>экспортного  стандарт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20212" y="3399889"/>
            <a:ext cx="23236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Прирост </a:t>
            </a:r>
            <a:r>
              <a:rPr lang="ru-RU" sz="1200" b="1" dirty="0" smtClean="0">
                <a:solidFill>
                  <a:srgbClr val="283E6E"/>
                </a:solidFill>
              </a:rPr>
              <a:t>количества экспортеров </a:t>
            </a:r>
            <a:r>
              <a:rPr lang="ru-RU" sz="1200" b="1" dirty="0">
                <a:solidFill>
                  <a:srgbClr val="283E6E"/>
                </a:solidFill>
              </a:rPr>
              <a:t>МСП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866829" y="3399889"/>
            <a:ext cx="20803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 smtClean="0">
                <a:solidFill>
                  <a:srgbClr val="283E6E"/>
                </a:solidFill>
              </a:rPr>
              <a:t>Количество </a:t>
            </a:r>
            <a:r>
              <a:rPr lang="ru-RU" sz="1200" b="1" dirty="0">
                <a:solidFill>
                  <a:srgbClr val="283E6E"/>
                </a:solidFill>
              </a:rPr>
              <a:t>экспортеров </a:t>
            </a:r>
            <a:r>
              <a:rPr lang="ru-RU" sz="1200" b="1" dirty="0" smtClean="0">
                <a:solidFill>
                  <a:srgbClr val="283E6E"/>
                </a:solidFill>
              </a:rPr>
              <a:t>МСП</a:t>
            </a:r>
            <a:endParaRPr lang="ru-RU" sz="1200" b="1" dirty="0">
              <a:solidFill>
                <a:srgbClr val="283E6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020212" y="5787479"/>
            <a:ext cx="26370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Количество стран </a:t>
            </a:r>
            <a:r>
              <a:rPr lang="ru-RU" sz="1200" b="1" dirty="0" err="1" smtClean="0">
                <a:solidFill>
                  <a:srgbClr val="283E6E"/>
                </a:solidFill>
              </a:rPr>
              <a:t>несырьевого</a:t>
            </a:r>
            <a:r>
              <a:rPr lang="ru-RU" sz="1200" b="1" dirty="0" smtClean="0">
                <a:solidFill>
                  <a:srgbClr val="283E6E"/>
                </a:solidFill>
              </a:rPr>
              <a:t> неэнергетического </a:t>
            </a:r>
            <a:r>
              <a:rPr lang="ru-RU" sz="1200" b="1" dirty="0">
                <a:solidFill>
                  <a:srgbClr val="283E6E"/>
                </a:solidFill>
              </a:rPr>
              <a:t>экспорт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020212" y="2197269"/>
            <a:ext cx="329904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Прирост объема </a:t>
            </a:r>
            <a:r>
              <a:rPr lang="ru-RU" sz="1200" b="1" dirty="0" err="1" smtClean="0">
                <a:solidFill>
                  <a:srgbClr val="283E6E"/>
                </a:solidFill>
              </a:rPr>
              <a:t>несырьевого</a:t>
            </a:r>
            <a:r>
              <a:rPr lang="ru-RU" sz="1200" b="1" dirty="0" smtClean="0">
                <a:solidFill>
                  <a:srgbClr val="283E6E"/>
                </a:solidFill>
              </a:rPr>
              <a:t> неэнергетического экспорта </a:t>
            </a:r>
          </a:p>
          <a:p>
            <a:pPr fontAlgn="ctr"/>
            <a:r>
              <a:rPr lang="ru-RU" sz="800" b="1" dirty="0" smtClean="0">
                <a:solidFill>
                  <a:srgbClr val="283E6E"/>
                </a:solidFill>
              </a:rPr>
              <a:t>(млн</a:t>
            </a:r>
            <a:r>
              <a:rPr lang="ru-RU" sz="800" b="1" dirty="0">
                <a:solidFill>
                  <a:srgbClr val="283E6E"/>
                </a:solidFill>
              </a:rPr>
              <a:t>. </a:t>
            </a:r>
            <a:r>
              <a:rPr lang="ru-RU" sz="800" b="1" dirty="0" err="1" smtClean="0">
                <a:solidFill>
                  <a:srgbClr val="283E6E"/>
                </a:solidFill>
              </a:rPr>
              <a:t>долл</a:t>
            </a:r>
            <a:r>
              <a:rPr lang="ru-RU" sz="800" b="1" dirty="0" smtClean="0">
                <a:solidFill>
                  <a:srgbClr val="283E6E"/>
                </a:solidFill>
              </a:rPr>
              <a:t> США)</a:t>
            </a:r>
            <a:endParaRPr lang="ru-RU" sz="800" b="1" dirty="0">
              <a:solidFill>
                <a:srgbClr val="283E6E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836420" y="2189649"/>
            <a:ext cx="225552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b="1" dirty="0">
                <a:solidFill>
                  <a:srgbClr val="283E6E"/>
                </a:solidFill>
              </a:rPr>
              <a:t>Объем </a:t>
            </a:r>
            <a:r>
              <a:rPr lang="ru-RU" sz="1200" b="1" dirty="0" err="1" smtClean="0">
                <a:solidFill>
                  <a:srgbClr val="283E6E"/>
                </a:solidFill>
              </a:rPr>
              <a:t>несырьевого</a:t>
            </a:r>
            <a:r>
              <a:rPr lang="ru-RU" sz="1200" b="1" dirty="0" smtClean="0">
                <a:solidFill>
                  <a:srgbClr val="283E6E"/>
                </a:solidFill>
              </a:rPr>
              <a:t> неэнергетического экспорта </a:t>
            </a:r>
          </a:p>
          <a:p>
            <a:pPr fontAlgn="ctr"/>
            <a:r>
              <a:rPr lang="ru-RU" sz="800" b="1" dirty="0" smtClean="0">
                <a:solidFill>
                  <a:srgbClr val="283E6E"/>
                </a:solidFill>
              </a:rPr>
              <a:t>(млн. </a:t>
            </a:r>
            <a:r>
              <a:rPr lang="ru-RU" sz="800" b="1" dirty="0" err="1" smtClean="0">
                <a:solidFill>
                  <a:srgbClr val="283E6E"/>
                </a:solidFill>
              </a:rPr>
              <a:t>долл</a:t>
            </a:r>
            <a:r>
              <a:rPr lang="ru-RU" sz="800" b="1" dirty="0" smtClean="0">
                <a:solidFill>
                  <a:srgbClr val="283E6E"/>
                </a:solidFill>
              </a:rPr>
              <a:t> США)</a:t>
            </a:r>
            <a:endParaRPr lang="ru-RU" sz="800" b="1" dirty="0">
              <a:solidFill>
                <a:srgbClr val="283E6E"/>
              </a:solidFill>
            </a:endParaRPr>
          </a:p>
        </p:txBody>
      </p:sp>
      <p:pic>
        <p:nvPicPr>
          <p:cNvPr id="2049" name="Picture 1" descr="C:\Users\minaeva\Desktop\значки для презы\cube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040" y="2171699"/>
            <a:ext cx="611699" cy="61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minaeva\Desktop\значки для презы\Black-Business-rising9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055" y="2202633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minaeva\Desktop\значки для презы\ios7-world-outline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3353" y="5676551"/>
            <a:ext cx="683519" cy="683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minaeva\Desktop\значки для презы\multiple-users-silhouette_318-49546.jp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040" y="3320273"/>
            <a:ext cx="664391" cy="664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minaeva\Desktop\значки для презы\Black-Business-rising9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055" y="3305486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minaeva\Desktop\значки для презы\108337.png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546" y="5737635"/>
            <a:ext cx="629602" cy="629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kosmin\Documents\Заключенные соглашения\auto-repair_39384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007" y="4567420"/>
            <a:ext cx="669282" cy="66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:\Users\minaeva\Desktop\значки для презы\51838.png"/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908" y="4569637"/>
            <a:ext cx="509524" cy="509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08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02041" y="1448333"/>
            <a:ext cx="4179016" cy="461643"/>
          </a:xfrm>
          <a:prstGeom prst="rect">
            <a:avLst/>
          </a:prstGeom>
        </p:spPr>
        <p:txBody>
          <a:bodyPr wrap="square" lIns="91417" tIns="45709" rIns="91417" bIns="45709">
            <a:spAutoFit/>
          </a:bodyPr>
          <a:lstStyle/>
          <a:p>
            <a:pPr algn="ctr"/>
            <a:r>
              <a:rPr lang="ru-RU" sz="1200" b="1" spc="-10" dirty="0">
                <a:solidFill>
                  <a:srgbClr val="283E6E"/>
                </a:solidFill>
                <a:latin typeface="Arial"/>
                <a:cs typeface="Arial"/>
              </a:rPr>
              <a:t>Основное направление стратегического развития РФ «Международная кооперация и экспорт»</a:t>
            </a:r>
          </a:p>
        </p:txBody>
      </p:sp>
      <p:sp>
        <p:nvSpPr>
          <p:cNvPr id="11" name="object 5"/>
          <p:cNvSpPr/>
          <p:nvPr/>
        </p:nvSpPr>
        <p:spPr>
          <a:xfrm>
            <a:off x="2265963" y="4872981"/>
            <a:ext cx="2172176" cy="1705307"/>
          </a:xfrm>
          <a:custGeom>
            <a:avLst/>
            <a:gdLst/>
            <a:ahLst/>
            <a:cxnLst/>
            <a:rect l="l" t="t" r="r" b="b"/>
            <a:pathLst>
              <a:path w="2612390" h="2078354">
                <a:moveTo>
                  <a:pt x="13716" y="2064257"/>
                </a:moveTo>
                <a:lnTo>
                  <a:pt x="13716" y="2016253"/>
                </a:lnTo>
                <a:lnTo>
                  <a:pt x="0" y="2016253"/>
                </a:lnTo>
                <a:lnTo>
                  <a:pt x="0" y="2071116"/>
                </a:lnTo>
                <a:lnTo>
                  <a:pt x="6858" y="2071116"/>
                </a:lnTo>
                <a:lnTo>
                  <a:pt x="6858" y="2064257"/>
                </a:lnTo>
                <a:lnTo>
                  <a:pt x="13716" y="2064257"/>
                </a:lnTo>
                <a:close/>
              </a:path>
              <a:path w="2612390" h="2078354">
                <a:moveTo>
                  <a:pt x="22860" y="2077974"/>
                </a:moveTo>
                <a:lnTo>
                  <a:pt x="22860" y="2064257"/>
                </a:lnTo>
                <a:lnTo>
                  <a:pt x="6858" y="2064257"/>
                </a:lnTo>
                <a:lnTo>
                  <a:pt x="6858" y="2071116"/>
                </a:lnTo>
                <a:lnTo>
                  <a:pt x="13716" y="2071116"/>
                </a:lnTo>
                <a:lnTo>
                  <a:pt x="13716" y="2077974"/>
                </a:lnTo>
                <a:lnTo>
                  <a:pt x="22860" y="2077974"/>
                </a:lnTo>
                <a:close/>
              </a:path>
              <a:path w="2612390" h="2078354">
                <a:moveTo>
                  <a:pt x="13716" y="2077974"/>
                </a:moveTo>
                <a:lnTo>
                  <a:pt x="13716" y="2071116"/>
                </a:lnTo>
                <a:lnTo>
                  <a:pt x="6858" y="2071116"/>
                </a:lnTo>
                <a:lnTo>
                  <a:pt x="6858" y="2077974"/>
                </a:lnTo>
                <a:lnTo>
                  <a:pt x="13716" y="2077974"/>
                </a:lnTo>
                <a:close/>
              </a:path>
              <a:path w="2612390" h="2078354">
                <a:moveTo>
                  <a:pt x="13716" y="1975103"/>
                </a:moveTo>
                <a:lnTo>
                  <a:pt x="13716" y="1920239"/>
                </a:lnTo>
                <a:lnTo>
                  <a:pt x="0" y="1920239"/>
                </a:lnTo>
                <a:lnTo>
                  <a:pt x="0" y="1975103"/>
                </a:lnTo>
                <a:lnTo>
                  <a:pt x="13716" y="1975103"/>
                </a:lnTo>
                <a:close/>
              </a:path>
              <a:path w="2612390" h="2078354">
                <a:moveTo>
                  <a:pt x="13716" y="1879092"/>
                </a:moveTo>
                <a:lnTo>
                  <a:pt x="13716" y="1824227"/>
                </a:lnTo>
                <a:lnTo>
                  <a:pt x="0" y="1824227"/>
                </a:lnTo>
                <a:lnTo>
                  <a:pt x="0" y="1879092"/>
                </a:lnTo>
                <a:lnTo>
                  <a:pt x="13716" y="1879092"/>
                </a:lnTo>
                <a:close/>
              </a:path>
              <a:path w="2612390" h="2078354">
                <a:moveTo>
                  <a:pt x="13716" y="1783079"/>
                </a:moveTo>
                <a:lnTo>
                  <a:pt x="13716" y="1728215"/>
                </a:lnTo>
                <a:lnTo>
                  <a:pt x="0" y="1728215"/>
                </a:lnTo>
                <a:lnTo>
                  <a:pt x="0" y="1783079"/>
                </a:lnTo>
                <a:lnTo>
                  <a:pt x="13716" y="1783079"/>
                </a:lnTo>
                <a:close/>
              </a:path>
              <a:path w="2612390" h="2078354">
                <a:moveTo>
                  <a:pt x="13716" y="1687068"/>
                </a:moveTo>
                <a:lnTo>
                  <a:pt x="13716" y="1632203"/>
                </a:lnTo>
                <a:lnTo>
                  <a:pt x="0" y="1632203"/>
                </a:lnTo>
                <a:lnTo>
                  <a:pt x="0" y="1687068"/>
                </a:lnTo>
                <a:lnTo>
                  <a:pt x="13716" y="1687068"/>
                </a:lnTo>
                <a:close/>
              </a:path>
              <a:path w="2612390" h="2078354">
                <a:moveTo>
                  <a:pt x="13716" y="1591055"/>
                </a:moveTo>
                <a:lnTo>
                  <a:pt x="13716" y="1536191"/>
                </a:lnTo>
                <a:lnTo>
                  <a:pt x="0" y="1536191"/>
                </a:lnTo>
                <a:lnTo>
                  <a:pt x="0" y="1591055"/>
                </a:lnTo>
                <a:lnTo>
                  <a:pt x="13716" y="1591055"/>
                </a:lnTo>
                <a:close/>
              </a:path>
              <a:path w="2612390" h="2078354">
                <a:moveTo>
                  <a:pt x="13716" y="1495043"/>
                </a:moveTo>
                <a:lnTo>
                  <a:pt x="13716" y="1440179"/>
                </a:lnTo>
                <a:lnTo>
                  <a:pt x="0" y="1440179"/>
                </a:lnTo>
                <a:lnTo>
                  <a:pt x="0" y="1495043"/>
                </a:lnTo>
                <a:lnTo>
                  <a:pt x="13716" y="1495043"/>
                </a:lnTo>
                <a:close/>
              </a:path>
              <a:path w="2612390" h="2078354">
                <a:moveTo>
                  <a:pt x="13716" y="1399031"/>
                </a:moveTo>
                <a:lnTo>
                  <a:pt x="13716" y="1344167"/>
                </a:lnTo>
                <a:lnTo>
                  <a:pt x="0" y="1344167"/>
                </a:lnTo>
                <a:lnTo>
                  <a:pt x="0" y="1399031"/>
                </a:lnTo>
                <a:lnTo>
                  <a:pt x="13716" y="1399031"/>
                </a:lnTo>
                <a:close/>
              </a:path>
              <a:path w="2612390" h="2078354">
                <a:moveTo>
                  <a:pt x="13716" y="1303019"/>
                </a:moveTo>
                <a:lnTo>
                  <a:pt x="13716" y="1248155"/>
                </a:lnTo>
                <a:lnTo>
                  <a:pt x="0" y="1248155"/>
                </a:lnTo>
                <a:lnTo>
                  <a:pt x="0" y="1303019"/>
                </a:lnTo>
                <a:lnTo>
                  <a:pt x="13716" y="1303019"/>
                </a:lnTo>
                <a:close/>
              </a:path>
              <a:path w="2612390" h="2078354">
                <a:moveTo>
                  <a:pt x="13716" y="1207007"/>
                </a:moveTo>
                <a:lnTo>
                  <a:pt x="13716" y="1152143"/>
                </a:lnTo>
                <a:lnTo>
                  <a:pt x="0" y="1152143"/>
                </a:lnTo>
                <a:lnTo>
                  <a:pt x="0" y="1207007"/>
                </a:lnTo>
                <a:lnTo>
                  <a:pt x="13716" y="1207007"/>
                </a:lnTo>
                <a:close/>
              </a:path>
              <a:path w="2612390" h="2078354">
                <a:moveTo>
                  <a:pt x="13716" y="1110995"/>
                </a:moveTo>
                <a:lnTo>
                  <a:pt x="13716" y="1056131"/>
                </a:lnTo>
                <a:lnTo>
                  <a:pt x="0" y="1056131"/>
                </a:lnTo>
                <a:lnTo>
                  <a:pt x="0" y="1110995"/>
                </a:lnTo>
                <a:lnTo>
                  <a:pt x="13716" y="1110995"/>
                </a:lnTo>
                <a:close/>
              </a:path>
              <a:path w="2612390" h="2078354">
                <a:moveTo>
                  <a:pt x="13716" y="1015745"/>
                </a:moveTo>
                <a:lnTo>
                  <a:pt x="13716" y="960881"/>
                </a:lnTo>
                <a:lnTo>
                  <a:pt x="0" y="960881"/>
                </a:lnTo>
                <a:lnTo>
                  <a:pt x="0" y="1015745"/>
                </a:lnTo>
                <a:lnTo>
                  <a:pt x="13716" y="1015745"/>
                </a:lnTo>
                <a:close/>
              </a:path>
              <a:path w="2612390" h="2078354">
                <a:moveTo>
                  <a:pt x="13716" y="919733"/>
                </a:moveTo>
                <a:lnTo>
                  <a:pt x="13716" y="864869"/>
                </a:lnTo>
                <a:lnTo>
                  <a:pt x="0" y="864869"/>
                </a:lnTo>
                <a:lnTo>
                  <a:pt x="0" y="919733"/>
                </a:lnTo>
                <a:lnTo>
                  <a:pt x="13716" y="919733"/>
                </a:lnTo>
                <a:close/>
              </a:path>
              <a:path w="2612390" h="2078354">
                <a:moveTo>
                  <a:pt x="13716" y="823722"/>
                </a:moveTo>
                <a:lnTo>
                  <a:pt x="13716" y="768858"/>
                </a:lnTo>
                <a:lnTo>
                  <a:pt x="0" y="768858"/>
                </a:lnTo>
                <a:lnTo>
                  <a:pt x="0" y="823722"/>
                </a:lnTo>
                <a:lnTo>
                  <a:pt x="13716" y="823722"/>
                </a:lnTo>
                <a:close/>
              </a:path>
              <a:path w="2612390" h="2078354">
                <a:moveTo>
                  <a:pt x="13716" y="727710"/>
                </a:moveTo>
                <a:lnTo>
                  <a:pt x="13716" y="672846"/>
                </a:lnTo>
                <a:lnTo>
                  <a:pt x="0" y="672846"/>
                </a:lnTo>
                <a:lnTo>
                  <a:pt x="0" y="727710"/>
                </a:lnTo>
                <a:lnTo>
                  <a:pt x="13716" y="727710"/>
                </a:lnTo>
                <a:close/>
              </a:path>
              <a:path w="2612390" h="2078354">
                <a:moveTo>
                  <a:pt x="13716" y="631698"/>
                </a:moveTo>
                <a:lnTo>
                  <a:pt x="13716" y="576834"/>
                </a:lnTo>
                <a:lnTo>
                  <a:pt x="0" y="576834"/>
                </a:lnTo>
                <a:lnTo>
                  <a:pt x="0" y="631698"/>
                </a:lnTo>
                <a:lnTo>
                  <a:pt x="13716" y="631698"/>
                </a:lnTo>
                <a:close/>
              </a:path>
              <a:path w="2612390" h="2078354">
                <a:moveTo>
                  <a:pt x="13716" y="535686"/>
                </a:moveTo>
                <a:lnTo>
                  <a:pt x="13716" y="480822"/>
                </a:lnTo>
                <a:lnTo>
                  <a:pt x="0" y="480822"/>
                </a:lnTo>
                <a:lnTo>
                  <a:pt x="0" y="535686"/>
                </a:lnTo>
                <a:lnTo>
                  <a:pt x="13716" y="535686"/>
                </a:lnTo>
                <a:close/>
              </a:path>
              <a:path w="2612390" h="2078354">
                <a:moveTo>
                  <a:pt x="13716" y="439674"/>
                </a:moveTo>
                <a:lnTo>
                  <a:pt x="13716" y="384810"/>
                </a:lnTo>
                <a:lnTo>
                  <a:pt x="0" y="384810"/>
                </a:lnTo>
                <a:lnTo>
                  <a:pt x="0" y="439674"/>
                </a:lnTo>
                <a:lnTo>
                  <a:pt x="13716" y="439674"/>
                </a:lnTo>
                <a:close/>
              </a:path>
              <a:path w="2612390" h="2078354">
                <a:moveTo>
                  <a:pt x="13716" y="343662"/>
                </a:moveTo>
                <a:lnTo>
                  <a:pt x="13716" y="288798"/>
                </a:lnTo>
                <a:lnTo>
                  <a:pt x="0" y="288798"/>
                </a:lnTo>
                <a:lnTo>
                  <a:pt x="0" y="343662"/>
                </a:lnTo>
                <a:lnTo>
                  <a:pt x="13716" y="343662"/>
                </a:lnTo>
                <a:close/>
              </a:path>
              <a:path w="2612390" h="2078354">
                <a:moveTo>
                  <a:pt x="13716" y="247650"/>
                </a:moveTo>
                <a:lnTo>
                  <a:pt x="13716" y="192786"/>
                </a:lnTo>
                <a:lnTo>
                  <a:pt x="0" y="192786"/>
                </a:lnTo>
                <a:lnTo>
                  <a:pt x="0" y="247650"/>
                </a:lnTo>
                <a:lnTo>
                  <a:pt x="13716" y="247650"/>
                </a:lnTo>
                <a:close/>
              </a:path>
              <a:path w="2612390" h="2078354">
                <a:moveTo>
                  <a:pt x="13716" y="151637"/>
                </a:moveTo>
                <a:lnTo>
                  <a:pt x="13716" y="96774"/>
                </a:lnTo>
                <a:lnTo>
                  <a:pt x="0" y="96774"/>
                </a:lnTo>
                <a:lnTo>
                  <a:pt x="0" y="151637"/>
                </a:lnTo>
                <a:lnTo>
                  <a:pt x="13716" y="151637"/>
                </a:lnTo>
                <a:close/>
              </a:path>
              <a:path w="2612390" h="2078354">
                <a:moveTo>
                  <a:pt x="12954" y="7619"/>
                </a:moveTo>
                <a:lnTo>
                  <a:pt x="12954" y="0"/>
                </a:lnTo>
                <a:lnTo>
                  <a:pt x="0" y="0"/>
                </a:lnTo>
                <a:lnTo>
                  <a:pt x="0" y="55625"/>
                </a:lnTo>
                <a:lnTo>
                  <a:pt x="6858" y="55625"/>
                </a:lnTo>
                <a:lnTo>
                  <a:pt x="6858" y="13715"/>
                </a:lnTo>
                <a:lnTo>
                  <a:pt x="12954" y="7619"/>
                </a:lnTo>
                <a:close/>
              </a:path>
              <a:path w="2612390" h="2078354">
                <a:moveTo>
                  <a:pt x="13716" y="55625"/>
                </a:moveTo>
                <a:lnTo>
                  <a:pt x="13716" y="6857"/>
                </a:lnTo>
                <a:lnTo>
                  <a:pt x="6858" y="13715"/>
                </a:lnTo>
                <a:lnTo>
                  <a:pt x="12954" y="13715"/>
                </a:lnTo>
                <a:lnTo>
                  <a:pt x="12954" y="55625"/>
                </a:lnTo>
                <a:lnTo>
                  <a:pt x="13716" y="55625"/>
                </a:lnTo>
                <a:close/>
              </a:path>
              <a:path w="2612390" h="2078354">
                <a:moveTo>
                  <a:pt x="12954" y="55625"/>
                </a:moveTo>
                <a:lnTo>
                  <a:pt x="12954" y="13715"/>
                </a:lnTo>
                <a:lnTo>
                  <a:pt x="6858" y="13715"/>
                </a:lnTo>
                <a:lnTo>
                  <a:pt x="6858" y="55625"/>
                </a:lnTo>
                <a:lnTo>
                  <a:pt x="12954" y="55625"/>
                </a:lnTo>
                <a:close/>
              </a:path>
              <a:path w="2612390" h="2078354">
                <a:moveTo>
                  <a:pt x="108966" y="13715"/>
                </a:moveTo>
                <a:lnTo>
                  <a:pt x="108966" y="0"/>
                </a:lnTo>
                <a:lnTo>
                  <a:pt x="54102" y="0"/>
                </a:lnTo>
                <a:lnTo>
                  <a:pt x="54102" y="13715"/>
                </a:lnTo>
                <a:lnTo>
                  <a:pt x="108966" y="13715"/>
                </a:lnTo>
                <a:close/>
              </a:path>
              <a:path w="2612390" h="2078354">
                <a:moveTo>
                  <a:pt x="204978" y="13715"/>
                </a:moveTo>
                <a:lnTo>
                  <a:pt x="204978" y="0"/>
                </a:lnTo>
                <a:lnTo>
                  <a:pt x="150114" y="0"/>
                </a:lnTo>
                <a:lnTo>
                  <a:pt x="150114" y="13715"/>
                </a:lnTo>
                <a:lnTo>
                  <a:pt x="204978" y="13715"/>
                </a:lnTo>
                <a:close/>
              </a:path>
              <a:path w="2612390" h="2078354">
                <a:moveTo>
                  <a:pt x="300989" y="13715"/>
                </a:moveTo>
                <a:lnTo>
                  <a:pt x="300989" y="0"/>
                </a:lnTo>
                <a:lnTo>
                  <a:pt x="246125" y="0"/>
                </a:lnTo>
                <a:lnTo>
                  <a:pt x="246125" y="13715"/>
                </a:lnTo>
                <a:lnTo>
                  <a:pt x="300989" y="13715"/>
                </a:lnTo>
                <a:close/>
              </a:path>
              <a:path w="2612390" h="2078354">
                <a:moveTo>
                  <a:pt x="397001" y="13715"/>
                </a:moveTo>
                <a:lnTo>
                  <a:pt x="397001" y="0"/>
                </a:lnTo>
                <a:lnTo>
                  <a:pt x="342138" y="0"/>
                </a:lnTo>
                <a:lnTo>
                  <a:pt x="342138" y="13715"/>
                </a:lnTo>
                <a:lnTo>
                  <a:pt x="397001" y="13715"/>
                </a:lnTo>
                <a:close/>
              </a:path>
              <a:path w="2612390" h="2078354">
                <a:moveTo>
                  <a:pt x="493013" y="13715"/>
                </a:moveTo>
                <a:lnTo>
                  <a:pt x="493013" y="0"/>
                </a:lnTo>
                <a:lnTo>
                  <a:pt x="438150" y="0"/>
                </a:lnTo>
                <a:lnTo>
                  <a:pt x="438150" y="13715"/>
                </a:lnTo>
                <a:lnTo>
                  <a:pt x="493013" y="13715"/>
                </a:lnTo>
                <a:close/>
              </a:path>
              <a:path w="2612390" h="2078354">
                <a:moveTo>
                  <a:pt x="589026" y="13715"/>
                </a:moveTo>
                <a:lnTo>
                  <a:pt x="589026" y="0"/>
                </a:lnTo>
                <a:lnTo>
                  <a:pt x="534162" y="0"/>
                </a:lnTo>
                <a:lnTo>
                  <a:pt x="534162" y="13715"/>
                </a:lnTo>
                <a:lnTo>
                  <a:pt x="589026" y="13715"/>
                </a:lnTo>
                <a:close/>
              </a:path>
              <a:path w="2612390" h="2078354">
                <a:moveTo>
                  <a:pt x="685038" y="13715"/>
                </a:moveTo>
                <a:lnTo>
                  <a:pt x="685038" y="0"/>
                </a:lnTo>
                <a:lnTo>
                  <a:pt x="630174" y="0"/>
                </a:lnTo>
                <a:lnTo>
                  <a:pt x="630174" y="13715"/>
                </a:lnTo>
                <a:lnTo>
                  <a:pt x="685038" y="13715"/>
                </a:lnTo>
                <a:close/>
              </a:path>
              <a:path w="2612390" h="2078354">
                <a:moveTo>
                  <a:pt x="781050" y="13715"/>
                </a:moveTo>
                <a:lnTo>
                  <a:pt x="781050" y="0"/>
                </a:lnTo>
                <a:lnTo>
                  <a:pt x="726186" y="0"/>
                </a:lnTo>
                <a:lnTo>
                  <a:pt x="726186" y="13715"/>
                </a:lnTo>
                <a:lnTo>
                  <a:pt x="781050" y="13715"/>
                </a:lnTo>
                <a:close/>
              </a:path>
              <a:path w="2612390" h="2078354">
                <a:moveTo>
                  <a:pt x="877061" y="13715"/>
                </a:moveTo>
                <a:lnTo>
                  <a:pt x="877061" y="0"/>
                </a:lnTo>
                <a:lnTo>
                  <a:pt x="822197" y="0"/>
                </a:lnTo>
                <a:lnTo>
                  <a:pt x="822197" y="13715"/>
                </a:lnTo>
                <a:lnTo>
                  <a:pt x="877061" y="13715"/>
                </a:lnTo>
                <a:close/>
              </a:path>
              <a:path w="2612390" h="2078354">
                <a:moveTo>
                  <a:pt x="973073" y="13715"/>
                </a:moveTo>
                <a:lnTo>
                  <a:pt x="973073" y="0"/>
                </a:lnTo>
                <a:lnTo>
                  <a:pt x="918209" y="0"/>
                </a:lnTo>
                <a:lnTo>
                  <a:pt x="918209" y="13715"/>
                </a:lnTo>
                <a:lnTo>
                  <a:pt x="973073" y="13715"/>
                </a:lnTo>
                <a:close/>
              </a:path>
              <a:path w="2612390" h="2078354">
                <a:moveTo>
                  <a:pt x="1068323" y="13715"/>
                </a:moveTo>
                <a:lnTo>
                  <a:pt x="1068323" y="0"/>
                </a:lnTo>
                <a:lnTo>
                  <a:pt x="1014221" y="0"/>
                </a:lnTo>
                <a:lnTo>
                  <a:pt x="1014221" y="13715"/>
                </a:lnTo>
                <a:lnTo>
                  <a:pt x="1068323" y="13715"/>
                </a:lnTo>
                <a:close/>
              </a:path>
              <a:path w="2612390" h="2078354">
                <a:moveTo>
                  <a:pt x="1164335" y="13715"/>
                </a:moveTo>
                <a:lnTo>
                  <a:pt x="1164335" y="0"/>
                </a:lnTo>
                <a:lnTo>
                  <a:pt x="1109471" y="0"/>
                </a:lnTo>
                <a:lnTo>
                  <a:pt x="1109471" y="13715"/>
                </a:lnTo>
                <a:lnTo>
                  <a:pt x="1164335" y="13715"/>
                </a:lnTo>
                <a:close/>
              </a:path>
              <a:path w="2612390" h="2078354">
                <a:moveTo>
                  <a:pt x="1260347" y="13715"/>
                </a:moveTo>
                <a:lnTo>
                  <a:pt x="1260347" y="0"/>
                </a:lnTo>
                <a:lnTo>
                  <a:pt x="1205483" y="0"/>
                </a:lnTo>
                <a:lnTo>
                  <a:pt x="1205483" y="13715"/>
                </a:lnTo>
                <a:lnTo>
                  <a:pt x="1260347" y="13715"/>
                </a:lnTo>
                <a:close/>
              </a:path>
              <a:path w="2612390" h="2078354">
                <a:moveTo>
                  <a:pt x="1356359" y="13715"/>
                </a:moveTo>
                <a:lnTo>
                  <a:pt x="1356359" y="0"/>
                </a:lnTo>
                <a:lnTo>
                  <a:pt x="1301495" y="0"/>
                </a:lnTo>
                <a:lnTo>
                  <a:pt x="1301495" y="13715"/>
                </a:lnTo>
                <a:lnTo>
                  <a:pt x="1356359" y="13715"/>
                </a:lnTo>
                <a:close/>
              </a:path>
              <a:path w="2612390" h="2078354">
                <a:moveTo>
                  <a:pt x="1452371" y="13715"/>
                </a:moveTo>
                <a:lnTo>
                  <a:pt x="1452371" y="0"/>
                </a:lnTo>
                <a:lnTo>
                  <a:pt x="1397507" y="0"/>
                </a:lnTo>
                <a:lnTo>
                  <a:pt x="1397507" y="13715"/>
                </a:lnTo>
                <a:lnTo>
                  <a:pt x="1452371" y="13715"/>
                </a:lnTo>
                <a:close/>
              </a:path>
              <a:path w="2612390" h="2078354">
                <a:moveTo>
                  <a:pt x="1548383" y="13715"/>
                </a:moveTo>
                <a:lnTo>
                  <a:pt x="1548383" y="0"/>
                </a:lnTo>
                <a:lnTo>
                  <a:pt x="1493519" y="0"/>
                </a:lnTo>
                <a:lnTo>
                  <a:pt x="1493519" y="13715"/>
                </a:lnTo>
                <a:lnTo>
                  <a:pt x="1548383" y="13715"/>
                </a:lnTo>
                <a:close/>
              </a:path>
              <a:path w="2612390" h="2078354">
                <a:moveTo>
                  <a:pt x="1644395" y="13715"/>
                </a:moveTo>
                <a:lnTo>
                  <a:pt x="1644395" y="0"/>
                </a:lnTo>
                <a:lnTo>
                  <a:pt x="1589531" y="0"/>
                </a:lnTo>
                <a:lnTo>
                  <a:pt x="1589531" y="13715"/>
                </a:lnTo>
                <a:lnTo>
                  <a:pt x="1644395" y="13715"/>
                </a:lnTo>
                <a:close/>
              </a:path>
              <a:path w="2612390" h="2078354">
                <a:moveTo>
                  <a:pt x="1740407" y="13715"/>
                </a:moveTo>
                <a:lnTo>
                  <a:pt x="1740407" y="0"/>
                </a:lnTo>
                <a:lnTo>
                  <a:pt x="1685543" y="0"/>
                </a:lnTo>
                <a:lnTo>
                  <a:pt x="1685543" y="13715"/>
                </a:lnTo>
                <a:lnTo>
                  <a:pt x="1740407" y="13715"/>
                </a:lnTo>
                <a:close/>
              </a:path>
              <a:path w="2612390" h="2078354">
                <a:moveTo>
                  <a:pt x="1836419" y="13715"/>
                </a:moveTo>
                <a:lnTo>
                  <a:pt x="1836419" y="0"/>
                </a:lnTo>
                <a:lnTo>
                  <a:pt x="1781555" y="0"/>
                </a:lnTo>
                <a:lnTo>
                  <a:pt x="1781555" y="13715"/>
                </a:lnTo>
                <a:lnTo>
                  <a:pt x="1836419" y="13715"/>
                </a:lnTo>
                <a:close/>
              </a:path>
              <a:path w="2612390" h="2078354">
                <a:moveTo>
                  <a:pt x="1932431" y="13715"/>
                </a:moveTo>
                <a:lnTo>
                  <a:pt x="1932431" y="0"/>
                </a:lnTo>
                <a:lnTo>
                  <a:pt x="1877567" y="0"/>
                </a:lnTo>
                <a:lnTo>
                  <a:pt x="1877567" y="13715"/>
                </a:lnTo>
                <a:lnTo>
                  <a:pt x="1932431" y="13715"/>
                </a:lnTo>
                <a:close/>
              </a:path>
              <a:path w="2612390" h="2078354">
                <a:moveTo>
                  <a:pt x="2028443" y="13715"/>
                </a:moveTo>
                <a:lnTo>
                  <a:pt x="2028443" y="0"/>
                </a:lnTo>
                <a:lnTo>
                  <a:pt x="1973579" y="0"/>
                </a:lnTo>
                <a:lnTo>
                  <a:pt x="1973579" y="13715"/>
                </a:lnTo>
                <a:lnTo>
                  <a:pt x="2028443" y="13715"/>
                </a:lnTo>
                <a:close/>
              </a:path>
              <a:path w="2612390" h="2078354">
                <a:moveTo>
                  <a:pt x="2124455" y="13715"/>
                </a:moveTo>
                <a:lnTo>
                  <a:pt x="2124455" y="0"/>
                </a:lnTo>
                <a:lnTo>
                  <a:pt x="2069591" y="0"/>
                </a:lnTo>
                <a:lnTo>
                  <a:pt x="2069591" y="13715"/>
                </a:lnTo>
                <a:lnTo>
                  <a:pt x="2124455" y="13715"/>
                </a:lnTo>
                <a:close/>
              </a:path>
              <a:path w="2612390" h="2078354">
                <a:moveTo>
                  <a:pt x="2220467" y="13715"/>
                </a:moveTo>
                <a:lnTo>
                  <a:pt x="2220467" y="0"/>
                </a:lnTo>
                <a:lnTo>
                  <a:pt x="2165604" y="0"/>
                </a:lnTo>
                <a:lnTo>
                  <a:pt x="2165604" y="13715"/>
                </a:lnTo>
                <a:lnTo>
                  <a:pt x="2220467" y="13715"/>
                </a:lnTo>
                <a:close/>
              </a:path>
              <a:path w="2612390" h="2078354">
                <a:moveTo>
                  <a:pt x="2315717" y="13715"/>
                </a:moveTo>
                <a:lnTo>
                  <a:pt x="2315717" y="0"/>
                </a:lnTo>
                <a:lnTo>
                  <a:pt x="2260854" y="0"/>
                </a:lnTo>
                <a:lnTo>
                  <a:pt x="2260854" y="13715"/>
                </a:lnTo>
                <a:lnTo>
                  <a:pt x="2315717" y="13715"/>
                </a:lnTo>
                <a:close/>
              </a:path>
              <a:path w="2612390" h="2078354">
                <a:moveTo>
                  <a:pt x="2411729" y="13715"/>
                </a:moveTo>
                <a:lnTo>
                  <a:pt x="2411729" y="0"/>
                </a:lnTo>
                <a:lnTo>
                  <a:pt x="2356866" y="0"/>
                </a:lnTo>
                <a:lnTo>
                  <a:pt x="2356866" y="13715"/>
                </a:lnTo>
                <a:lnTo>
                  <a:pt x="2411729" y="13715"/>
                </a:lnTo>
                <a:close/>
              </a:path>
              <a:path w="2612390" h="2078354">
                <a:moveTo>
                  <a:pt x="2507741" y="13715"/>
                </a:moveTo>
                <a:lnTo>
                  <a:pt x="2507741" y="0"/>
                </a:lnTo>
                <a:lnTo>
                  <a:pt x="2452878" y="0"/>
                </a:lnTo>
                <a:lnTo>
                  <a:pt x="2452878" y="13715"/>
                </a:lnTo>
                <a:lnTo>
                  <a:pt x="2507741" y="13715"/>
                </a:lnTo>
                <a:close/>
              </a:path>
              <a:path w="2612390" h="2078354">
                <a:moveTo>
                  <a:pt x="2603754" y="13715"/>
                </a:moveTo>
                <a:lnTo>
                  <a:pt x="2603754" y="0"/>
                </a:lnTo>
                <a:lnTo>
                  <a:pt x="2548890" y="0"/>
                </a:lnTo>
                <a:lnTo>
                  <a:pt x="2548890" y="13715"/>
                </a:lnTo>
                <a:lnTo>
                  <a:pt x="2603754" y="13715"/>
                </a:lnTo>
                <a:close/>
              </a:path>
              <a:path w="2612390" h="2078354">
                <a:moveTo>
                  <a:pt x="2612136" y="102107"/>
                </a:moveTo>
                <a:lnTo>
                  <a:pt x="2612136" y="47243"/>
                </a:lnTo>
                <a:lnTo>
                  <a:pt x="2598420" y="47243"/>
                </a:lnTo>
                <a:lnTo>
                  <a:pt x="2598420" y="102107"/>
                </a:lnTo>
                <a:lnTo>
                  <a:pt x="2612136" y="102107"/>
                </a:lnTo>
                <a:close/>
              </a:path>
              <a:path w="2612390" h="2078354">
                <a:moveTo>
                  <a:pt x="2612136" y="198119"/>
                </a:moveTo>
                <a:lnTo>
                  <a:pt x="2612136" y="143255"/>
                </a:lnTo>
                <a:lnTo>
                  <a:pt x="2598420" y="143255"/>
                </a:lnTo>
                <a:lnTo>
                  <a:pt x="2598420" y="198119"/>
                </a:lnTo>
                <a:lnTo>
                  <a:pt x="2612136" y="198119"/>
                </a:lnTo>
                <a:close/>
              </a:path>
              <a:path w="2612390" h="2078354">
                <a:moveTo>
                  <a:pt x="2612136" y="294131"/>
                </a:moveTo>
                <a:lnTo>
                  <a:pt x="2612136" y="239267"/>
                </a:lnTo>
                <a:lnTo>
                  <a:pt x="2598420" y="239267"/>
                </a:lnTo>
                <a:lnTo>
                  <a:pt x="2598420" y="294131"/>
                </a:lnTo>
                <a:lnTo>
                  <a:pt x="2612136" y="294131"/>
                </a:lnTo>
                <a:close/>
              </a:path>
              <a:path w="2612390" h="2078354">
                <a:moveTo>
                  <a:pt x="2612136" y="390143"/>
                </a:moveTo>
                <a:lnTo>
                  <a:pt x="2612136" y="335279"/>
                </a:lnTo>
                <a:lnTo>
                  <a:pt x="2598420" y="335279"/>
                </a:lnTo>
                <a:lnTo>
                  <a:pt x="2598420" y="390143"/>
                </a:lnTo>
                <a:lnTo>
                  <a:pt x="2612136" y="390143"/>
                </a:lnTo>
                <a:close/>
              </a:path>
              <a:path w="2612390" h="2078354">
                <a:moveTo>
                  <a:pt x="2612136" y="486155"/>
                </a:moveTo>
                <a:lnTo>
                  <a:pt x="2612136" y="431291"/>
                </a:lnTo>
                <a:lnTo>
                  <a:pt x="2598420" y="431291"/>
                </a:lnTo>
                <a:lnTo>
                  <a:pt x="2598420" y="486155"/>
                </a:lnTo>
                <a:lnTo>
                  <a:pt x="2612136" y="486155"/>
                </a:lnTo>
                <a:close/>
              </a:path>
              <a:path w="2612390" h="2078354">
                <a:moveTo>
                  <a:pt x="2612136" y="581405"/>
                </a:moveTo>
                <a:lnTo>
                  <a:pt x="2612136" y="526541"/>
                </a:lnTo>
                <a:lnTo>
                  <a:pt x="2598420" y="526541"/>
                </a:lnTo>
                <a:lnTo>
                  <a:pt x="2598420" y="581405"/>
                </a:lnTo>
                <a:lnTo>
                  <a:pt x="2612136" y="581405"/>
                </a:lnTo>
                <a:close/>
              </a:path>
              <a:path w="2612390" h="2078354">
                <a:moveTo>
                  <a:pt x="2612136" y="677417"/>
                </a:moveTo>
                <a:lnTo>
                  <a:pt x="2612136" y="622553"/>
                </a:lnTo>
                <a:lnTo>
                  <a:pt x="2598420" y="622553"/>
                </a:lnTo>
                <a:lnTo>
                  <a:pt x="2598420" y="677417"/>
                </a:lnTo>
                <a:lnTo>
                  <a:pt x="2612136" y="677417"/>
                </a:lnTo>
                <a:close/>
              </a:path>
              <a:path w="2612390" h="2078354">
                <a:moveTo>
                  <a:pt x="2612136" y="773429"/>
                </a:moveTo>
                <a:lnTo>
                  <a:pt x="2612136" y="718565"/>
                </a:lnTo>
                <a:lnTo>
                  <a:pt x="2598420" y="718565"/>
                </a:lnTo>
                <a:lnTo>
                  <a:pt x="2598420" y="773429"/>
                </a:lnTo>
                <a:lnTo>
                  <a:pt x="2612136" y="773429"/>
                </a:lnTo>
                <a:close/>
              </a:path>
              <a:path w="2612390" h="2078354">
                <a:moveTo>
                  <a:pt x="2612136" y="869441"/>
                </a:moveTo>
                <a:lnTo>
                  <a:pt x="2612136" y="814577"/>
                </a:lnTo>
                <a:lnTo>
                  <a:pt x="2598420" y="814577"/>
                </a:lnTo>
                <a:lnTo>
                  <a:pt x="2598420" y="869441"/>
                </a:lnTo>
                <a:lnTo>
                  <a:pt x="2612136" y="869441"/>
                </a:lnTo>
                <a:close/>
              </a:path>
              <a:path w="2612390" h="2078354">
                <a:moveTo>
                  <a:pt x="2612136" y="965453"/>
                </a:moveTo>
                <a:lnTo>
                  <a:pt x="2612136" y="910589"/>
                </a:lnTo>
                <a:lnTo>
                  <a:pt x="2598420" y="910589"/>
                </a:lnTo>
                <a:lnTo>
                  <a:pt x="2598420" y="965453"/>
                </a:lnTo>
                <a:lnTo>
                  <a:pt x="2612136" y="965453"/>
                </a:lnTo>
                <a:close/>
              </a:path>
              <a:path w="2612390" h="2078354">
                <a:moveTo>
                  <a:pt x="2612136" y="1061465"/>
                </a:moveTo>
                <a:lnTo>
                  <a:pt x="2612136" y="1006601"/>
                </a:lnTo>
                <a:lnTo>
                  <a:pt x="2598420" y="1006601"/>
                </a:lnTo>
                <a:lnTo>
                  <a:pt x="2598420" y="1061465"/>
                </a:lnTo>
                <a:lnTo>
                  <a:pt x="2612136" y="1061465"/>
                </a:lnTo>
                <a:close/>
              </a:path>
              <a:path w="2612390" h="2078354">
                <a:moveTo>
                  <a:pt x="2612136" y="1157477"/>
                </a:moveTo>
                <a:lnTo>
                  <a:pt x="2612136" y="1102614"/>
                </a:lnTo>
                <a:lnTo>
                  <a:pt x="2598420" y="1102614"/>
                </a:lnTo>
                <a:lnTo>
                  <a:pt x="2598420" y="1157477"/>
                </a:lnTo>
                <a:lnTo>
                  <a:pt x="2612136" y="1157477"/>
                </a:lnTo>
                <a:close/>
              </a:path>
              <a:path w="2612390" h="2078354">
                <a:moveTo>
                  <a:pt x="2612136" y="1253489"/>
                </a:moveTo>
                <a:lnTo>
                  <a:pt x="2612136" y="1198626"/>
                </a:lnTo>
                <a:lnTo>
                  <a:pt x="2598420" y="1198626"/>
                </a:lnTo>
                <a:lnTo>
                  <a:pt x="2598420" y="1253489"/>
                </a:lnTo>
                <a:lnTo>
                  <a:pt x="2612136" y="1253489"/>
                </a:lnTo>
                <a:close/>
              </a:path>
              <a:path w="2612390" h="2078354">
                <a:moveTo>
                  <a:pt x="2612136" y="1349502"/>
                </a:moveTo>
                <a:lnTo>
                  <a:pt x="2612136" y="1294638"/>
                </a:lnTo>
                <a:lnTo>
                  <a:pt x="2598420" y="1294638"/>
                </a:lnTo>
                <a:lnTo>
                  <a:pt x="2598420" y="1349502"/>
                </a:lnTo>
                <a:lnTo>
                  <a:pt x="2612136" y="1349502"/>
                </a:lnTo>
                <a:close/>
              </a:path>
              <a:path w="2612390" h="2078354">
                <a:moveTo>
                  <a:pt x="2612136" y="1445514"/>
                </a:moveTo>
                <a:lnTo>
                  <a:pt x="2612136" y="1390650"/>
                </a:lnTo>
                <a:lnTo>
                  <a:pt x="2598420" y="1390650"/>
                </a:lnTo>
                <a:lnTo>
                  <a:pt x="2598420" y="1445514"/>
                </a:lnTo>
                <a:lnTo>
                  <a:pt x="2612136" y="1445514"/>
                </a:lnTo>
                <a:close/>
              </a:path>
              <a:path w="2612390" h="2078354">
                <a:moveTo>
                  <a:pt x="2612136" y="1541526"/>
                </a:moveTo>
                <a:lnTo>
                  <a:pt x="2612136" y="1486662"/>
                </a:lnTo>
                <a:lnTo>
                  <a:pt x="2598420" y="1486662"/>
                </a:lnTo>
                <a:lnTo>
                  <a:pt x="2598420" y="1541526"/>
                </a:lnTo>
                <a:lnTo>
                  <a:pt x="2612136" y="1541526"/>
                </a:lnTo>
                <a:close/>
              </a:path>
              <a:path w="2612390" h="2078354">
                <a:moveTo>
                  <a:pt x="2612136" y="1637538"/>
                </a:moveTo>
                <a:lnTo>
                  <a:pt x="2612136" y="1582674"/>
                </a:lnTo>
                <a:lnTo>
                  <a:pt x="2598420" y="1582674"/>
                </a:lnTo>
                <a:lnTo>
                  <a:pt x="2598420" y="1637538"/>
                </a:lnTo>
                <a:lnTo>
                  <a:pt x="2612136" y="1637538"/>
                </a:lnTo>
                <a:close/>
              </a:path>
              <a:path w="2612390" h="2078354">
                <a:moveTo>
                  <a:pt x="2612136" y="1732786"/>
                </a:moveTo>
                <a:lnTo>
                  <a:pt x="2612136" y="1678685"/>
                </a:lnTo>
                <a:lnTo>
                  <a:pt x="2598420" y="1678685"/>
                </a:lnTo>
                <a:lnTo>
                  <a:pt x="2598420" y="1732786"/>
                </a:lnTo>
                <a:lnTo>
                  <a:pt x="2612136" y="1732786"/>
                </a:lnTo>
                <a:close/>
              </a:path>
              <a:path w="2612390" h="2078354">
                <a:moveTo>
                  <a:pt x="2612136" y="1828800"/>
                </a:moveTo>
                <a:lnTo>
                  <a:pt x="2612136" y="1773935"/>
                </a:lnTo>
                <a:lnTo>
                  <a:pt x="2598420" y="1773935"/>
                </a:lnTo>
                <a:lnTo>
                  <a:pt x="2598420" y="1828800"/>
                </a:lnTo>
                <a:lnTo>
                  <a:pt x="2612136" y="1828800"/>
                </a:lnTo>
                <a:close/>
              </a:path>
              <a:path w="2612390" h="2078354">
                <a:moveTo>
                  <a:pt x="2612136" y="1924810"/>
                </a:moveTo>
                <a:lnTo>
                  <a:pt x="2612136" y="1869948"/>
                </a:lnTo>
                <a:lnTo>
                  <a:pt x="2598420" y="1869948"/>
                </a:lnTo>
                <a:lnTo>
                  <a:pt x="2598420" y="1924810"/>
                </a:lnTo>
                <a:lnTo>
                  <a:pt x="2612136" y="1924810"/>
                </a:lnTo>
                <a:close/>
              </a:path>
              <a:path w="2612390" h="2078354">
                <a:moveTo>
                  <a:pt x="2612136" y="2020824"/>
                </a:moveTo>
                <a:lnTo>
                  <a:pt x="2612136" y="1965959"/>
                </a:lnTo>
                <a:lnTo>
                  <a:pt x="2598420" y="1965959"/>
                </a:lnTo>
                <a:lnTo>
                  <a:pt x="2598420" y="2020824"/>
                </a:lnTo>
                <a:lnTo>
                  <a:pt x="2612136" y="2020824"/>
                </a:lnTo>
                <a:close/>
              </a:path>
              <a:path w="2612390" h="2078354">
                <a:moveTo>
                  <a:pt x="2605278" y="2064257"/>
                </a:moveTo>
                <a:lnTo>
                  <a:pt x="2558796" y="2064257"/>
                </a:lnTo>
                <a:lnTo>
                  <a:pt x="2558796" y="2077974"/>
                </a:lnTo>
                <a:lnTo>
                  <a:pt x="2598420" y="2077974"/>
                </a:lnTo>
                <a:lnTo>
                  <a:pt x="2598420" y="2071116"/>
                </a:lnTo>
                <a:lnTo>
                  <a:pt x="2605278" y="2064257"/>
                </a:lnTo>
                <a:close/>
              </a:path>
              <a:path w="2612390" h="2078354">
                <a:moveTo>
                  <a:pt x="2612136" y="2077974"/>
                </a:moveTo>
                <a:lnTo>
                  <a:pt x="2612136" y="2061972"/>
                </a:lnTo>
                <a:lnTo>
                  <a:pt x="2598420" y="2061972"/>
                </a:lnTo>
                <a:lnTo>
                  <a:pt x="2598420" y="2064257"/>
                </a:lnTo>
                <a:lnTo>
                  <a:pt x="2605278" y="2064257"/>
                </a:lnTo>
                <a:lnTo>
                  <a:pt x="2605278" y="2077974"/>
                </a:lnTo>
                <a:lnTo>
                  <a:pt x="2612136" y="2077974"/>
                </a:lnTo>
                <a:close/>
              </a:path>
              <a:path w="2612390" h="2078354">
                <a:moveTo>
                  <a:pt x="2605278" y="2077974"/>
                </a:moveTo>
                <a:lnTo>
                  <a:pt x="2605278" y="2064257"/>
                </a:lnTo>
                <a:lnTo>
                  <a:pt x="2598420" y="2071116"/>
                </a:lnTo>
                <a:lnTo>
                  <a:pt x="2598420" y="2077974"/>
                </a:lnTo>
                <a:lnTo>
                  <a:pt x="2605278" y="2077974"/>
                </a:lnTo>
                <a:close/>
              </a:path>
              <a:path w="2612390" h="2078354">
                <a:moveTo>
                  <a:pt x="2517648" y="2077974"/>
                </a:moveTo>
                <a:lnTo>
                  <a:pt x="2517648" y="2064257"/>
                </a:lnTo>
                <a:lnTo>
                  <a:pt x="2462784" y="2064257"/>
                </a:lnTo>
                <a:lnTo>
                  <a:pt x="2462784" y="2077974"/>
                </a:lnTo>
                <a:lnTo>
                  <a:pt x="2517648" y="2077974"/>
                </a:lnTo>
                <a:close/>
              </a:path>
              <a:path w="2612390" h="2078354">
                <a:moveTo>
                  <a:pt x="2421636" y="2077974"/>
                </a:moveTo>
                <a:lnTo>
                  <a:pt x="2421636" y="2064257"/>
                </a:lnTo>
                <a:lnTo>
                  <a:pt x="2366772" y="2064257"/>
                </a:lnTo>
                <a:lnTo>
                  <a:pt x="2366772" y="2077974"/>
                </a:lnTo>
                <a:lnTo>
                  <a:pt x="2421636" y="2077974"/>
                </a:lnTo>
                <a:close/>
              </a:path>
              <a:path w="2612390" h="2078354">
                <a:moveTo>
                  <a:pt x="2325624" y="2077974"/>
                </a:moveTo>
                <a:lnTo>
                  <a:pt x="2325624" y="2064257"/>
                </a:lnTo>
                <a:lnTo>
                  <a:pt x="2270760" y="2064257"/>
                </a:lnTo>
                <a:lnTo>
                  <a:pt x="2270760" y="2077974"/>
                </a:lnTo>
                <a:lnTo>
                  <a:pt x="2325624" y="2077974"/>
                </a:lnTo>
                <a:close/>
              </a:path>
              <a:path w="2612390" h="2078354">
                <a:moveTo>
                  <a:pt x="2229612" y="2077974"/>
                </a:moveTo>
                <a:lnTo>
                  <a:pt x="2229612" y="2064257"/>
                </a:lnTo>
                <a:lnTo>
                  <a:pt x="2174748" y="2064257"/>
                </a:lnTo>
                <a:lnTo>
                  <a:pt x="2174748" y="2077974"/>
                </a:lnTo>
                <a:lnTo>
                  <a:pt x="2229612" y="2077974"/>
                </a:lnTo>
                <a:close/>
              </a:path>
              <a:path w="2612390" h="2078354">
                <a:moveTo>
                  <a:pt x="2133600" y="2077974"/>
                </a:moveTo>
                <a:lnTo>
                  <a:pt x="2133600" y="2064257"/>
                </a:lnTo>
                <a:lnTo>
                  <a:pt x="2078736" y="2064257"/>
                </a:lnTo>
                <a:lnTo>
                  <a:pt x="2078736" y="2077974"/>
                </a:lnTo>
                <a:lnTo>
                  <a:pt x="2133600" y="2077974"/>
                </a:lnTo>
                <a:close/>
              </a:path>
              <a:path w="2612390" h="2078354">
                <a:moveTo>
                  <a:pt x="2038350" y="2077974"/>
                </a:moveTo>
                <a:lnTo>
                  <a:pt x="2038350" y="2064257"/>
                </a:lnTo>
                <a:lnTo>
                  <a:pt x="1983486" y="2064257"/>
                </a:lnTo>
                <a:lnTo>
                  <a:pt x="1983486" y="2077974"/>
                </a:lnTo>
                <a:lnTo>
                  <a:pt x="2038350" y="2077974"/>
                </a:lnTo>
                <a:close/>
              </a:path>
              <a:path w="2612390" h="2078354">
                <a:moveTo>
                  <a:pt x="1942338" y="2077974"/>
                </a:moveTo>
                <a:lnTo>
                  <a:pt x="1942338" y="2064257"/>
                </a:lnTo>
                <a:lnTo>
                  <a:pt x="1887474" y="2064257"/>
                </a:lnTo>
                <a:lnTo>
                  <a:pt x="1887474" y="2077974"/>
                </a:lnTo>
                <a:lnTo>
                  <a:pt x="1942338" y="2077974"/>
                </a:lnTo>
                <a:close/>
              </a:path>
              <a:path w="2612390" h="2078354">
                <a:moveTo>
                  <a:pt x="1846326" y="2077974"/>
                </a:moveTo>
                <a:lnTo>
                  <a:pt x="1846326" y="2064257"/>
                </a:lnTo>
                <a:lnTo>
                  <a:pt x="1791462" y="2064257"/>
                </a:lnTo>
                <a:lnTo>
                  <a:pt x="1791462" y="2077974"/>
                </a:lnTo>
                <a:lnTo>
                  <a:pt x="1846326" y="2077974"/>
                </a:lnTo>
                <a:close/>
              </a:path>
              <a:path w="2612390" h="2078354">
                <a:moveTo>
                  <a:pt x="1750314" y="2077974"/>
                </a:moveTo>
                <a:lnTo>
                  <a:pt x="1750314" y="2064257"/>
                </a:lnTo>
                <a:lnTo>
                  <a:pt x="1695450" y="2064257"/>
                </a:lnTo>
                <a:lnTo>
                  <a:pt x="1695450" y="2077974"/>
                </a:lnTo>
                <a:lnTo>
                  <a:pt x="1750314" y="2077974"/>
                </a:lnTo>
                <a:close/>
              </a:path>
              <a:path w="2612390" h="2078354">
                <a:moveTo>
                  <a:pt x="1654302" y="2077974"/>
                </a:moveTo>
                <a:lnTo>
                  <a:pt x="1654302" y="2064257"/>
                </a:lnTo>
                <a:lnTo>
                  <a:pt x="1599438" y="2064257"/>
                </a:lnTo>
                <a:lnTo>
                  <a:pt x="1599438" y="2077974"/>
                </a:lnTo>
                <a:lnTo>
                  <a:pt x="1654302" y="2077974"/>
                </a:lnTo>
                <a:close/>
              </a:path>
              <a:path w="2612390" h="2078354">
                <a:moveTo>
                  <a:pt x="1558290" y="2077974"/>
                </a:moveTo>
                <a:lnTo>
                  <a:pt x="1558290" y="2064257"/>
                </a:lnTo>
                <a:lnTo>
                  <a:pt x="1503426" y="2064257"/>
                </a:lnTo>
                <a:lnTo>
                  <a:pt x="1503426" y="2077974"/>
                </a:lnTo>
                <a:lnTo>
                  <a:pt x="1558290" y="2077974"/>
                </a:lnTo>
                <a:close/>
              </a:path>
              <a:path w="2612390" h="2078354">
                <a:moveTo>
                  <a:pt x="1462278" y="2077974"/>
                </a:moveTo>
                <a:lnTo>
                  <a:pt x="1462278" y="2064257"/>
                </a:lnTo>
                <a:lnTo>
                  <a:pt x="1407414" y="2064257"/>
                </a:lnTo>
                <a:lnTo>
                  <a:pt x="1407414" y="2077974"/>
                </a:lnTo>
                <a:lnTo>
                  <a:pt x="1462278" y="2077974"/>
                </a:lnTo>
                <a:close/>
              </a:path>
              <a:path w="2612390" h="2078354">
                <a:moveTo>
                  <a:pt x="1366266" y="2077974"/>
                </a:moveTo>
                <a:lnTo>
                  <a:pt x="1366266" y="2064257"/>
                </a:lnTo>
                <a:lnTo>
                  <a:pt x="1311402" y="2064257"/>
                </a:lnTo>
                <a:lnTo>
                  <a:pt x="1311402" y="2077974"/>
                </a:lnTo>
                <a:lnTo>
                  <a:pt x="1366266" y="2077974"/>
                </a:lnTo>
                <a:close/>
              </a:path>
              <a:path w="2612390" h="2078354">
                <a:moveTo>
                  <a:pt x="1270254" y="2077974"/>
                </a:moveTo>
                <a:lnTo>
                  <a:pt x="1270254" y="2064257"/>
                </a:lnTo>
                <a:lnTo>
                  <a:pt x="1215390" y="2064257"/>
                </a:lnTo>
                <a:lnTo>
                  <a:pt x="1215390" y="2077974"/>
                </a:lnTo>
                <a:lnTo>
                  <a:pt x="1270254" y="2077974"/>
                </a:lnTo>
                <a:close/>
              </a:path>
              <a:path w="2612390" h="2078354">
                <a:moveTo>
                  <a:pt x="1174242" y="2077974"/>
                </a:moveTo>
                <a:lnTo>
                  <a:pt x="1174242" y="2064257"/>
                </a:lnTo>
                <a:lnTo>
                  <a:pt x="1119378" y="2064257"/>
                </a:lnTo>
                <a:lnTo>
                  <a:pt x="1119378" y="2077974"/>
                </a:lnTo>
                <a:lnTo>
                  <a:pt x="1174242" y="2077974"/>
                </a:lnTo>
                <a:close/>
              </a:path>
              <a:path w="2612390" h="2078354">
                <a:moveTo>
                  <a:pt x="1078230" y="2077974"/>
                </a:moveTo>
                <a:lnTo>
                  <a:pt x="1078230" y="2064257"/>
                </a:lnTo>
                <a:lnTo>
                  <a:pt x="1023366" y="2064257"/>
                </a:lnTo>
                <a:lnTo>
                  <a:pt x="1023366" y="2077974"/>
                </a:lnTo>
                <a:lnTo>
                  <a:pt x="1078230" y="2077974"/>
                </a:lnTo>
                <a:close/>
              </a:path>
              <a:path w="2612390" h="2078354">
                <a:moveTo>
                  <a:pt x="982218" y="2077974"/>
                </a:moveTo>
                <a:lnTo>
                  <a:pt x="982218" y="2064257"/>
                </a:lnTo>
                <a:lnTo>
                  <a:pt x="927354" y="2064257"/>
                </a:lnTo>
                <a:lnTo>
                  <a:pt x="927354" y="2077974"/>
                </a:lnTo>
                <a:lnTo>
                  <a:pt x="982218" y="2077974"/>
                </a:lnTo>
                <a:close/>
              </a:path>
              <a:path w="2612390" h="2078354">
                <a:moveTo>
                  <a:pt x="886206" y="2077974"/>
                </a:moveTo>
                <a:lnTo>
                  <a:pt x="886206" y="2064257"/>
                </a:lnTo>
                <a:lnTo>
                  <a:pt x="832104" y="2064257"/>
                </a:lnTo>
                <a:lnTo>
                  <a:pt x="832104" y="2077974"/>
                </a:lnTo>
                <a:lnTo>
                  <a:pt x="886206" y="2077974"/>
                </a:lnTo>
                <a:close/>
              </a:path>
              <a:path w="2612390" h="2078354">
                <a:moveTo>
                  <a:pt x="790956" y="2077974"/>
                </a:moveTo>
                <a:lnTo>
                  <a:pt x="790956" y="2064257"/>
                </a:lnTo>
                <a:lnTo>
                  <a:pt x="736092" y="2064257"/>
                </a:lnTo>
                <a:lnTo>
                  <a:pt x="736092" y="2077974"/>
                </a:lnTo>
                <a:lnTo>
                  <a:pt x="790956" y="2077974"/>
                </a:lnTo>
                <a:close/>
              </a:path>
              <a:path w="2612390" h="2078354">
                <a:moveTo>
                  <a:pt x="694944" y="2077974"/>
                </a:moveTo>
                <a:lnTo>
                  <a:pt x="694944" y="2064257"/>
                </a:lnTo>
                <a:lnTo>
                  <a:pt x="640080" y="2064257"/>
                </a:lnTo>
                <a:lnTo>
                  <a:pt x="640080" y="2077974"/>
                </a:lnTo>
                <a:lnTo>
                  <a:pt x="694944" y="2077974"/>
                </a:lnTo>
                <a:close/>
              </a:path>
              <a:path w="2612390" h="2078354">
                <a:moveTo>
                  <a:pt x="598932" y="2077974"/>
                </a:moveTo>
                <a:lnTo>
                  <a:pt x="598932" y="2064257"/>
                </a:lnTo>
                <a:lnTo>
                  <a:pt x="544068" y="2064257"/>
                </a:lnTo>
                <a:lnTo>
                  <a:pt x="544068" y="2077974"/>
                </a:lnTo>
                <a:lnTo>
                  <a:pt x="598932" y="2077974"/>
                </a:lnTo>
                <a:close/>
              </a:path>
              <a:path w="2612390" h="2078354">
                <a:moveTo>
                  <a:pt x="502920" y="2077974"/>
                </a:moveTo>
                <a:lnTo>
                  <a:pt x="502920" y="2064257"/>
                </a:lnTo>
                <a:lnTo>
                  <a:pt x="448056" y="2064257"/>
                </a:lnTo>
                <a:lnTo>
                  <a:pt x="448056" y="2077974"/>
                </a:lnTo>
                <a:lnTo>
                  <a:pt x="502920" y="2077974"/>
                </a:lnTo>
                <a:close/>
              </a:path>
              <a:path w="2612390" h="2078354">
                <a:moveTo>
                  <a:pt x="406908" y="2077974"/>
                </a:moveTo>
                <a:lnTo>
                  <a:pt x="406908" y="2064257"/>
                </a:lnTo>
                <a:lnTo>
                  <a:pt x="352044" y="2064257"/>
                </a:lnTo>
                <a:lnTo>
                  <a:pt x="352044" y="2077974"/>
                </a:lnTo>
                <a:lnTo>
                  <a:pt x="406908" y="2077974"/>
                </a:lnTo>
                <a:close/>
              </a:path>
              <a:path w="2612390" h="2078354">
                <a:moveTo>
                  <a:pt x="310896" y="2077974"/>
                </a:moveTo>
                <a:lnTo>
                  <a:pt x="310896" y="2064257"/>
                </a:lnTo>
                <a:lnTo>
                  <a:pt x="256032" y="2064257"/>
                </a:lnTo>
                <a:lnTo>
                  <a:pt x="256032" y="2077974"/>
                </a:lnTo>
                <a:lnTo>
                  <a:pt x="310896" y="2077974"/>
                </a:lnTo>
                <a:close/>
              </a:path>
              <a:path w="2612390" h="2078354">
                <a:moveTo>
                  <a:pt x="214884" y="2077974"/>
                </a:moveTo>
                <a:lnTo>
                  <a:pt x="214884" y="2064257"/>
                </a:lnTo>
                <a:lnTo>
                  <a:pt x="160020" y="2064257"/>
                </a:lnTo>
                <a:lnTo>
                  <a:pt x="160020" y="2077974"/>
                </a:lnTo>
                <a:lnTo>
                  <a:pt x="214884" y="2077974"/>
                </a:lnTo>
                <a:close/>
              </a:path>
              <a:path w="2612390" h="2078354">
                <a:moveTo>
                  <a:pt x="118872" y="2077974"/>
                </a:moveTo>
                <a:lnTo>
                  <a:pt x="118872" y="2064257"/>
                </a:lnTo>
                <a:lnTo>
                  <a:pt x="64008" y="2064257"/>
                </a:lnTo>
                <a:lnTo>
                  <a:pt x="64008" y="2077974"/>
                </a:lnTo>
                <a:lnTo>
                  <a:pt x="118872" y="2077974"/>
                </a:lnTo>
                <a:close/>
              </a:path>
            </a:pathLst>
          </a:custGeom>
          <a:solidFill>
            <a:srgbClr val="E3322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4"/>
          <p:cNvSpPr txBox="1"/>
          <p:nvPr/>
        </p:nvSpPr>
        <p:spPr>
          <a:xfrm>
            <a:off x="2271667" y="2075834"/>
            <a:ext cx="2160560" cy="458139"/>
          </a:xfrm>
          <a:prstGeom prst="rect">
            <a:avLst/>
          </a:prstGeom>
          <a:solidFill>
            <a:srgbClr val="E3322C"/>
          </a:solidFill>
        </p:spPr>
        <p:txBody>
          <a:bodyPr vert="horz" wrap="square" lIns="0" tIns="29845" rIns="0" bIns="0" rtlCol="0">
            <a:spAutoFit/>
          </a:bodyPr>
          <a:lstStyle/>
          <a:p>
            <a:pPr marL="239969" marR="234257" algn="ctr">
              <a:lnSpc>
                <a:spcPct val="103299"/>
              </a:lnSpc>
            </a:pPr>
            <a:r>
              <a:rPr sz="900" spc="15" dirty="0" smtClean="0">
                <a:solidFill>
                  <a:srgbClr val="FFFFFF"/>
                </a:solidFill>
                <a:latin typeface="Arial"/>
                <a:cs typeface="Arial"/>
              </a:rPr>
              <a:t>«</a:t>
            </a:r>
            <a:r>
              <a:rPr sz="900" spc="15" dirty="0">
                <a:solidFill>
                  <a:srgbClr val="FFFFFF"/>
                </a:solidFill>
                <a:latin typeface="Arial"/>
                <a:cs typeface="Arial"/>
              </a:rPr>
              <a:t>Системные </a:t>
            </a:r>
            <a:r>
              <a:rPr sz="900" spc="20" dirty="0">
                <a:solidFill>
                  <a:srgbClr val="FFFFFF"/>
                </a:solidFill>
                <a:latin typeface="Arial"/>
                <a:cs typeface="Arial"/>
              </a:rPr>
              <a:t>меры развития  </a:t>
            </a:r>
            <a:r>
              <a:rPr sz="900" spc="15" dirty="0">
                <a:solidFill>
                  <a:srgbClr val="FFFFFF"/>
                </a:solidFill>
                <a:latin typeface="Arial"/>
                <a:cs typeface="Arial"/>
              </a:rPr>
              <a:t>международной </a:t>
            </a:r>
            <a:r>
              <a:rPr sz="900" spc="20" dirty="0">
                <a:solidFill>
                  <a:srgbClr val="FFFFFF"/>
                </a:solidFill>
                <a:latin typeface="Arial"/>
                <a:cs typeface="Arial"/>
              </a:rPr>
              <a:t>кооперации</a:t>
            </a:r>
            <a:r>
              <a:rPr sz="900" spc="-6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spc="20" dirty="0">
                <a:solidFill>
                  <a:srgbClr val="FFFFFF"/>
                </a:solidFill>
                <a:latin typeface="Arial"/>
                <a:cs typeface="Arial"/>
              </a:rPr>
              <a:t>и  </a:t>
            </a:r>
            <a:r>
              <a:rPr sz="900" spc="15" dirty="0">
                <a:solidFill>
                  <a:srgbClr val="FFFFFF"/>
                </a:solidFill>
                <a:latin typeface="Arial"/>
                <a:cs typeface="Arial"/>
              </a:rPr>
              <a:t>экспорта»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7" name="object 26"/>
          <p:cNvSpPr txBox="1"/>
          <p:nvPr/>
        </p:nvSpPr>
        <p:spPr>
          <a:xfrm>
            <a:off x="2271667" y="2770693"/>
            <a:ext cx="2160560" cy="504000"/>
          </a:xfrm>
          <a:prstGeom prst="rect">
            <a:avLst/>
          </a:prstGeom>
          <a:solidFill>
            <a:srgbClr val="466AA4"/>
          </a:solidFill>
        </p:spPr>
        <p:txBody>
          <a:bodyPr vert="horz" wrap="square" lIns="0" tIns="121285" rIns="0" bIns="0" rtlCol="0">
            <a:spAutoFit/>
          </a:bodyPr>
          <a:lstStyle/>
          <a:p>
            <a:pPr marL="189184" marR="183470" algn="ctr">
              <a:lnSpc>
                <a:spcPct val="103000"/>
              </a:lnSpc>
              <a:spcBef>
                <a:spcPts val="5"/>
              </a:spcBef>
            </a:pPr>
            <a:r>
              <a:rPr sz="900" spc="15" dirty="0" smtClean="0">
                <a:solidFill>
                  <a:srgbClr val="FFFFFF"/>
                </a:solidFill>
                <a:latin typeface="Arial"/>
                <a:cs typeface="Arial"/>
              </a:rPr>
              <a:t>«</a:t>
            </a:r>
            <a:r>
              <a:rPr sz="900" spc="15" dirty="0">
                <a:solidFill>
                  <a:srgbClr val="FFFFFF"/>
                </a:solidFill>
                <a:latin typeface="Arial"/>
                <a:cs typeface="Arial"/>
              </a:rPr>
              <a:t>Международная </a:t>
            </a:r>
            <a:r>
              <a:rPr sz="900" spc="20" dirty="0">
                <a:solidFill>
                  <a:srgbClr val="FFFFFF"/>
                </a:solidFill>
                <a:latin typeface="Arial"/>
                <a:cs typeface="Arial"/>
              </a:rPr>
              <a:t>кооперация</a:t>
            </a:r>
            <a:r>
              <a:rPr sz="900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spc="20" dirty="0">
                <a:solidFill>
                  <a:srgbClr val="FFFFFF"/>
                </a:solidFill>
                <a:latin typeface="Arial"/>
                <a:cs typeface="Arial"/>
              </a:rPr>
              <a:t>и  </a:t>
            </a:r>
            <a:r>
              <a:rPr sz="900" spc="15" dirty="0">
                <a:solidFill>
                  <a:srgbClr val="FFFFFF"/>
                </a:solidFill>
                <a:latin typeface="Arial"/>
                <a:cs typeface="Arial"/>
              </a:rPr>
              <a:t>экспорт в</a:t>
            </a:r>
            <a:r>
              <a:rPr sz="900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900" spc="15" dirty="0">
                <a:solidFill>
                  <a:srgbClr val="FFFFFF"/>
                </a:solidFill>
                <a:latin typeface="Arial"/>
                <a:cs typeface="Arial"/>
              </a:rPr>
              <a:t>промышленности</a:t>
            </a:r>
            <a:r>
              <a:rPr sz="900" spc="15" dirty="0">
                <a:solidFill>
                  <a:srgbClr val="FFFFFF"/>
                </a:solidFill>
                <a:latin typeface="Arial"/>
                <a:cs typeface="Arial"/>
              </a:rPr>
              <a:t>»</a:t>
            </a:r>
            <a:endParaRPr lang="ru-RU" sz="900" spc="15" dirty="0">
              <a:solidFill>
                <a:srgbClr val="FFFFFF"/>
              </a:solidFill>
              <a:latin typeface="Arial"/>
              <a:cs typeface="Arial"/>
            </a:endParaRPr>
          </a:p>
          <a:p>
            <a:pPr marL="189184" marR="183470" algn="ctr">
              <a:lnSpc>
                <a:spcPct val="103000"/>
              </a:lnSpc>
              <a:spcBef>
                <a:spcPts val="5"/>
              </a:spcBef>
            </a:pPr>
            <a:endParaRPr lang="ru-RU" sz="500" spc="15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3" name="object 32"/>
          <p:cNvSpPr/>
          <p:nvPr/>
        </p:nvSpPr>
        <p:spPr>
          <a:xfrm>
            <a:off x="2265963" y="3509170"/>
            <a:ext cx="2172176" cy="504000"/>
          </a:xfrm>
          <a:custGeom>
            <a:avLst/>
            <a:gdLst/>
            <a:ahLst/>
            <a:cxnLst/>
            <a:rect l="l" t="t" r="r" b="b"/>
            <a:pathLst>
              <a:path w="2612390" h="797560">
                <a:moveTo>
                  <a:pt x="2612136" y="797051"/>
                </a:moveTo>
                <a:lnTo>
                  <a:pt x="2612136" y="0"/>
                </a:lnTo>
                <a:lnTo>
                  <a:pt x="0" y="0"/>
                </a:lnTo>
                <a:lnTo>
                  <a:pt x="0" y="797051"/>
                </a:lnTo>
                <a:lnTo>
                  <a:pt x="6858" y="797051"/>
                </a:lnTo>
                <a:lnTo>
                  <a:pt x="6858" y="13715"/>
                </a:lnTo>
                <a:lnTo>
                  <a:pt x="13716" y="6858"/>
                </a:lnTo>
                <a:lnTo>
                  <a:pt x="13716" y="13715"/>
                </a:lnTo>
                <a:lnTo>
                  <a:pt x="2598419" y="13715"/>
                </a:lnTo>
                <a:lnTo>
                  <a:pt x="2598419" y="6858"/>
                </a:lnTo>
                <a:lnTo>
                  <a:pt x="2605278" y="13715"/>
                </a:lnTo>
                <a:lnTo>
                  <a:pt x="2605278" y="797051"/>
                </a:lnTo>
                <a:lnTo>
                  <a:pt x="2612136" y="797051"/>
                </a:lnTo>
                <a:close/>
              </a:path>
              <a:path w="2612390" h="797560">
                <a:moveTo>
                  <a:pt x="13716" y="13715"/>
                </a:moveTo>
                <a:lnTo>
                  <a:pt x="13716" y="6858"/>
                </a:lnTo>
                <a:lnTo>
                  <a:pt x="6858" y="13715"/>
                </a:lnTo>
                <a:lnTo>
                  <a:pt x="13716" y="13715"/>
                </a:lnTo>
                <a:close/>
              </a:path>
              <a:path w="2612390" h="797560">
                <a:moveTo>
                  <a:pt x="13716" y="783336"/>
                </a:moveTo>
                <a:lnTo>
                  <a:pt x="13716" y="13715"/>
                </a:lnTo>
                <a:lnTo>
                  <a:pt x="6858" y="13715"/>
                </a:lnTo>
                <a:lnTo>
                  <a:pt x="6858" y="783336"/>
                </a:lnTo>
                <a:lnTo>
                  <a:pt x="13716" y="783336"/>
                </a:lnTo>
                <a:close/>
              </a:path>
              <a:path w="2612390" h="797560">
                <a:moveTo>
                  <a:pt x="2605278" y="783336"/>
                </a:moveTo>
                <a:lnTo>
                  <a:pt x="6858" y="783336"/>
                </a:lnTo>
                <a:lnTo>
                  <a:pt x="13716" y="790193"/>
                </a:lnTo>
                <a:lnTo>
                  <a:pt x="13716" y="797051"/>
                </a:lnTo>
                <a:lnTo>
                  <a:pt x="2598419" y="797051"/>
                </a:lnTo>
                <a:lnTo>
                  <a:pt x="2598419" y="790193"/>
                </a:lnTo>
                <a:lnTo>
                  <a:pt x="2605278" y="783336"/>
                </a:lnTo>
                <a:close/>
              </a:path>
              <a:path w="2612390" h="797560">
                <a:moveTo>
                  <a:pt x="13716" y="797051"/>
                </a:moveTo>
                <a:lnTo>
                  <a:pt x="13716" y="790193"/>
                </a:lnTo>
                <a:lnTo>
                  <a:pt x="6858" y="783336"/>
                </a:lnTo>
                <a:lnTo>
                  <a:pt x="6858" y="797051"/>
                </a:lnTo>
                <a:lnTo>
                  <a:pt x="13716" y="797051"/>
                </a:lnTo>
                <a:close/>
              </a:path>
              <a:path w="2612390" h="797560">
                <a:moveTo>
                  <a:pt x="2605278" y="13715"/>
                </a:moveTo>
                <a:lnTo>
                  <a:pt x="2598419" y="6858"/>
                </a:lnTo>
                <a:lnTo>
                  <a:pt x="2598419" y="13715"/>
                </a:lnTo>
                <a:lnTo>
                  <a:pt x="2605278" y="13715"/>
                </a:lnTo>
                <a:close/>
              </a:path>
              <a:path w="2612390" h="797560">
                <a:moveTo>
                  <a:pt x="2605278" y="783336"/>
                </a:moveTo>
                <a:lnTo>
                  <a:pt x="2605278" y="13715"/>
                </a:lnTo>
                <a:lnTo>
                  <a:pt x="2598419" y="13715"/>
                </a:lnTo>
                <a:lnTo>
                  <a:pt x="2598419" y="783336"/>
                </a:lnTo>
                <a:lnTo>
                  <a:pt x="2605278" y="783336"/>
                </a:lnTo>
                <a:close/>
              </a:path>
              <a:path w="2612390" h="797560">
                <a:moveTo>
                  <a:pt x="2605278" y="797051"/>
                </a:moveTo>
                <a:lnTo>
                  <a:pt x="2605278" y="783336"/>
                </a:lnTo>
                <a:lnTo>
                  <a:pt x="2598419" y="790193"/>
                </a:lnTo>
                <a:lnTo>
                  <a:pt x="2598419" y="797051"/>
                </a:lnTo>
                <a:lnTo>
                  <a:pt x="2605278" y="797051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 anchor="ctr"/>
          <a:lstStyle/>
          <a:p>
            <a:pPr marL="12696" algn="ctr">
              <a:spcBef>
                <a:spcPts val="45"/>
              </a:spcBef>
            </a:pPr>
            <a:r>
              <a:rPr lang="ru-RU" sz="900" spc="15" dirty="0">
                <a:solidFill>
                  <a:srgbClr val="00338E"/>
                </a:solidFill>
                <a:latin typeface="Arial"/>
                <a:cs typeface="Arial"/>
              </a:rPr>
              <a:t>«Экспорт </a:t>
            </a:r>
            <a:r>
              <a:rPr lang="ru-RU" sz="900" spc="20" dirty="0">
                <a:solidFill>
                  <a:srgbClr val="00338E"/>
                </a:solidFill>
                <a:latin typeface="Arial"/>
                <a:cs typeface="Arial"/>
              </a:rPr>
              <a:t>продукции</a:t>
            </a:r>
            <a:r>
              <a:rPr lang="ru-RU" sz="900" spc="-100" dirty="0">
                <a:solidFill>
                  <a:srgbClr val="00338E"/>
                </a:solidFill>
                <a:latin typeface="Arial"/>
                <a:cs typeface="Arial"/>
              </a:rPr>
              <a:t> </a:t>
            </a:r>
            <a:r>
              <a:rPr lang="ru-RU" sz="900" spc="20" dirty="0">
                <a:solidFill>
                  <a:srgbClr val="00338E"/>
                </a:solidFill>
                <a:latin typeface="Arial"/>
                <a:cs typeface="Arial"/>
              </a:rPr>
              <a:t>АПК»</a:t>
            </a:r>
            <a:endParaRPr lang="ru-RU" sz="900" dirty="0">
              <a:latin typeface="Arial"/>
              <a:cs typeface="Arial"/>
            </a:endParaRPr>
          </a:p>
        </p:txBody>
      </p:sp>
      <p:sp>
        <p:nvSpPr>
          <p:cNvPr id="47" name="object 39"/>
          <p:cNvSpPr txBox="1"/>
          <p:nvPr/>
        </p:nvSpPr>
        <p:spPr>
          <a:xfrm>
            <a:off x="2484536" y="4911728"/>
            <a:ext cx="177709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6"/>
            <a:r>
              <a:rPr sz="1100" b="1" spc="15" dirty="0">
                <a:solidFill>
                  <a:srgbClr val="E3322C"/>
                </a:solidFill>
                <a:latin typeface="Arial"/>
                <a:cs typeface="Arial"/>
              </a:rPr>
              <a:t>Перспективные</a:t>
            </a:r>
            <a:r>
              <a:rPr sz="1100" b="1" spc="-110" dirty="0">
                <a:solidFill>
                  <a:srgbClr val="E3322C"/>
                </a:solidFill>
                <a:latin typeface="Arial"/>
                <a:cs typeface="Arial"/>
              </a:rPr>
              <a:t> </a:t>
            </a:r>
            <a:r>
              <a:rPr sz="1100" b="1" spc="15" dirty="0">
                <a:solidFill>
                  <a:srgbClr val="E3322C"/>
                </a:solidFill>
                <a:latin typeface="Arial"/>
                <a:cs typeface="Arial"/>
              </a:rPr>
              <a:t>проекты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49" name="object 41"/>
          <p:cNvSpPr/>
          <p:nvPr/>
        </p:nvSpPr>
        <p:spPr>
          <a:xfrm>
            <a:off x="364873" y="3739555"/>
            <a:ext cx="1418665" cy="6513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 w="1270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2"/>
          <p:cNvSpPr/>
          <p:nvPr/>
        </p:nvSpPr>
        <p:spPr>
          <a:xfrm>
            <a:off x="364872" y="3733855"/>
            <a:ext cx="1424579" cy="663163"/>
          </a:xfrm>
          <a:custGeom>
            <a:avLst/>
            <a:gdLst/>
            <a:ahLst/>
            <a:cxnLst/>
            <a:rect l="l" t="t" r="r" b="b"/>
            <a:pathLst>
              <a:path w="1861820" h="797560">
                <a:moveTo>
                  <a:pt x="1861566" y="795528"/>
                </a:moveTo>
                <a:lnTo>
                  <a:pt x="1861566" y="1524"/>
                </a:lnTo>
                <a:lnTo>
                  <a:pt x="1860042" y="0"/>
                </a:lnTo>
                <a:lnTo>
                  <a:pt x="1523" y="0"/>
                </a:lnTo>
                <a:lnTo>
                  <a:pt x="0" y="1524"/>
                </a:lnTo>
                <a:lnTo>
                  <a:pt x="0" y="795528"/>
                </a:lnTo>
                <a:lnTo>
                  <a:pt x="1524" y="797052"/>
                </a:lnTo>
                <a:lnTo>
                  <a:pt x="3047" y="797052"/>
                </a:lnTo>
                <a:lnTo>
                  <a:pt x="3048" y="6858"/>
                </a:lnTo>
                <a:lnTo>
                  <a:pt x="6858" y="3048"/>
                </a:lnTo>
                <a:lnTo>
                  <a:pt x="6857" y="6858"/>
                </a:lnTo>
                <a:lnTo>
                  <a:pt x="1854708" y="6858"/>
                </a:lnTo>
                <a:lnTo>
                  <a:pt x="1854708" y="3048"/>
                </a:lnTo>
                <a:lnTo>
                  <a:pt x="1857756" y="6858"/>
                </a:lnTo>
                <a:lnTo>
                  <a:pt x="1857756" y="797052"/>
                </a:lnTo>
                <a:lnTo>
                  <a:pt x="1860042" y="797052"/>
                </a:lnTo>
                <a:lnTo>
                  <a:pt x="1861566" y="795528"/>
                </a:lnTo>
                <a:close/>
              </a:path>
              <a:path w="1861820" h="797560">
                <a:moveTo>
                  <a:pt x="6857" y="6858"/>
                </a:moveTo>
                <a:lnTo>
                  <a:pt x="6858" y="3048"/>
                </a:lnTo>
                <a:lnTo>
                  <a:pt x="3048" y="6858"/>
                </a:lnTo>
                <a:lnTo>
                  <a:pt x="6857" y="6858"/>
                </a:lnTo>
                <a:close/>
              </a:path>
              <a:path w="1861820" h="797560">
                <a:moveTo>
                  <a:pt x="6857" y="790194"/>
                </a:moveTo>
                <a:lnTo>
                  <a:pt x="6857" y="6858"/>
                </a:lnTo>
                <a:lnTo>
                  <a:pt x="3048" y="6858"/>
                </a:lnTo>
                <a:lnTo>
                  <a:pt x="3048" y="790194"/>
                </a:lnTo>
                <a:lnTo>
                  <a:pt x="6857" y="790194"/>
                </a:lnTo>
                <a:close/>
              </a:path>
              <a:path w="1861820" h="797560">
                <a:moveTo>
                  <a:pt x="1857756" y="790194"/>
                </a:moveTo>
                <a:lnTo>
                  <a:pt x="3048" y="790194"/>
                </a:lnTo>
                <a:lnTo>
                  <a:pt x="6858" y="794004"/>
                </a:lnTo>
                <a:lnTo>
                  <a:pt x="6857" y="797052"/>
                </a:lnTo>
                <a:lnTo>
                  <a:pt x="1854708" y="797052"/>
                </a:lnTo>
                <a:lnTo>
                  <a:pt x="1854708" y="794004"/>
                </a:lnTo>
                <a:lnTo>
                  <a:pt x="1857756" y="790194"/>
                </a:lnTo>
                <a:close/>
              </a:path>
              <a:path w="1861820" h="797560">
                <a:moveTo>
                  <a:pt x="6857" y="797052"/>
                </a:moveTo>
                <a:lnTo>
                  <a:pt x="6858" y="794004"/>
                </a:lnTo>
                <a:lnTo>
                  <a:pt x="3048" y="790194"/>
                </a:lnTo>
                <a:lnTo>
                  <a:pt x="3047" y="797052"/>
                </a:lnTo>
                <a:lnTo>
                  <a:pt x="6857" y="797052"/>
                </a:lnTo>
                <a:close/>
              </a:path>
              <a:path w="1861820" h="797560">
                <a:moveTo>
                  <a:pt x="1857756" y="6858"/>
                </a:moveTo>
                <a:lnTo>
                  <a:pt x="1854708" y="3048"/>
                </a:lnTo>
                <a:lnTo>
                  <a:pt x="1854708" y="6858"/>
                </a:lnTo>
                <a:lnTo>
                  <a:pt x="1857756" y="6858"/>
                </a:lnTo>
                <a:close/>
              </a:path>
              <a:path w="1861820" h="797560">
                <a:moveTo>
                  <a:pt x="1857756" y="790194"/>
                </a:moveTo>
                <a:lnTo>
                  <a:pt x="1857756" y="6858"/>
                </a:lnTo>
                <a:lnTo>
                  <a:pt x="1854708" y="6858"/>
                </a:lnTo>
                <a:lnTo>
                  <a:pt x="1854708" y="790194"/>
                </a:lnTo>
                <a:lnTo>
                  <a:pt x="1857756" y="790194"/>
                </a:lnTo>
                <a:close/>
              </a:path>
              <a:path w="1861820" h="797560">
                <a:moveTo>
                  <a:pt x="1857756" y="797052"/>
                </a:moveTo>
                <a:lnTo>
                  <a:pt x="1857756" y="790194"/>
                </a:lnTo>
                <a:lnTo>
                  <a:pt x="1854708" y="794004"/>
                </a:lnTo>
                <a:lnTo>
                  <a:pt x="1854708" y="797052"/>
                </a:lnTo>
                <a:lnTo>
                  <a:pt x="1857756" y="797052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320839" y="1918853"/>
            <a:ext cx="4131341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4966603" y="1915381"/>
            <a:ext cx="3924000" cy="0"/>
          </a:xfrm>
          <a:prstGeom prst="line">
            <a:avLst/>
          </a:prstGeom>
          <a:ln w="1905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4844352" y="1517449"/>
            <a:ext cx="4124207" cy="5046047"/>
            <a:chOff x="4756647" y="1062080"/>
            <a:chExt cx="4124207" cy="5925862"/>
          </a:xfrm>
        </p:grpSpPr>
        <p:sp>
          <p:nvSpPr>
            <p:cNvPr id="29" name="object 18"/>
            <p:cNvSpPr txBox="1"/>
            <p:nvPr/>
          </p:nvSpPr>
          <p:spPr>
            <a:xfrm>
              <a:off x="4819904" y="4377272"/>
              <a:ext cx="4060950" cy="2168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696" marR="5080" indent="-635" algn="ctr"/>
              <a:r>
                <a:rPr lang="ru-RU" sz="1200" b="1" spc="-10" dirty="0">
                  <a:solidFill>
                    <a:srgbClr val="283E6E"/>
                  </a:solidFill>
                  <a:latin typeface="Arial"/>
                  <a:cs typeface="Arial"/>
                </a:rPr>
                <a:t>Механизмы координации проекта</a:t>
              </a:r>
              <a:endParaRPr sz="1200" dirty="0">
                <a:solidFill>
                  <a:srgbClr val="283E6E"/>
                </a:solidFill>
                <a:latin typeface="Arial"/>
                <a:cs typeface="Arial"/>
              </a:endParaRPr>
            </a:p>
          </p:txBody>
        </p:sp>
        <p:sp>
          <p:nvSpPr>
            <p:cNvPr id="41" name="object 30"/>
            <p:cNvSpPr txBox="1"/>
            <p:nvPr/>
          </p:nvSpPr>
          <p:spPr>
            <a:xfrm>
              <a:off x="4756647" y="4759065"/>
              <a:ext cx="4055174" cy="22288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0975" marR="5080" indent="-168275" algn="just">
                <a:spcBef>
                  <a:spcPts val="2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  <a:tabLst>
                  <a:tab pos="180975" algn="l"/>
                </a:tabLst>
              </a:pPr>
              <a:r>
                <a:rPr lang="ru-RU" sz="1100" spc="2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В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корпоративном контуре </a:t>
              </a:r>
              <a:r>
                <a:rPr lang="ru-RU" sz="1100" spc="15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РЭЦ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создается Проектный  </a:t>
              </a:r>
              <a:r>
                <a:rPr lang="ru-RU" sz="1100" spc="15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офис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для </a:t>
              </a:r>
              <a:r>
                <a:rPr lang="ru-RU" sz="1100" spc="15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координации и реализации</a:t>
              </a:r>
              <a:r>
                <a:rPr lang="ru-RU" sz="1100" spc="-12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 </a:t>
              </a:r>
              <a:r>
                <a:rPr lang="ru-RU" sz="1100" spc="10" dirty="0" smtClean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проектов</a:t>
              </a:r>
              <a:endParaRPr lang="ru-RU" sz="1100" dirty="0">
                <a:solidFill>
                  <a:srgbClr val="283E6E"/>
                </a:solidFill>
                <a:latin typeface="Calibri" panose="020F0502020204030204" pitchFamily="34" charset="0"/>
                <a:cs typeface="Arial"/>
              </a:endParaRPr>
            </a:p>
            <a:p>
              <a:pPr marL="180975" marR="5080" indent="-168275" algn="just">
                <a:spcBef>
                  <a:spcPts val="2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  <a:tabLst>
                  <a:tab pos="180975" algn="l"/>
                </a:tabLst>
              </a:pPr>
              <a:r>
                <a:rPr lang="ru-RU" sz="1100" spc="15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Для каждого проекта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создается</a:t>
              </a:r>
              <a:r>
                <a:rPr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 Рабочая Группа с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участием</a:t>
              </a:r>
              <a:r>
                <a:rPr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 ФОИВ,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 общественно-деловых ассоциаций,</a:t>
              </a:r>
              <a:r>
                <a:rPr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представителей</a:t>
              </a:r>
              <a:r>
                <a:rPr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 </a:t>
              </a: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экспертного сообщества и РЭЦ, проводятся экспертные обсуждения, мозговые штурмы для выработки </a:t>
              </a:r>
              <a:r>
                <a:rPr lang="ru-RU" sz="1100" spc="10" dirty="0" smtClean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предложений</a:t>
              </a:r>
              <a:endParaRPr lang="ru-RU" sz="1100" spc="10" dirty="0">
                <a:solidFill>
                  <a:srgbClr val="283E6E"/>
                </a:solidFill>
                <a:latin typeface="Calibri" panose="020F0502020204030204" pitchFamily="34" charset="0"/>
                <a:cs typeface="Arial"/>
              </a:endParaRPr>
            </a:p>
            <a:p>
              <a:pPr marL="180975" marR="5080" indent="-168275" algn="just">
                <a:spcBef>
                  <a:spcPts val="2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  <a:tabLst>
                  <a:tab pos="180975" algn="l"/>
                </a:tabLst>
              </a:pPr>
              <a:r>
                <a:rPr lang="ru-RU" sz="1100" spc="10" dirty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Эскалация проблемных вопросов на уровень Проектного комитета (под председательством И.И. Шувалова) и/или на Президиум Совета при Президенте России по стратегическому развитию и </a:t>
              </a:r>
              <a:r>
                <a:rPr lang="ru-RU" sz="1100" spc="10" dirty="0" smtClean="0">
                  <a:solidFill>
                    <a:srgbClr val="283E6E"/>
                  </a:solidFill>
                  <a:latin typeface="Calibri" panose="020F0502020204030204" pitchFamily="34" charset="0"/>
                  <a:cs typeface="Arial"/>
                </a:rPr>
                <a:t>приоритетным проектам</a:t>
              </a:r>
              <a:endParaRPr lang="ru-RU" sz="1100" spc="10" dirty="0">
                <a:latin typeface="Calibri" panose="020F0502020204030204" pitchFamily="34" charset="0"/>
                <a:cs typeface="Arial"/>
              </a:endParaRPr>
            </a:p>
          </p:txBody>
        </p:sp>
        <p:cxnSp>
          <p:nvCxnSpPr>
            <p:cNvPr id="68" name="Прямая соединительная линия 67"/>
            <p:cNvCxnSpPr/>
            <p:nvPr/>
          </p:nvCxnSpPr>
          <p:spPr>
            <a:xfrm>
              <a:off x="4758660" y="4684320"/>
              <a:ext cx="4068000" cy="0"/>
            </a:xfrm>
            <a:prstGeom prst="line">
              <a:avLst/>
            </a:prstGeom>
            <a:ln w="19050">
              <a:solidFill>
                <a:srgbClr val="0033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object 18"/>
            <p:cNvSpPr txBox="1"/>
            <p:nvPr/>
          </p:nvSpPr>
          <p:spPr>
            <a:xfrm>
              <a:off x="4819904" y="1062080"/>
              <a:ext cx="4060950" cy="2168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696" marR="5080" indent="-635" algn="ctr"/>
              <a:r>
                <a:rPr lang="ru-RU" sz="1200" b="1" spc="-10" dirty="0">
                  <a:solidFill>
                    <a:srgbClr val="283E6E"/>
                  </a:solidFill>
                  <a:latin typeface="Arial"/>
                  <a:cs typeface="Arial"/>
                </a:rPr>
                <a:t>Целевые показатели (рост в %)*</a:t>
              </a:r>
            </a:p>
          </p:txBody>
        </p:sp>
      </p:grpSp>
      <p:sp>
        <p:nvSpPr>
          <p:cNvPr id="69" name="Прямоугольник 68"/>
          <p:cNvSpPr/>
          <p:nvPr/>
        </p:nvSpPr>
        <p:spPr>
          <a:xfrm>
            <a:off x="312345" y="3501479"/>
            <a:ext cx="1365713" cy="246199"/>
          </a:xfrm>
          <a:prstGeom prst="rect">
            <a:avLst/>
          </a:prstGeom>
        </p:spPr>
        <p:txBody>
          <a:bodyPr wrap="none" lIns="91417" tIns="45709" rIns="91417" bIns="45709">
            <a:spAutoFit/>
          </a:bodyPr>
          <a:lstStyle/>
          <a:p>
            <a:pPr algn="ctr"/>
            <a:r>
              <a:rPr lang="ru-RU" sz="1000" b="1" spc="10" dirty="0">
                <a:latin typeface="Arial"/>
                <a:cs typeface="Arial"/>
              </a:rPr>
              <a:t>Проектный  </a:t>
            </a:r>
            <a:r>
              <a:rPr lang="ru-RU" sz="1000" b="1" spc="15" dirty="0">
                <a:latin typeface="Arial"/>
                <a:cs typeface="Arial"/>
              </a:rPr>
              <a:t>офис 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4838954" y="2338006"/>
            <a:ext cx="99060" cy="1675164"/>
            <a:chOff x="4789817" y="2365247"/>
            <a:chExt cx="99060" cy="1816355"/>
          </a:xfrm>
        </p:grpSpPr>
        <p:sp>
          <p:nvSpPr>
            <p:cNvPr id="54" name="object 27"/>
            <p:cNvSpPr/>
            <p:nvPr/>
          </p:nvSpPr>
          <p:spPr>
            <a:xfrm>
              <a:off x="4789817" y="2365247"/>
              <a:ext cx="99060" cy="631825"/>
            </a:xfrm>
            <a:custGeom>
              <a:avLst/>
              <a:gdLst/>
              <a:ahLst/>
              <a:cxnLst/>
              <a:rect l="l" t="t" r="r" b="b"/>
              <a:pathLst>
                <a:path w="99060" h="631825">
                  <a:moveTo>
                    <a:pt x="0" y="0"/>
                  </a:moveTo>
                  <a:lnTo>
                    <a:pt x="0" y="631697"/>
                  </a:lnTo>
                  <a:lnTo>
                    <a:pt x="99060" y="631697"/>
                  </a:lnTo>
                  <a:lnTo>
                    <a:pt x="990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3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28"/>
            <p:cNvSpPr/>
            <p:nvPr/>
          </p:nvSpPr>
          <p:spPr>
            <a:xfrm>
              <a:off x="4789817" y="2987801"/>
              <a:ext cx="99060" cy="461009"/>
            </a:xfrm>
            <a:custGeom>
              <a:avLst/>
              <a:gdLst/>
              <a:ahLst/>
              <a:cxnLst/>
              <a:rect l="l" t="t" r="r" b="b"/>
              <a:pathLst>
                <a:path w="99060" h="461010">
                  <a:moveTo>
                    <a:pt x="0" y="0"/>
                  </a:moveTo>
                  <a:lnTo>
                    <a:pt x="0" y="461010"/>
                  </a:lnTo>
                  <a:lnTo>
                    <a:pt x="99060" y="461010"/>
                  </a:lnTo>
                  <a:lnTo>
                    <a:pt x="990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26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29"/>
            <p:cNvSpPr/>
            <p:nvPr/>
          </p:nvSpPr>
          <p:spPr>
            <a:xfrm>
              <a:off x="4789817" y="3448812"/>
              <a:ext cx="99060" cy="732790"/>
            </a:xfrm>
            <a:custGeom>
              <a:avLst/>
              <a:gdLst/>
              <a:ahLst/>
              <a:cxnLst/>
              <a:rect l="l" t="t" r="r" b="b"/>
              <a:pathLst>
                <a:path w="99060" h="732789">
                  <a:moveTo>
                    <a:pt x="0" y="0"/>
                  </a:moveTo>
                  <a:lnTo>
                    <a:pt x="0" y="732281"/>
                  </a:lnTo>
                  <a:lnTo>
                    <a:pt x="99060" y="732281"/>
                  </a:lnTo>
                  <a:lnTo>
                    <a:pt x="990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66AA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1" name="object 40"/>
          <p:cNvSpPr txBox="1"/>
          <p:nvPr/>
        </p:nvSpPr>
        <p:spPr>
          <a:xfrm>
            <a:off x="4785614" y="4031801"/>
            <a:ext cx="4209804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6"/>
            <a:r>
              <a:rPr sz="900" i="1" spc="5" dirty="0">
                <a:solidFill>
                  <a:srgbClr val="283E6E"/>
                </a:solidFill>
                <a:latin typeface="Arial"/>
                <a:cs typeface="Arial"/>
              </a:rPr>
              <a:t>* </a:t>
            </a:r>
            <a:r>
              <a:rPr sz="900" i="1" dirty="0">
                <a:solidFill>
                  <a:srgbClr val="283E6E"/>
                </a:solidFill>
                <a:latin typeface="Arial"/>
                <a:cs typeface="Arial"/>
              </a:rPr>
              <a:t>Целевые значения  рассчитываются </a:t>
            </a:r>
            <a:r>
              <a:rPr sz="900" i="1" spc="5" dirty="0">
                <a:solidFill>
                  <a:srgbClr val="283E6E"/>
                </a:solidFill>
                <a:latin typeface="Arial"/>
                <a:cs typeface="Arial"/>
              </a:rPr>
              <a:t>к </a:t>
            </a:r>
            <a:r>
              <a:rPr lang="ru-RU" sz="900" i="1" spc="5" dirty="0">
                <a:solidFill>
                  <a:srgbClr val="283E6E"/>
                </a:solidFill>
                <a:latin typeface="Arial"/>
                <a:cs typeface="Arial"/>
              </a:rPr>
              <a:t>базовому периоду</a:t>
            </a:r>
            <a:r>
              <a:rPr lang="ru-RU" sz="900" i="1" dirty="0">
                <a:solidFill>
                  <a:srgbClr val="283E6E"/>
                </a:solidFill>
                <a:latin typeface="Arial"/>
                <a:cs typeface="Arial"/>
              </a:rPr>
              <a:t>  </a:t>
            </a:r>
            <a:r>
              <a:rPr sz="900" i="1" dirty="0">
                <a:solidFill>
                  <a:srgbClr val="283E6E"/>
                </a:solidFill>
                <a:latin typeface="Arial"/>
                <a:cs typeface="Arial"/>
              </a:rPr>
              <a:t>(2016 </a:t>
            </a:r>
            <a:r>
              <a:rPr sz="900" i="1" spc="5" dirty="0">
                <a:solidFill>
                  <a:srgbClr val="283E6E"/>
                </a:solidFill>
                <a:latin typeface="Arial"/>
                <a:cs typeface="Arial"/>
              </a:rPr>
              <a:t>г.=100</a:t>
            </a:r>
            <a:r>
              <a:rPr sz="900" i="1" spc="-25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00" i="1" dirty="0">
                <a:solidFill>
                  <a:srgbClr val="283E6E"/>
                </a:solidFill>
                <a:latin typeface="Arial"/>
                <a:cs typeface="Arial"/>
              </a:rPr>
              <a:t>%)</a:t>
            </a:r>
            <a:endParaRPr sz="900" dirty="0">
              <a:solidFill>
                <a:srgbClr val="283E6E"/>
              </a:solidFill>
              <a:latin typeface="Arial"/>
              <a:cs typeface="Arial"/>
            </a:endParaRPr>
          </a:p>
        </p:txBody>
      </p:sp>
      <p:sp>
        <p:nvSpPr>
          <p:cNvPr id="62" name="object 9"/>
          <p:cNvSpPr/>
          <p:nvPr/>
        </p:nvSpPr>
        <p:spPr>
          <a:xfrm flipV="1">
            <a:off x="4966601" y="2984001"/>
            <a:ext cx="3923398" cy="45719"/>
          </a:xfrm>
          <a:custGeom>
            <a:avLst/>
            <a:gdLst/>
            <a:ahLst/>
            <a:cxnLst/>
            <a:rect l="l" t="t" r="r" b="b"/>
            <a:pathLst>
              <a:path w="3609340">
                <a:moveTo>
                  <a:pt x="0" y="0"/>
                </a:moveTo>
                <a:lnTo>
                  <a:pt x="3608832" y="0"/>
                </a:lnTo>
              </a:path>
            </a:pathLst>
          </a:custGeom>
          <a:ln w="13703">
            <a:solidFill>
              <a:srgbClr val="00338D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10"/>
          <p:cNvSpPr/>
          <p:nvPr/>
        </p:nvSpPr>
        <p:spPr>
          <a:xfrm>
            <a:off x="4966601" y="3723599"/>
            <a:ext cx="3914254" cy="67696"/>
          </a:xfrm>
          <a:custGeom>
            <a:avLst/>
            <a:gdLst/>
            <a:ahLst/>
            <a:cxnLst/>
            <a:rect l="l" t="t" r="r" b="b"/>
            <a:pathLst>
              <a:path w="3609340">
                <a:moveTo>
                  <a:pt x="0" y="0"/>
                </a:moveTo>
                <a:lnTo>
                  <a:pt x="3608832" y="0"/>
                </a:lnTo>
              </a:path>
            </a:pathLst>
          </a:custGeom>
          <a:ln w="13703">
            <a:solidFill>
              <a:srgbClr val="00338D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11"/>
          <p:cNvSpPr/>
          <p:nvPr/>
        </p:nvSpPr>
        <p:spPr>
          <a:xfrm flipV="1">
            <a:off x="4966601" y="3902680"/>
            <a:ext cx="3914254" cy="97676"/>
          </a:xfrm>
          <a:custGeom>
            <a:avLst/>
            <a:gdLst/>
            <a:ahLst/>
            <a:cxnLst/>
            <a:rect l="l" t="t" r="r" b="b"/>
            <a:pathLst>
              <a:path w="3609340">
                <a:moveTo>
                  <a:pt x="0" y="0"/>
                </a:moveTo>
                <a:lnTo>
                  <a:pt x="3608832" y="0"/>
                </a:lnTo>
              </a:path>
            </a:pathLst>
          </a:custGeom>
          <a:ln w="13703">
            <a:solidFill>
              <a:srgbClr val="00338D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12"/>
          <p:cNvSpPr txBox="1"/>
          <p:nvPr/>
        </p:nvSpPr>
        <p:spPr>
          <a:xfrm>
            <a:off x="4976126" y="2093500"/>
            <a:ext cx="3923398" cy="218897"/>
          </a:xfrm>
          <a:prstGeom prst="rect">
            <a:avLst/>
          </a:prstGeom>
          <a:solidFill>
            <a:srgbClr val="4066AA"/>
          </a:solidFill>
        </p:spPr>
        <p:txBody>
          <a:bodyPr vert="horz" wrap="square" lIns="0" tIns="36000" rIns="0" bIns="36000" rtlCol="0" anchor="ctr">
            <a:spAutoFit/>
          </a:bodyPr>
          <a:lstStyle/>
          <a:p>
            <a:pPr marL="2353310">
              <a:lnSpc>
                <a:spcPct val="100000"/>
              </a:lnSpc>
              <a:spcBef>
                <a:spcPts val="405"/>
              </a:spcBef>
              <a:tabLst>
                <a:tab pos="3098800" algn="l"/>
              </a:tabLst>
            </a:pPr>
            <a:r>
              <a:rPr lang="ru-RU" sz="950" b="1" spc="5" dirty="0" smtClean="0">
                <a:solidFill>
                  <a:srgbClr val="FFFFFF"/>
                </a:solidFill>
                <a:latin typeface="Arial"/>
                <a:cs typeface="Arial"/>
              </a:rPr>
              <a:t>      </a:t>
            </a:r>
            <a:r>
              <a:rPr sz="950" b="1" spc="5" dirty="0" smtClean="0">
                <a:solidFill>
                  <a:srgbClr val="FFFFFF"/>
                </a:solidFill>
                <a:latin typeface="Arial"/>
                <a:cs typeface="Arial"/>
              </a:rPr>
              <a:t>2018</a:t>
            </a:r>
            <a:r>
              <a:rPr sz="950" b="1" spc="5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ru-RU" sz="950" b="1" spc="5" dirty="0" smtClean="0">
                <a:solidFill>
                  <a:srgbClr val="FFFFFF"/>
                </a:solidFill>
                <a:latin typeface="Arial"/>
                <a:cs typeface="Arial"/>
              </a:rPr>
              <a:t>       </a:t>
            </a:r>
            <a:r>
              <a:rPr sz="950" b="1" spc="5" dirty="0" smtClean="0">
                <a:solidFill>
                  <a:srgbClr val="FFFFFF"/>
                </a:solidFill>
                <a:latin typeface="Arial"/>
                <a:cs typeface="Arial"/>
              </a:rPr>
              <a:t>2025</a:t>
            </a:r>
            <a:endParaRPr sz="950" dirty="0">
              <a:latin typeface="Arial"/>
              <a:cs typeface="Arial"/>
            </a:endParaRPr>
          </a:p>
        </p:txBody>
      </p:sp>
      <p:sp>
        <p:nvSpPr>
          <p:cNvPr id="67" name="object 13"/>
          <p:cNvSpPr txBox="1"/>
          <p:nvPr/>
        </p:nvSpPr>
        <p:spPr>
          <a:xfrm>
            <a:off x="4972926" y="2351366"/>
            <a:ext cx="2104390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950" spc="15" dirty="0">
                <a:solidFill>
                  <a:srgbClr val="283E6E"/>
                </a:solidFill>
                <a:latin typeface="Arial"/>
                <a:cs typeface="Arial"/>
              </a:rPr>
              <a:t>Среднегодовые 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темпы</a:t>
            </a:r>
            <a:r>
              <a:rPr sz="950" spc="-75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прироста  </a:t>
            </a:r>
            <a:r>
              <a:rPr sz="950" spc="15" dirty="0">
                <a:solidFill>
                  <a:srgbClr val="283E6E"/>
                </a:solidFill>
                <a:latin typeface="Arial"/>
                <a:cs typeface="Arial"/>
              </a:rPr>
              <a:t>объемов 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экспорта несырьевых  неэнергетических </a:t>
            </a:r>
            <a:r>
              <a:rPr sz="950" spc="10" dirty="0" err="1">
                <a:solidFill>
                  <a:srgbClr val="283E6E"/>
                </a:solidFill>
                <a:latin typeface="Arial"/>
                <a:cs typeface="Arial"/>
              </a:rPr>
              <a:t>товаров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lang="ru-RU" sz="950" spc="10" dirty="0" smtClean="0">
                <a:solidFill>
                  <a:srgbClr val="283E6E"/>
                </a:solidFill>
                <a:latin typeface="Arial"/>
                <a:cs typeface="Arial"/>
              </a:rPr>
              <a:t/>
            </a:r>
            <a:br>
              <a:rPr lang="ru-RU" sz="950" spc="10" dirty="0" smtClean="0">
                <a:solidFill>
                  <a:srgbClr val="283E6E"/>
                </a:solidFill>
                <a:latin typeface="Arial"/>
                <a:cs typeface="Arial"/>
              </a:rPr>
            </a:br>
            <a:r>
              <a:rPr lang="ru-RU" sz="950" spc="15" dirty="0" smtClean="0">
                <a:solidFill>
                  <a:srgbClr val="283E6E"/>
                </a:solidFill>
                <a:latin typeface="Arial"/>
                <a:cs typeface="Arial"/>
              </a:rPr>
              <a:t>(в тыс. долл. США)</a:t>
            </a:r>
            <a:endParaRPr sz="950" dirty="0">
              <a:solidFill>
                <a:srgbClr val="283E6E"/>
              </a:solidFill>
              <a:latin typeface="Arial"/>
              <a:cs typeface="Arial"/>
            </a:endParaRPr>
          </a:p>
        </p:txBody>
      </p:sp>
      <p:sp>
        <p:nvSpPr>
          <p:cNvPr id="71" name="object 14"/>
          <p:cNvSpPr txBox="1"/>
          <p:nvPr/>
        </p:nvSpPr>
        <p:spPr>
          <a:xfrm>
            <a:off x="7551166" y="2574544"/>
            <a:ext cx="1126110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50" spc="5" dirty="0">
                <a:solidFill>
                  <a:srgbClr val="283E6E"/>
                </a:solidFill>
                <a:latin typeface="Arial"/>
                <a:cs typeface="Arial"/>
              </a:rPr>
              <a:t>не </a:t>
            </a:r>
            <a:r>
              <a:rPr sz="950" spc="5" dirty="0" err="1">
                <a:solidFill>
                  <a:srgbClr val="283E6E"/>
                </a:solidFill>
                <a:latin typeface="Arial"/>
                <a:cs typeface="Arial"/>
              </a:rPr>
              <a:t>менее</a:t>
            </a:r>
            <a:r>
              <a:rPr sz="950" spc="5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10" dirty="0" smtClean="0">
                <a:solidFill>
                  <a:srgbClr val="283E6E"/>
                </a:solidFill>
                <a:latin typeface="Arial"/>
                <a:cs typeface="Arial"/>
              </a:rPr>
              <a:t>7</a:t>
            </a:r>
            <a:r>
              <a:rPr sz="950" spc="15" dirty="0" smtClean="0">
                <a:solidFill>
                  <a:srgbClr val="283E6E"/>
                </a:solidFill>
                <a:latin typeface="Arial"/>
                <a:cs typeface="Arial"/>
              </a:rPr>
              <a:t>%</a:t>
            </a:r>
            <a:r>
              <a:rPr lang="ru-RU" sz="950" spc="15" dirty="0" smtClean="0">
                <a:solidFill>
                  <a:srgbClr val="283E6E"/>
                </a:solidFill>
                <a:latin typeface="Arial"/>
                <a:cs typeface="Arial"/>
              </a:rPr>
              <a:t> в год</a:t>
            </a:r>
            <a:endParaRPr sz="950" dirty="0">
              <a:solidFill>
                <a:srgbClr val="283E6E"/>
              </a:solidFill>
              <a:latin typeface="Arial"/>
              <a:cs typeface="Arial"/>
            </a:endParaRPr>
          </a:p>
        </p:txBody>
      </p:sp>
      <p:sp>
        <p:nvSpPr>
          <p:cNvPr id="72" name="object 16"/>
          <p:cNvSpPr txBox="1"/>
          <p:nvPr/>
        </p:nvSpPr>
        <p:spPr>
          <a:xfrm>
            <a:off x="4972938" y="3055869"/>
            <a:ext cx="3926965" cy="292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Объем</a:t>
            </a:r>
            <a:r>
              <a:rPr sz="950" spc="-75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5" dirty="0">
                <a:solidFill>
                  <a:srgbClr val="283E6E"/>
                </a:solidFill>
                <a:latin typeface="Arial"/>
                <a:cs typeface="Arial"/>
              </a:rPr>
              <a:t>несырьевого</a:t>
            </a:r>
            <a:endParaRPr sz="950" dirty="0">
              <a:solidFill>
                <a:srgbClr val="283E6E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0"/>
              </a:spcBef>
              <a:tabLst>
                <a:tab pos="2326640" algn="l"/>
                <a:tab pos="3018155" algn="l"/>
              </a:tabLst>
            </a:pPr>
            <a:r>
              <a:rPr sz="950" spc="5" dirty="0">
                <a:solidFill>
                  <a:srgbClr val="283E6E"/>
                </a:solidFill>
                <a:latin typeface="Arial"/>
                <a:cs typeface="Arial"/>
              </a:rPr>
              <a:t>неэнергетического</a:t>
            </a:r>
            <a:r>
              <a:rPr sz="950" spc="30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экспорта</a:t>
            </a:r>
            <a:r>
              <a:rPr sz="950" spc="20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5" dirty="0">
                <a:solidFill>
                  <a:srgbClr val="283E6E"/>
                </a:solidFill>
                <a:latin typeface="Arial"/>
                <a:cs typeface="Arial"/>
              </a:rPr>
              <a:t>товаров	</a:t>
            </a:r>
            <a:r>
              <a:rPr lang="ru-RU" sz="950" spc="5" dirty="0" smtClean="0">
                <a:solidFill>
                  <a:srgbClr val="283E6E"/>
                </a:solidFill>
                <a:latin typeface="Arial"/>
                <a:cs typeface="Arial"/>
              </a:rPr>
              <a:t>      </a:t>
            </a:r>
            <a:r>
              <a:rPr lang="ru-RU" sz="950" spc="5" dirty="0">
                <a:solidFill>
                  <a:srgbClr val="283E6E"/>
                </a:solidFill>
                <a:latin typeface="Arial"/>
                <a:cs typeface="Arial"/>
              </a:rPr>
              <a:t>+</a:t>
            </a:r>
            <a:r>
              <a:rPr sz="950" spc="10" dirty="0" smtClean="0">
                <a:solidFill>
                  <a:srgbClr val="283E6E"/>
                </a:solidFill>
                <a:latin typeface="Arial"/>
                <a:cs typeface="Arial"/>
              </a:rPr>
              <a:t>15</a:t>
            </a:r>
            <a:r>
              <a:rPr sz="950" spc="15" dirty="0" smtClean="0">
                <a:solidFill>
                  <a:srgbClr val="283E6E"/>
                </a:solidFill>
                <a:latin typeface="Arial"/>
                <a:cs typeface="Arial"/>
              </a:rPr>
              <a:t>%</a:t>
            </a:r>
            <a:r>
              <a:rPr sz="950" spc="15" dirty="0">
                <a:solidFill>
                  <a:srgbClr val="283E6E"/>
                </a:solidFill>
                <a:latin typeface="Arial"/>
                <a:cs typeface="Arial"/>
              </a:rPr>
              <a:t>	</a:t>
            </a:r>
            <a:r>
              <a:rPr lang="ru-RU" sz="950" spc="15" dirty="0" smtClean="0">
                <a:solidFill>
                  <a:srgbClr val="283E6E"/>
                </a:solidFill>
                <a:latin typeface="Arial"/>
                <a:cs typeface="Arial"/>
              </a:rPr>
              <a:t>      </a:t>
            </a:r>
            <a:r>
              <a:rPr sz="950" spc="10" dirty="0" smtClean="0">
                <a:solidFill>
                  <a:srgbClr val="283E6E"/>
                </a:solidFill>
                <a:latin typeface="Arial"/>
                <a:cs typeface="Arial"/>
              </a:rPr>
              <a:t>х </a:t>
            </a:r>
            <a:r>
              <a:rPr lang="ru-RU" sz="950" spc="10" dirty="0">
                <a:solidFill>
                  <a:srgbClr val="283E6E"/>
                </a:solidFill>
                <a:latin typeface="Arial"/>
                <a:cs typeface="Arial"/>
              </a:rPr>
              <a:t>1,8-2</a:t>
            </a:r>
            <a:r>
              <a:rPr lang="ru-RU" sz="950" spc="-95" dirty="0" smtClean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5" dirty="0" err="1" smtClean="0">
                <a:solidFill>
                  <a:srgbClr val="283E6E"/>
                </a:solidFill>
                <a:latin typeface="Arial"/>
                <a:cs typeface="Arial"/>
              </a:rPr>
              <a:t>раза</a:t>
            </a:r>
            <a:endParaRPr sz="950" dirty="0">
              <a:solidFill>
                <a:srgbClr val="283E6E"/>
              </a:solidFill>
              <a:latin typeface="Arial"/>
              <a:cs typeface="Arial"/>
            </a:endParaRPr>
          </a:p>
        </p:txBody>
      </p:sp>
      <p:sp>
        <p:nvSpPr>
          <p:cNvPr id="73" name="object 17"/>
          <p:cNvSpPr txBox="1"/>
          <p:nvPr/>
        </p:nvSpPr>
        <p:spPr>
          <a:xfrm>
            <a:off x="4972952" y="3798489"/>
            <a:ext cx="3995607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spcBef>
                <a:spcPts val="660"/>
              </a:spcBef>
              <a:tabLst>
                <a:tab pos="2292350" algn="l"/>
                <a:tab pos="3018155" algn="l"/>
              </a:tabLst>
            </a:pPr>
            <a:r>
              <a:rPr sz="950" spc="10" dirty="0" err="1" smtClean="0">
                <a:solidFill>
                  <a:srgbClr val="283E6E"/>
                </a:solidFill>
                <a:latin typeface="Arial"/>
                <a:cs typeface="Arial"/>
              </a:rPr>
              <a:t>Число</a:t>
            </a:r>
            <a:r>
              <a:rPr sz="950" dirty="0" smtClean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экспортеров	</a:t>
            </a:r>
            <a:r>
              <a:rPr lang="ru-RU" sz="950" spc="10" dirty="0" smtClean="0">
                <a:solidFill>
                  <a:srgbClr val="283E6E"/>
                </a:solidFill>
                <a:latin typeface="Arial"/>
                <a:cs typeface="Arial"/>
              </a:rPr>
              <a:t>       </a:t>
            </a:r>
            <a:r>
              <a:rPr sz="950" spc="10" dirty="0" smtClean="0">
                <a:solidFill>
                  <a:srgbClr val="283E6E"/>
                </a:solidFill>
                <a:latin typeface="Arial"/>
                <a:cs typeface="Arial"/>
              </a:rPr>
              <a:t>+10,3</a:t>
            </a:r>
            <a:r>
              <a:rPr sz="950" spc="10" dirty="0">
                <a:solidFill>
                  <a:srgbClr val="283E6E"/>
                </a:solidFill>
                <a:latin typeface="Arial"/>
                <a:cs typeface="Arial"/>
              </a:rPr>
              <a:t>%	</a:t>
            </a:r>
            <a:r>
              <a:rPr lang="ru-RU" sz="950" spc="10" dirty="0" smtClean="0">
                <a:solidFill>
                  <a:srgbClr val="283E6E"/>
                </a:solidFill>
                <a:latin typeface="Arial"/>
                <a:cs typeface="Arial"/>
              </a:rPr>
              <a:t>      х 1,5</a:t>
            </a:r>
            <a:r>
              <a:rPr lang="ru-RU" sz="950" spc="-95" dirty="0" smtClean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lang="ru-RU" sz="950" spc="5" dirty="0" smtClean="0">
                <a:solidFill>
                  <a:srgbClr val="283E6E"/>
                </a:solidFill>
                <a:latin typeface="Arial"/>
                <a:cs typeface="Arial"/>
              </a:rPr>
              <a:t>раза</a:t>
            </a:r>
            <a:endParaRPr sz="950" dirty="0">
              <a:solidFill>
                <a:srgbClr val="283E6E"/>
              </a:solidFill>
              <a:latin typeface="Arial"/>
              <a:cs typeface="Arial"/>
            </a:endParaRPr>
          </a:p>
        </p:txBody>
      </p:sp>
      <p:sp>
        <p:nvSpPr>
          <p:cNvPr id="48" name="object 32"/>
          <p:cNvSpPr/>
          <p:nvPr/>
        </p:nvSpPr>
        <p:spPr>
          <a:xfrm>
            <a:off x="2265963" y="4194221"/>
            <a:ext cx="2172176" cy="504000"/>
          </a:xfrm>
          <a:custGeom>
            <a:avLst/>
            <a:gdLst/>
            <a:ahLst/>
            <a:cxnLst/>
            <a:rect l="l" t="t" r="r" b="b"/>
            <a:pathLst>
              <a:path w="2612390" h="797560">
                <a:moveTo>
                  <a:pt x="2612136" y="797051"/>
                </a:moveTo>
                <a:lnTo>
                  <a:pt x="2612136" y="0"/>
                </a:lnTo>
                <a:lnTo>
                  <a:pt x="0" y="0"/>
                </a:lnTo>
                <a:lnTo>
                  <a:pt x="0" y="797051"/>
                </a:lnTo>
                <a:lnTo>
                  <a:pt x="6858" y="797051"/>
                </a:lnTo>
                <a:lnTo>
                  <a:pt x="6858" y="13715"/>
                </a:lnTo>
                <a:lnTo>
                  <a:pt x="13716" y="6858"/>
                </a:lnTo>
                <a:lnTo>
                  <a:pt x="13716" y="13715"/>
                </a:lnTo>
                <a:lnTo>
                  <a:pt x="2598419" y="13715"/>
                </a:lnTo>
                <a:lnTo>
                  <a:pt x="2598419" y="6858"/>
                </a:lnTo>
                <a:lnTo>
                  <a:pt x="2605278" y="13715"/>
                </a:lnTo>
                <a:lnTo>
                  <a:pt x="2605278" y="797051"/>
                </a:lnTo>
                <a:lnTo>
                  <a:pt x="2612136" y="797051"/>
                </a:lnTo>
                <a:close/>
              </a:path>
              <a:path w="2612390" h="797560">
                <a:moveTo>
                  <a:pt x="13716" y="13715"/>
                </a:moveTo>
                <a:lnTo>
                  <a:pt x="13716" y="6858"/>
                </a:lnTo>
                <a:lnTo>
                  <a:pt x="6858" y="13715"/>
                </a:lnTo>
                <a:lnTo>
                  <a:pt x="13716" y="13715"/>
                </a:lnTo>
                <a:close/>
              </a:path>
              <a:path w="2612390" h="797560">
                <a:moveTo>
                  <a:pt x="13716" y="783336"/>
                </a:moveTo>
                <a:lnTo>
                  <a:pt x="13716" y="13715"/>
                </a:lnTo>
                <a:lnTo>
                  <a:pt x="6858" y="13715"/>
                </a:lnTo>
                <a:lnTo>
                  <a:pt x="6858" y="783336"/>
                </a:lnTo>
                <a:lnTo>
                  <a:pt x="13716" y="783336"/>
                </a:lnTo>
                <a:close/>
              </a:path>
              <a:path w="2612390" h="797560">
                <a:moveTo>
                  <a:pt x="2605278" y="783336"/>
                </a:moveTo>
                <a:lnTo>
                  <a:pt x="6858" y="783336"/>
                </a:lnTo>
                <a:lnTo>
                  <a:pt x="13716" y="790193"/>
                </a:lnTo>
                <a:lnTo>
                  <a:pt x="13716" y="797051"/>
                </a:lnTo>
                <a:lnTo>
                  <a:pt x="2598419" y="797051"/>
                </a:lnTo>
                <a:lnTo>
                  <a:pt x="2598419" y="790193"/>
                </a:lnTo>
                <a:lnTo>
                  <a:pt x="2605278" y="783336"/>
                </a:lnTo>
                <a:close/>
              </a:path>
              <a:path w="2612390" h="797560">
                <a:moveTo>
                  <a:pt x="13716" y="797051"/>
                </a:moveTo>
                <a:lnTo>
                  <a:pt x="13716" y="790193"/>
                </a:lnTo>
                <a:lnTo>
                  <a:pt x="6858" y="783336"/>
                </a:lnTo>
                <a:lnTo>
                  <a:pt x="6858" y="797051"/>
                </a:lnTo>
                <a:lnTo>
                  <a:pt x="13716" y="797051"/>
                </a:lnTo>
                <a:close/>
              </a:path>
              <a:path w="2612390" h="797560">
                <a:moveTo>
                  <a:pt x="2605278" y="13715"/>
                </a:moveTo>
                <a:lnTo>
                  <a:pt x="2598419" y="6858"/>
                </a:lnTo>
                <a:lnTo>
                  <a:pt x="2598419" y="13715"/>
                </a:lnTo>
                <a:lnTo>
                  <a:pt x="2605278" y="13715"/>
                </a:lnTo>
                <a:close/>
              </a:path>
              <a:path w="2612390" h="797560">
                <a:moveTo>
                  <a:pt x="2605278" y="783336"/>
                </a:moveTo>
                <a:lnTo>
                  <a:pt x="2605278" y="13715"/>
                </a:lnTo>
                <a:lnTo>
                  <a:pt x="2598419" y="13715"/>
                </a:lnTo>
                <a:lnTo>
                  <a:pt x="2598419" y="783336"/>
                </a:lnTo>
                <a:lnTo>
                  <a:pt x="2605278" y="783336"/>
                </a:lnTo>
                <a:close/>
              </a:path>
              <a:path w="2612390" h="797560">
                <a:moveTo>
                  <a:pt x="2605278" y="797051"/>
                </a:moveTo>
                <a:lnTo>
                  <a:pt x="2605278" y="783336"/>
                </a:lnTo>
                <a:lnTo>
                  <a:pt x="2598419" y="790193"/>
                </a:lnTo>
                <a:lnTo>
                  <a:pt x="2598419" y="797051"/>
                </a:lnTo>
                <a:lnTo>
                  <a:pt x="2605278" y="797051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 anchor="ctr"/>
          <a:lstStyle/>
          <a:p>
            <a:pPr marL="12696" algn="ctr">
              <a:spcBef>
                <a:spcPts val="45"/>
              </a:spcBef>
            </a:pPr>
            <a:r>
              <a:rPr lang="ru-RU" sz="900" spc="15" dirty="0">
                <a:solidFill>
                  <a:srgbClr val="00338E"/>
                </a:solidFill>
                <a:latin typeface="Arial"/>
                <a:cs typeface="Arial"/>
              </a:rPr>
              <a:t>«Развитие экспортного потенциала российской системы образования»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2397666" y="5161229"/>
            <a:ext cx="1931416" cy="32550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Увеличение экспорта </a:t>
            </a:r>
            <a:endParaRPr lang="ru-RU" sz="9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уристских </a:t>
            </a:r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услуг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2397666" y="5586824"/>
            <a:ext cx="1931416" cy="47663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Развитие въездного медицинского туризма на территории </a:t>
            </a:r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397666" y="6159592"/>
            <a:ext cx="1931416" cy="32550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ругие проекты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 flipH="1">
            <a:off x="2032768" y="4448963"/>
            <a:ext cx="232615" cy="0"/>
          </a:xfrm>
          <a:prstGeom prst="line">
            <a:avLst/>
          </a:prstGeom>
          <a:ln w="3175">
            <a:solidFill>
              <a:schemeClr val="tx2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 flipH="1">
            <a:off x="2032768" y="2308949"/>
            <a:ext cx="232615" cy="0"/>
          </a:xfrm>
          <a:prstGeom prst="line">
            <a:avLst/>
          </a:prstGeom>
          <a:ln w="3175">
            <a:solidFill>
              <a:schemeClr val="tx2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 flipH="1">
            <a:off x="2032768" y="3034490"/>
            <a:ext cx="232615" cy="0"/>
          </a:xfrm>
          <a:prstGeom prst="line">
            <a:avLst/>
          </a:prstGeom>
          <a:ln w="3175">
            <a:solidFill>
              <a:schemeClr val="tx2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 flipH="1">
            <a:off x="2032768" y="3784081"/>
            <a:ext cx="232615" cy="0"/>
          </a:xfrm>
          <a:prstGeom prst="line">
            <a:avLst/>
          </a:prstGeom>
          <a:ln w="3175">
            <a:solidFill>
              <a:schemeClr val="tx2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 flipH="1">
            <a:off x="2032768" y="5621034"/>
            <a:ext cx="232615" cy="0"/>
          </a:xfrm>
          <a:prstGeom prst="line">
            <a:avLst/>
          </a:prstGeom>
          <a:ln w="3175">
            <a:solidFill>
              <a:schemeClr val="tx2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2026756" y="2308949"/>
            <a:ext cx="6012" cy="3312085"/>
          </a:xfrm>
          <a:prstGeom prst="line">
            <a:avLst/>
          </a:prstGeom>
          <a:ln w="317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>
            <a:off x="1785263" y="4073779"/>
            <a:ext cx="232615" cy="0"/>
          </a:xfrm>
          <a:prstGeom prst="line">
            <a:avLst/>
          </a:prstGeom>
          <a:ln w="3175">
            <a:solidFill>
              <a:schemeClr val="tx2"/>
            </a:solidFill>
            <a:head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itle 1"/>
          <p:cNvSpPr txBox="1">
            <a:spLocks/>
          </p:cNvSpPr>
          <p:nvPr/>
        </p:nvSpPr>
        <p:spPr>
          <a:xfrm>
            <a:off x="2046857" y="655326"/>
            <a:ext cx="7089400" cy="879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30000"/>
              </a:lnSpc>
            </a:pPr>
            <a:r>
              <a:rPr lang="ru-RU" sz="2400" b="1" cap="all" dirty="0" smtClean="0">
                <a:solidFill>
                  <a:srgbClr val="283E6E"/>
                </a:solidFill>
                <a:latin typeface="Bebas Neue Bold"/>
                <a:cs typeface="Circe Extra Bold"/>
              </a:rPr>
              <a:t>Приоритетные проекты</a:t>
            </a:r>
            <a:endParaRPr lang="ru-RU" sz="2400" cap="all" dirty="0">
              <a:solidFill>
                <a:srgbClr val="283E6E"/>
              </a:solidFill>
              <a:latin typeface="Bebas Neue Bold"/>
              <a:cs typeface="Circe Extra Bold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700537" y="12013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19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78559" y="3448900"/>
            <a:ext cx="4572000" cy="23852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700">
              <a:tabLst>
                <a:tab pos="2254250" algn="l"/>
                <a:tab pos="3018155" algn="l"/>
              </a:tabLst>
            </a:pPr>
            <a:r>
              <a:rPr lang="ru-RU" sz="950" spc="5" dirty="0">
                <a:solidFill>
                  <a:srgbClr val="283E6E"/>
                </a:solidFill>
                <a:latin typeface="Arial"/>
                <a:cs typeface="Arial"/>
              </a:rPr>
              <a:t>Экспорт</a:t>
            </a:r>
            <a:r>
              <a:rPr lang="ru-RU" sz="950" spc="15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lang="ru-RU" sz="950" spc="10" dirty="0" smtClean="0">
                <a:solidFill>
                  <a:srgbClr val="283E6E"/>
                </a:solidFill>
                <a:latin typeface="Arial"/>
                <a:cs typeface="Arial"/>
              </a:rPr>
              <a:t>услуг</a:t>
            </a:r>
            <a:r>
              <a:rPr lang="ru-RU" sz="950" spc="10" dirty="0">
                <a:solidFill>
                  <a:srgbClr val="283E6E"/>
                </a:solidFill>
                <a:latin typeface="Arial"/>
                <a:cs typeface="Arial"/>
              </a:rPr>
              <a:t>	        +20-25%	 х 1,8-2</a:t>
            </a:r>
            <a:r>
              <a:rPr lang="ru-RU" sz="950" spc="-95" dirty="0">
                <a:solidFill>
                  <a:srgbClr val="283E6E"/>
                </a:solidFill>
                <a:latin typeface="Arial"/>
                <a:cs typeface="Arial"/>
              </a:rPr>
              <a:t> </a:t>
            </a:r>
            <a:r>
              <a:rPr lang="ru-RU" sz="950" spc="5" dirty="0">
                <a:solidFill>
                  <a:srgbClr val="283E6E"/>
                </a:solidFill>
                <a:latin typeface="Arial"/>
                <a:cs typeface="Arial"/>
              </a:rPr>
              <a:t>раза</a:t>
            </a:r>
            <a:endParaRPr lang="ru-RU" sz="950" dirty="0">
              <a:solidFill>
                <a:srgbClr val="283E6E"/>
              </a:solidFill>
              <a:latin typeface="Arial"/>
              <a:cs typeface="Arial"/>
            </a:endParaRPr>
          </a:p>
        </p:txBody>
      </p:sp>
      <p:sp>
        <p:nvSpPr>
          <p:cNvPr id="57" name="object 9"/>
          <p:cNvSpPr/>
          <p:nvPr/>
        </p:nvSpPr>
        <p:spPr>
          <a:xfrm flipV="1">
            <a:off x="4968075" y="3393863"/>
            <a:ext cx="3923398" cy="45719"/>
          </a:xfrm>
          <a:custGeom>
            <a:avLst/>
            <a:gdLst/>
            <a:ahLst/>
            <a:cxnLst/>
            <a:rect l="l" t="t" r="r" b="b"/>
            <a:pathLst>
              <a:path w="3609340">
                <a:moveTo>
                  <a:pt x="0" y="0"/>
                </a:moveTo>
                <a:lnTo>
                  <a:pt x="3608832" y="0"/>
                </a:lnTo>
              </a:path>
            </a:pathLst>
          </a:custGeom>
          <a:ln w="13703">
            <a:solidFill>
              <a:srgbClr val="00338D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9156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796280" y="3917665"/>
            <a:ext cx="19805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solidFill>
                  <a:srgbClr val="C00000"/>
                </a:solidFill>
                <a:latin typeface="Bebas Neue Bold"/>
                <a:cs typeface="Arial" pitchFamily="34" charset="0"/>
              </a:rPr>
              <a:t>22 «пилотных» региона</a:t>
            </a:r>
            <a:endParaRPr lang="ru-RU" sz="1200" b="1" dirty="0">
              <a:solidFill>
                <a:srgbClr val="C00000"/>
              </a:solidFill>
              <a:latin typeface="Bebas Neue Bold"/>
              <a:cs typeface="Arial" pitchFamily="34" charset="0"/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H="1">
            <a:off x="152995" y="3578654"/>
            <a:ext cx="29544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H="1" flipV="1">
            <a:off x="3410066" y="2917191"/>
            <a:ext cx="377934" cy="66146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>
            <a:off x="3393353" y="4179111"/>
            <a:ext cx="369202" cy="530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>
            <a:endCxn id="87" idx="3"/>
          </p:cNvCxnSpPr>
          <p:nvPr/>
        </p:nvCxnSpPr>
        <p:spPr>
          <a:xfrm flipH="1" flipV="1">
            <a:off x="319105" y="4704970"/>
            <a:ext cx="3074248" cy="15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H="1">
            <a:off x="441025" y="2908962"/>
            <a:ext cx="295232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371639" y="2947671"/>
            <a:ext cx="35025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ЦПЭ и консультационная инфраструктура </a:t>
            </a:r>
            <a:b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</a:b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поддержки экспорта</a:t>
            </a:r>
            <a:endParaRPr lang="ru-RU" sz="900" b="1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856080" y="2322369"/>
            <a:ext cx="395347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Экспортный совет при Главе региона</a:t>
            </a:r>
            <a:endParaRPr lang="ru-RU" sz="900" b="1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1063625" y="1848669"/>
            <a:ext cx="2505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Структурное подразделение, ответственное за развитие экспорта </a:t>
            </a:r>
            <a:endParaRPr lang="ru-RU" sz="900" b="1" dirty="0"/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 flipH="1" flipV="1">
            <a:off x="1044870" y="2240280"/>
            <a:ext cx="2725635" cy="7619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 flipH="1" flipV="1">
            <a:off x="3582334" y="2560029"/>
            <a:ext cx="336641" cy="97308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 flipV="1">
            <a:off x="159339" y="4344411"/>
            <a:ext cx="2945984" cy="45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>
            <a:off x="397430" y="4386560"/>
            <a:ext cx="255151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Региональный бренд</a:t>
            </a:r>
            <a:endParaRPr lang="ru-RU" sz="1000" b="1" dirty="0">
              <a:solidFill>
                <a:schemeClr val="tx2"/>
              </a:solidFill>
              <a:latin typeface="Bebas Neue Bold"/>
              <a:cs typeface="Arial" pitchFamily="34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 flipH="1" flipV="1">
            <a:off x="3770505" y="2247899"/>
            <a:ext cx="229002" cy="119913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H="1">
            <a:off x="3770505" y="4398418"/>
            <a:ext cx="296940" cy="14912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 flipV="1">
            <a:off x="728578" y="2557542"/>
            <a:ext cx="2840655" cy="497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/>
          <p:cNvSpPr/>
          <p:nvPr/>
        </p:nvSpPr>
        <p:spPr>
          <a:xfrm>
            <a:off x="607008" y="2595919"/>
            <a:ext cx="30662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Раздел по экспорту в социально-экономической стратегии региона</a:t>
            </a:r>
            <a:endParaRPr lang="ru-RU" sz="900" b="1" dirty="0"/>
          </a:p>
        </p:txBody>
      </p:sp>
      <p:pic>
        <p:nvPicPr>
          <p:cNvPr id="84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04" y="2863424"/>
            <a:ext cx="74811" cy="91075"/>
          </a:xfrm>
          <a:prstGeom prst="rect">
            <a:avLst/>
          </a:prstGeom>
        </p:spPr>
      </p:pic>
      <p:pic>
        <p:nvPicPr>
          <p:cNvPr id="85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72" y="3533116"/>
            <a:ext cx="74811" cy="91075"/>
          </a:xfrm>
          <a:prstGeom prst="rect">
            <a:avLst/>
          </a:prstGeom>
        </p:spPr>
      </p:pic>
      <p:pic>
        <p:nvPicPr>
          <p:cNvPr id="87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294" y="4659432"/>
            <a:ext cx="74811" cy="91075"/>
          </a:xfrm>
          <a:prstGeom prst="rect">
            <a:avLst/>
          </a:prstGeom>
        </p:spPr>
      </p:pic>
      <p:cxnSp>
        <p:nvCxnSpPr>
          <p:cNvPr id="54" name="Прямая соединительная линия 53"/>
          <p:cNvCxnSpPr/>
          <p:nvPr/>
        </p:nvCxnSpPr>
        <p:spPr>
          <a:xfrm flipH="1" flipV="1">
            <a:off x="3116396" y="3578654"/>
            <a:ext cx="587340" cy="3015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>
            <a:off x="159340" y="3988645"/>
            <a:ext cx="3460160" cy="175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366214" y="3619313"/>
            <a:ext cx="39534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Участие экспортеров в составе </a:t>
            </a:r>
            <a:b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</a:b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официальных делегаций за рубеж</a:t>
            </a:r>
            <a:endParaRPr lang="ru-RU" sz="900" b="1" dirty="0"/>
          </a:p>
        </p:txBody>
      </p:sp>
      <p:pic>
        <p:nvPicPr>
          <p:cNvPr id="58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25" y="3952925"/>
            <a:ext cx="74811" cy="91075"/>
          </a:xfrm>
          <a:prstGeom prst="rect">
            <a:avLst/>
          </a:prstGeom>
        </p:spPr>
      </p:pic>
      <p:cxnSp>
        <p:nvCxnSpPr>
          <p:cNvPr id="63" name="Прямая соединительная линия 62"/>
          <p:cNvCxnSpPr/>
          <p:nvPr/>
        </p:nvCxnSpPr>
        <p:spPr>
          <a:xfrm flipH="1">
            <a:off x="3116396" y="4054825"/>
            <a:ext cx="587340" cy="294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 flipH="1">
            <a:off x="965954" y="5898443"/>
            <a:ext cx="2804550" cy="65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V="1">
            <a:off x="3576494" y="4323354"/>
            <a:ext cx="423013" cy="11808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H="1" flipV="1">
            <a:off x="689725" y="5472726"/>
            <a:ext cx="2887059" cy="14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18" y="5416662"/>
            <a:ext cx="74811" cy="91075"/>
          </a:xfrm>
          <a:prstGeom prst="rect">
            <a:avLst/>
          </a:prstGeom>
        </p:spPr>
      </p:pic>
      <p:sp>
        <p:nvSpPr>
          <p:cNvPr id="77" name="Прямоугольник 76"/>
          <p:cNvSpPr/>
          <p:nvPr/>
        </p:nvSpPr>
        <p:spPr>
          <a:xfrm>
            <a:off x="1029045" y="5628483"/>
            <a:ext cx="266203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Клуб экспортеров</a:t>
            </a:r>
            <a:endParaRPr lang="ru-RU" sz="1000" b="1" dirty="0">
              <a:solidFill>
                <a:schemeClr val="tx2"/>
              </a:solidFill>
              <a:latin typeface="Bebas Neue Bold"/>
              <a:cs typeface="Arial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711949" y="5178027"/>
            <a:ext cx="237836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Обучение начинающих экспортеров</a:t>
            </a:r>
            <a:endParaRPr lang="ru-RU" sz="1000" b="1" dirty="0">
              <a:solidFill>
                <a:schemeClr val="tx2"/>
              </a:solidFill>
              <a:latin typeface="Bebas Neue Bold"/>
              <a:cs typeface="Arial" pitchFamily="34" charset="0"/>
            </a:endParaRPr>
          </a:p>
        </p:txBody>
      </p:sp>
      <p:sp>
        <p:nvSpPr>
          <p:cNvPr id="81" name="Title 1"/>
          <p:cNvSpPr txBox="1">
            <a:spLocks/>
          </p:cNvSpPr>
          <p:nvPr/>
        </p:nvSpPr>
        <p:spPr>
          <a:xfrm>
            <a:off x="2031683" y="670566"/>
            <a:ext cx="7089400" cy="8794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30000"/>
              </a:lnSpc>
            </a:pPr>
            <a:r>
              <a:rPr lang="ru-RU" sz="2000" b="1" cap="all" dirty="0" smtClean="0">
                <a:solidFill>
                  <a:srgbClr val="283E6E"/>
                </a:solidFill>
                <a:latin typeface="Bebas Neue Bold"/>
                <a:cs typeface="Circe Extra Bold"/>
              </a:rPr>
              <a:t>Региональный экспортный стандарт</a:t>
            </a:r>
            <a:endParaRPr lang="ru-RU" sz="2000" b="1" cap="all" dirty="0">
              <a:solidFill>
                <a:srgbClr val="283E6E"/>
              </a:solidFill>
              <a:latin typeface="Bebas Neue Bold"/>
              <a:cs typeface="Circe Extra Bold"/>
            </a:endParaRPr>
          </a:p>
        </p:txBody>
      </p:sp>
      <p:pic>
        <p:nvPicPr>
          <p:cNvPr id="99" name="Picture 4" descr="C:\Users\kosmin\Desktop\avion-autour-de-la-terre_318-61627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5" y="3657034"/>
            <a:ext cx="279231" cy="279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6" descr="C:\Users\kosmin\Desktop\trademark16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90" y="4327341"/>
            <a:ext cx="366686" cy="366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2" descr="C:\Users\kosmin\Desktop\training_filled16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68" y="5129772"/>
            <a:ext cx="306819" cy="32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6" descr="C:\Users\kosmin\Desktop\69847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5" y="2960242"/>
            <a:ext cx="268823" cy="268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" descr="C:\Users\kosmin\Desktop\no-translate-detected_318-45481.jp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260" y="2544628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0" descr="C:\Users\kosmin\Desktop\icon_46951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15" y="2195820"/>
            <a:ext cx="366695" cy="36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kosmin\Documents\Заключенные соглашения\auto-repair_39384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538" y="3366833"/>
            <a:ext cx="1150390" cy="1150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45" y="4288205"/>
            <a:ext cx="74811" cy="91075"/>
          </a:xfrm>
          <a:prstGeom prst="rect">
            <a:avLst/>
          </a:prstGeom>
        </p:spPr>
      </p:pic>
      <p:pic>
        <p:nvPicPr>
          <p:cNvPr id="100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163" y="2512004"/>
            <a:ext cx="74811" cy="91075"/>
          </a:xfrm>
          <a:prstGeom prst="rect">
            <a:avLst/>
          </a:prstGeom>
        </p:spPr>
      </p:pic>
      <p:pic>
        <p:nvPicPr>
          <p:cNvPr id="111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17" y="5857679"/>
            <a:ext cx="74811" cy="91075"/>
          </a:xfrm>
          <a:prstGeom prst="rect">
            <a:avLst/>
          </a:prstGeom>
        </p:spPr>
      </p:pic>
      <p:pic>
        <p:nvPicPr>
          <p:cNvPr id="112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54" y="2202362"/>
            <a:ext cx="74811" cy="91075"/>
          </a:xfrm>
          <a:prstGeom prst="rect">
            <a:avLst/>
          </a:prstGeom>
        </p:spPr>
      </p:pic>
      <p:grpSp>
        <p:nvGrpSpPr>
          <p:cNvPr id="113" name="russia"/>
          <p:cNvGrpSpPr>
            <a:grpSpLocks noChangeAspect="1"/>
          </p:cNvGrpSpPr>
          <p:nvPr/>
        </p:nvGrpSpPr>
        <p:grpSpPr bwMode="auto">
          <a:xfrm>
            <a:off x="4296104" y="4096564"/>
            <a:ext cx="4754608" cy="2603727"/>
            <a:chOff x="676" y="1056"/>
            <a:chExt cx="4406" cy="2324"/>
          </a:xfrm>
          <a:noFill/>
        </p:grpSpPr>
        <p:sp>
          <p:nvSpPr>
            <p:cNvPr id="114" name="Freeform 5"/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15" name="Freeform 6"/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16" name="Freeform 7"/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17" name="Freeform 8"/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18" name="Freeform 9"/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19" name="Freeform 10"/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0" name="Freeform 11"/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1" name="Freeform 12"/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2" name="Freeform 13"/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3" name="Freeform 14"/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4" name="Freeform 15"/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5" name="Freeform 16"/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6" name="Freeform 17"/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7" name="Freeform 18"/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8" name="Freeform 19"/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29" name="Freeform 20"/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0" name="Freeform 21"/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1" name="Freeform 22"/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2" name="Freeform 23"/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3" name="Freeform 24"/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4" name="Freeform 25"/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5" name="Freeform 26"/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6" name="Freeform 27"/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7" name="Freeform 28"/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8" name="Freeform 29"/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9" name="Freeform 30"/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0" name="Freeform 31"/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1" name="Freeform 32"/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2" name="Freeform 33"/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3" name="Freeform 34"/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4" name="Freeform 35"/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5" name="Freeform 36"/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6" name="Freeform 37"/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7" name="Freeform 38"/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8" name="Freeform 39"/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49" name="Freeform 40"/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0" name="Freeform 41"/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1" name="Freeform 42"/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2" name="Freeform 43"/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3" name="Freeform 44"/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4" name="Freeform 45"/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5" name="Freeform 46"/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6" name="Freeform 47"/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7" name="Freeform 48"/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8" name="Freeform 49"/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59" name="Freeform 50"/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0" name="Freeform 51"/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1" name="Freeform 52"/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2" name="Freeform 53"/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3" name="Freeform 54"/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4" name="Freeform 55"/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5" name="Freeform 56"/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6" name="Freeform 57"/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7" name="Freeform 58"/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8" name="Freeform 59"/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69" name="Freeform 60"/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0" name="Freeform 61"/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ru-RU">
                <a:solidFill>
                  <a:sysClr val="windowText" lastClr="000000"/>
                </a:solidFill>
                <a:latin typeface="Verdana"/>
              </a:endParaRPr>
            </a:p>
          </p:txBody>
        </p:sp>
        <p:sp>
          <p:nvSpPr>
            <p:cNvPr id="171" name="Freeform 62"/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2" name="Freeform 63"/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3" name="Freeform 64"/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4" name="Freeform 65"/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5" name="Freeform 66"/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6" name="Freeform 67"/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7" name="Freeform 68"/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78" name="Freeform 69"/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ru-RU">
                <a:solidFill>
                  <a:sysClr val="windowText" lastClr="000000"/>
                </a:solidFill>
                <a:latin typeface="Verdana"/>
              </a:endParaRPr>
            </a:p>
          </p:txBody>
        </p:sp>
        <p:sp>
          <p:nvSpPr>
            <p:cNvPr id="179" name="Freeform 70"/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0" name="Freeform 71"/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1" name="Freeform 72"/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2" name="Freeform 73"/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3" name="Freeform 74"/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4" name="Freeform 75"/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5" name="Freeform 76"/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6" name="Freeform 77"/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7" name="Freeform 78"/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8" name="Freeform 79"/>
            <p:cNvSpPr>
              <a:spLocks/>
            </p:cNvSpPr>
            <p:nvPr/>
          </p:nvSpPr>
          <p:spPr bwMode="auto">
            <a:xfrm>
              <a:off x="4262" y="1056"/>
              <a:ext cx="573" cy="669"/>
            </a:xfrm>
            <a:custGeom>
              <a:avLst/>
              <a:gdLst>
                <a:gd name="T0" fmla="*/ 44 w 573"/>
                <a:gd name="T1" fmla="*/ 502 h 669"/>
                <a:gd name="T2" fmla="*/ 46 w 573"/>
                <a:gd name="T3" fmla="*/ 550 h 669"/>
                <a:gd name="T4" fmla="*/ 26 w 573"/>
                <a:gd name="T5" fmla="*/ 613 h 669"/>
                <a:gd name="T6" fmla="*/ 59 w 573"/>
                <a:gd name="T7" fmla="*/ 633 h 669"/>
                <a:gd name="T8" fmla="*/ 113 w 573"/>
                <a:gd name="T9" fmla="*/ 653 h 669"/>
                <a:gd name="T10" fmla="*/ 145 w 573"/>
                <a:gd name="T11" fmla="*/ 663 h 669"/>
                <a:gd name="T12" fmla="*/ 187 w 573"/>
                <a:gd name="T13" fmla="*/ 661 h 669"/>
                <a:gd name="T14" fmla="*/ 211 w 573"/>
                <a:gd name="T15" fmla="*/ 651 h 669"/>
                <a:gd name="T16" fmla="*/ 241 w 573"/>
                <a:gd name="T17" fmla="*/ 631 h 669"/>
                <a:gd name="T18" fmla="*/ 294 w 573"/>
                <a:gd name="T19" fmla="*/ 580 h 669"/>
                <a:gd name="T20" fmla="*/ 392 w 573"/>
                <a:gd name="T21" fmla="*/ 526 h 669"/>
                <a:gd name="T22" fmla="*/ 460 w 573"/>
                <a:gd name="T23" fmla="*/ 554 h 669"/>
                <a:gd name="T24" fmla="*/ 480 w 573"/>
                <a:gd name="T25" fmla="*/ 508 h 669"/>
                <a:gd name="T26" fmla="*/ 497 w 573"/>
                <a:gd name="T27" fmla="*/ 474 h 669"/>
                <a:gd name="T28" fmla="*/ 519 w 573"/>
                <a:gd name="T29" fmla="*/ 456 h 669"/>
                <a:gd name="T30" fmla="*/ 539 w 573"/>
                <a:gd name="T31" fmla="*/ 384 h 669"/>
                <a:gd name="T32" fmla="*/ 553 w 573"/>
                <a:gd name="T33" fmla="*/ 356 h 669"/>
                <a:gd name="T34" fmla="*/ 565 w 573"/>
                <a:gd name="T35" fmla="*/ 319 h 669"/>
                <a:gd name="T36" fmla="*/ 493 w 573"/>
                <a:gd name="T37" fmla="*/ 315 h 669"/>
                <a:gd name="T38" fmla="*/ 448 w 573"/>
                <a:gd name="T39" fmla="*/ 327 h 669"/>
                <a:gd name="T40" fmla="*/ 436 w 573"/>
                <a:gd name="T41" fmla="*/ 309 h 669"/>
                <a:gd name="T42" fmla="*/ 436 w 573"/>
                <a:gd name="T43" fmla="*/ 261 h 669"/>
                <a:gd name="T44" fmla="*/ 416 w 573"/>
                <a:gd name="T45" fmla="*/ 231 h 669"/>
                <a:gd name="T46" fmla="*/ 380 w 573"/>
                <a:gd name="T47" fmla="*/ 235 h 669"/>
                <a:gd name="T48" fmla="*/ 386 w 573"/>
                <a:gd name="T49" fmla="*/ 211 h 669"/>
                <a:gd name="T50" fmla="*/ 416 w 573"/>
                <a:gd name="T51" fmla="*/ 215 h 669"/>
                <a:gd name="T52" fmla="*/ 436 w 573"/>
                <a:gd name="T53" fmla="*/ 193 h 669"/>
                <a:gd name="T54" fmla="*/ 432 w 573"/>
                <a:gd name="T55" fmla="*/ 173 h 669"/>
                <a:gd name="T56" fmla="*/ 470 w 573"/>
                <a:gd name="T57" fmla="*/ 159 h 669"/>
                <a:gd name="T58" fmla="*/ 488 w 573"/>
                <a:gd name="T59" fmla="*/ 143 h 669"/>
                <a:gd name="T60" fmla="*/ 523 w 573"/>
                <a:gd name="T61" fmla="*/ 123 h 669"/>
                <a:gd name="T62" fmla="*/ 531 w 573"/>
                <a:gd name="T63" fmla="*/ 94 h 669"/>
                <a:gd name="T64" fmla="*/ 515 w 573"/>
                <a:gd name="T65" fmla="*/ 80 h 669"/>
                <a:gd name="T66" fmla="*/ 476 w 573"/>
                <a:gd name="T67" fmla="*/ 70 h 669"/>
                <a:gd name="T68" fmla="*/ 476 w 573"/>
                <a:gd name="T69" fmla="*/ 46 h 669"/>
                <a:gd name="T70" fmla="*/ 470 w 573"/>
                <a:gd name="T71" fmla="*/ 22 h 669"/>
                <a:gd name="T72" fmla="*/ 456 w 573"/>
                <a:gd name="T73" fmla="*/ 2 h 669"/>
                <a:gd name="T74" fmla="*/ 438 w 573"/>
                <a:gd name="T75" fmla="*/ 14 h 669"/>
                <a:gd name="T76" fmla="*/ 392 w 573"/>
                <a:gd name="T77" fmla="*/ 34 h 669"/>
                <a:gd name="T78" fmla="*/ 384 w 573"/>
                <a:gd name="T79" fmla="*/ 56 h 669"/>
                <a:gd name="T80" fmla="*/ 368 w 573"/>
                <a:gd name="T81" fmla="*/ 90 h 669"/>
                <a:gd name="T82" fmla="*/ 392 w 573"/>
                <a:gd name="T83" fmla="*/ 92 h 669"/>
                <a:gd name="T84" fmla="*/ 376 w 573"/>
                <a:gd name="T85" fmla="*/ 106 h 669"/>
                <a:gd name="T86" fmla="*/ 340 w 573"/>
                <a:gd name="T87" fmla="*/ 104 h 669"/>
                <a:gd name="T88" fmla="*/ 257 w 573"/>
                <a:gd name="T89" fmla="*/ 149 h 669"/>
                <a:gd name="T90" fmla="*/ 217 w 573"/>
                <a:gd name="T91" fmla="*/ 177 h 669"/>
                <a:gd name="T92" fmla="*/ 165 w 573"/>
                <a:gd name="T93" fmla="*/ 207 h 669"/>
                <a:gd name="T94" fmla="*/ 97 w 573"/>
                <a:gd name="T95" fmla="*/ 291 h 669"/>
                <a:gd name="T96" fmla="*/ 73 w 573"/>
                <a:gd name="T97" fmla="*/ 325 h 669"/>
                <a:gd name="T98" fmla="*/ 119 w 573"/>
                <a:gd name="T99" fmla="*/ 339 h 669"/>
                <a:gd name="T100" fmla="*/ 133 w 573"/>
                <a:gd name="T101" fmla="*/ 370 h 669"/>
                <a:gd name="T102" fmla="*/ 111 w 573"/>
                <a:gd name="T103" fmla="*/ 376 h 669"/>
                <a:gd name="T104" fmla="*/ 75 w 573"/>
                <a:gd name="T105" fmla="*/ 380 h 669"/>
                <a:gd name="T106" fmla="*/ 57 w 573"/>
                <a:gd name="T107" fmla="*/ 380 h 669"/>
                <a:gd name="T108" fmla="*/ 40 w 573"/>
                <a:gd name="T109" fmla="*/ 432 h 669"/>
                <a:gd name="T110" fmla="*/ 12 w 573"/>
                <a:gd name="T111" fmla="*/ 456 h 669"/>
                <a:gd name="T112" fmla="*/ 28 w 573"/>
                <a:gd name="T113" fmla="*/ 48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" h="669">
                  <a:moveTo>
                    <a:pt x="28" y="486"/>
                  </a:moveTo>
                  <a:lnTo>
                    <a:pt x="28" y="486"/>
                  </a:lnTo>
                  <a:lnTo>
                    <a:pt x="28" y="490"/>
                  </a:lnTo>
                  <a:lnTo>
                    <a:pt x="28" y="494"/>
                  </a:lnTo>
                  <a:lnTo>
                    <a:pt x="36" y="496"/>
                  </a:lnTo>
                  <a:lnTo>
                    <a:pt x="44" y="496"/>
                  </a:lnTo>
                  <a:lnTo>
                    <a:pt x="44" y="502"/>
                  </a:lnTo>
                  <a:lnTo>
                    <a:pt x="50" y="508"/>
                  </a:lnTo>
                  <a:lnTo>
                    <a:pt x="65" y="520"/>
                  </a:lnTo>
                  <a:lnTo>
                    <a:pt x="48" y="536"/>
                  </a:lnTo>
                  <a:lnTo>
                    <a:pt x="48" y="536"/>
                  </a:lnTo>
                  <a:lnTo>
                    <a:pt x="48" y="548"/>
                  </a:lnTo>
                  <a:lnTo>
                    <a:pt x="48" y="548"/>
                  </a:lnTo>
                  <a:lnTo>
                    <a:pt x="46" y="550"/>
                  </a:lnTo>
                  <a:lnTo>
                    <a:pt x="44" y="558"/>
                  </a:lnTo>
                  <a:lnTo>
                    <a:pt x="38" y="562"/>
                  </a:lnTo>
                  <a:lnTo>
                    <a:pt x="26" y="578"/>
                  </a:lnTo>
                  <a:lnTo>
                    <a:pt x="24" y="587"/>
                  </a:lnTo>
                  <a:lnTo>
                    <a:pt x="18" y="593"/>
                  </a:lnTo>
                  <a:lnTo>
                    <a:pt x="24" y="609"/>
                  </a:lnTo>
                  <a:lnTo>
                    <a:pt x="26" y="613"/>
                  </a:lnTo>
                  <a:lnTo>
                    <a:pt x="30" y="611"/>
                  </a:lnTo>
                  <a:lnTo>
                    <a:pt x="36" y="611"/>
                  </a:lnTo>
                  <a:lnTo>
                    <a:pt x="26" y="619"/>
                  </a:lnTo>
                  <a:lnTo>
                    <a:pt x="30" y="631"/>
                  </a:lnTo>
                  <a:lnTo>
                    <a:pt x="40" y="633"/>
                  </a:lnTo>
                  <a:lnTo>
                    <a:pt x="48" y="637"/>
                  </a:lnTo>
                  <a:lnTo>
                    <a:pt x="59" y="633"/>
                  </a:lnTo>
                  <a:lnTo>
                    <a:pt x="73" y="631"/>
                  </a:lnTo>
                  <a:lnTo>
                    <a:pt x="83" y="637"/>
                  </a:lnTo>
                  <a:lnTo>
                    <a:pt x="91" y="659"/>
                  </a:lnTo>
                  <a:lnTo>
                    <a:pt x="91" y="659"/>
                  </a:lnTo>
                  <a:lnTo>
                    <a:pt x="93" y="661"/>
                  </a:lnTo>
                  <a:lnTo>
                    <a:pt x="113" y="653"/>
                  </a:lnTo>
                  <a:lnTo>
                    <a:pt x="113" y="653"/>
                  </a:lnTo>
                  <a:lnTo>
                    <a:pt x="119" y="661"/>
                  </a:lnTo>
                  <a:lnTo>
                    <a:pt x="127" y="667"/>
                  </a:lnTo>
                  <a:lnTo>
                    <a:pt x="129" y="669"/>
                  </a:lnTo>
                  <a:lnTo>
                    <a:pt x="131" y="669"/>
                  </a:lnTo>
                  <a:lnTo>
                    <a:pt x="131" y="669"/>
                  </a:lnTo>
                  <a:lnTo>
                    <a:pt x="137" y="669"/>
                  </a:lnTo>
                  <a:lnTo>
                    <a:pt x="145" y="663"/>
                  </a:lnTo>
                  <a:lnTo>
                    <a:pt x="157" y="663"/>
                  </a:lnTo>
                  <a:lnTo>
                    <a:pt x="163" y="661"/>
                  </a:lnTo>
                  <a:lnTo>
                    <a:pt x="163" y="661"/>
                  </a:lnTo>
                  <a:lnTo>
                    <a:pt x="173" y="663"/>
                  </a:lnTo>
                  <a:lnTo>
                    <a:pt x="179" y="663"/>
                  </a:lnTo>
                  <a:lnTo>
                    <a:pt x="183" y="663"/>
                  </a:lnTo>
                  <a:lnTo>
                    <a:pt x="187" y="661"/>
                  </a:lnTo>
                  <a:lnTo>
                    <a:pt x="187" y="659"/>
                  </a:lnTo>
                  <a:lnTo>
                    <a:pt x="187" y="659"/>
                  </a:lnTo>
                  <a:lnTo>
                    <a:pt x="195" y="655"/>
                  </a:lnTo>
                  <a:lnTo>
                    <a:pt x="201" y="651"/>
                  </a:lnTo>
                  <a:lnTo>
                    <a:pt x="205" y="651"/>
                  </a:lnTo>
                  <a:lnTo>
                    <a:pt x="211" y="651"/>
                  </a:lnTo>
                  <a:lnTo>
                    <a:pt x="211" y="651"/>
                  </a:lnTo>
                  <a:lnTo>
                    <a:pt x="221" y="651"/>
                  </a:lnTo>
                  <a:lnTo>
                    <a:pt x="227" y="647"/>
                  </a:lnTo>
                  <a:lnTo>
                    <a:pt x="231" y="645"/>
                  </a:lnTo>
                  <a:lnTo>
                    <a:pt x="235" y="639"/>
                  </a:lnTo>
                  <a:lnTo>
                    <a:pt x="235" y="639"/>
                  </a:lnTo>
                  <a:lnTo>
                    <a:pt x="237" y="637"/>
                  </a:lnTo>
                  <a:lnTo>
                    <a:pt x="241" y="631"/>
                  </a:lnTo>
                  <a:lnTo>
                    <a:pt x="237" y="627"/>
                  </a:lnTo>
                  <a:lnTo>
                    <a:pt x="241" y="625"/>
                  </a:lnTo>
                  <a:lnTo>
                    <a:pt x="247" y="613"/>
                  </a:lnTo>
                  <a:lnTo>
                    <a:pt x="257" y="599"/>
                  </a:lnTo>
                  <a:lnTo>
                    <a:pt x="271" y="591"/>
                  </a:lnTo>
                  <a:lnTo>
                    <a:pt x="269" y="587"/>
                  </a:lnTo>
                  <a:lnTo>
                    <a:pt x="294" y="580"/>
                  </a:lnTo>
                  <a:lnTo>
                    <a:pt x="310" y="562"/>
                  </a:lnTo>
                  <a:lnTo>
                    <a:pt x="308" y="550"/>
                  </a:lnTo>
                  <a:lnTo>
                    <a:pt x="326" y="548"/>
                  </a:lnTo>
                  <a:lnTo>
                    <a:pt x="342" y="536"/>
                  </a:lnTo>
                  <a:lnTo>
                    <a:pt x="364" y="532"/>
                  </a:lnTo>
                  <a:lnTo>
                    <a:pt x="376" y="526"/>
                  </a:lnTo>
                  <a:lnTo>
                    <a:pt x="392" y="526"/>
                  </a:lnTo>
                  <a:lnTo>
                    <a:pt x="396" y="548"/>
                  </a:lnTo>
                  <a:lnTo>
                    <a:pt x="404" y="564"/>
                  </a:lnTo>
                  <a:lnTo>
                    <a:pt x="422" y="558"/>
                  </a:lnTo>
                  <a:lnTo>
                    <a:pt x="422" y="558"/>
                  </a:lnTo>
                  <a:lnTo>
                    <a:pt x="454" y="556"/>
                  </a:lnTo>
                  <a:lnTo>
                    <a:pt x="454" y="556"/>
                  </a:lnTo>
                  <a:lnTo>
                    <a:pt x="460" y="554"/>
                  </a:lnTo>
                  <a:lnTo>
                    <a:pt x="464" y="554"/>
                  </a:lnTo>
                  <a:lnTo>
                    <a:pt x="470" y="548"/>
                  </a:lnTo>
                  <a:lnTo>
                    <a:pt x="480" y="526"/>
                  </a:lnTo>
                  <a:lnTo>
                    <a:pt x="480" y="526"/>
                  </a:lnTo>
                  <a:lnTo>
                    <a:pt x="480" y="518"/>
                  </a:lnTo>
                  <a:lnTo>
                    <a:pt x="480" y="512"/>
                  </a:lnTo>
                  <a:lnTo>
                    <a:pt x="480" y="508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93" y="492"/>
                  </a:lnTo>
                  <a:lnTo>
                    <a:pt x="495" y="486"/>
                  </a:lnTo>
                  <a:lnTo>
                    <a:pt x="497" y="480"/>
                  </a:lnTo>
                  <a:lnTo>
                    <a:pt x="497" y="480"/>
                  </a:lnTo>
                  <a:lnTo>
                    <a:pt x="497" y="474"/>
                  </a:lnTo>
                  <a:lnTo>
                    <a:pt x="499" y="466"/>
                  </a:lnTo>
                  <a:lnTo>
                    <a:pt x="501" y="458"/>
                  </a:lnTo>
                  <a:lnTo>
                    <a:pt x="503" y="456"/>
                  </a:lnTo>
                  <a:lnTo>
                    <a:pt x="505" y="454"/>
                  </a:lnTo>
                  <a:lnTo>
                    <a:pt x="505" y="454"/>
                  </a:lnTo>
                  <a:lnTo>
                    <a:pt x="513" y="454"/>
                  </a:lnTo>
                  <a:lnTo>
                    <a:pt x="519" y="456"/>
                  </a:lnTo>
                  <a:lnTo>
                    <a:pt x="523" y="456"/>
                  </a:lnTo>
                  <a:lnTo>
                    <a:pt x="543" y="456"/>
                  </a:lnTo>
                  <a:lnTo>
                    <a:pt x="543" y="456"/>
                  </a:lnTo>
                  <a:lnTo>
                    <a:pt x="543" y="412"/>
                  </a:lnTo>
                  <a:lnTo>
                    <a:pt x="543" y="412"/>
                  </a:lnTo>
                  <a:lnTo>
                    <a:pt x="541" y="400"/>
                  </a:lnTo>
                  <a:lnTo>
                    <a:pt x="539" y="384"/>
                  </a:lnTo>
                  <a:lnTo>
                    <a:pt x="539" y="378"/>
                  </a:lnTo>
                  <a:lnTo>
                    <a:pt x="539" y="374"/>
                  </a:lnTo>
                  <a:lnTo>
                    <a:pt x="541" y="370"/>
                  </a:lnTo>
                  <a:lnTo>
                    <a:pt x="543" y="362"/>
                  </a:lnTo>
                  <a:lnTo>
                    <a:pt x="543" y="362"/>
                  </a:lnTo>
                  <a:lnTo>
                    <a:pt x="549" y="358"/>
                  </a:lnTo>
                  <a:lnTo>
                    <a:pt x="553" y="356"/>
                  </a:lnTo>
                  <a:lnTo>
                    <a:pt x="565" y="350"/>
                  </a:lnTo>
                  <a:lnTo>
                    <a:pt x="573" y="345"/>
                  </a:lnTo>
                  <a:lnTo>
                    <a:pt x="573" y="341"/>
                  </a:lnTo>
                  <a:lnTo>
                    <a:pt x="573" y="337"/>
                  </a:lnTo>
                  <a:lnTo>
                    <a:pt x="573" y="337"/>
                  </a:lnTo>
                  <a:lnTo>
                    <a:pt x="569" y="327"/>
                  </a:lnTo>
                  <a:lnTo>
                    <a:pt x="565" y="319"/>
                  </a:lnTo>
                  <a:lnTo>
                    <a:pt x="555" y="317"/>
                  </a:lnTo>
                  <a:lnTo>
                    <a:pt x="555" y="317"/>
                  </a:lnTo>
                  <a:lnTo>
                    <a:pt x="549" y="315"/>
                  </a:lnTo>
                  <a:lnTo>
                    <a:pt x="539" y="315"/>
                  </a:lnTo>
                  <a:lnTo>
                    <a:pt x="519" y="317"/>
                  </a:lnTo>
                  <a:lnTo>
                    <a:pt x="519" y="317"/>
                  </a:lnTo>
                  <a:lnTo>
                    <a:pt x="493" y="315"/>
                  </a:lnTo>
                  <a:lnTo>
                    <a:pt x="468" y="311"/>
                  </a:lnTo>
                  <a:lnTo>
                    <a:pt x="468" y="311"/>
                  </a:lnTo>
                  <a:lnTo>
                    <a:pt x="462" y="311"/>
                  </a:lnTo>
                  <a:lnTo>
                    <a:pt x="462" y="315"/>
                  </a:lnTo>
                  <a:lnTo>
                    <a:pt x="456" y="319"/>
                  </a:lnTo>
                  <a:lnTo>
                    <a:pt x="452" y="325"/>
                  </a:lnTo>
                  <a:lnTo>
                    <a:pt x="448" y="327"/>
                  </a:lnTo>
                  <a:lnTo>
                    <a:pt x="442" y="327"/>
                  </a:lnTo>
                  <a:lnTo>
                    <a:pt x="442" y="327"/>
                  </a:lnTo>
                  <a:lnTo>
                    <a:pt x="438" y="325"/>
                  </a:lnTo>
                  <a:lnTo>
                    <a:pt x="434" y="325"/>
                  </a:lnTo>
                  <a:lnTo>
                    <a:pt x="430" y="319"/>
                  </a:lnTo>
                  <a:lnTo>
                    <a:pt x="430" y="319"/>
                  </a:lnTo>
                  <a:lnTo>
                    <a:pt x="436" y="309"/>
                  </a:lnTo>
                  <a:lnTo>
                    <a:pt x="440" y="299"/>
                  </a:lnTo>
                  <a:lnTo>
                    <a:pt x="442" y="291"/>
                  </a:lnTo>
                  <a:lnTo>
                    <a:pt x="442" y="291"/>
                  </a:lnTo>
                  <a:lnTo>
                    <a:pt x="442" y="285"/>
                  </a:lnTo>
                  <a:lnTo>
                    <a:pt x="440" y="279"/>
                  </a:lnTo>
                  <a:lnTo>
                    <a:pt x="436" y="261"/>
                  </a:lnTo>
                  <a:lnTo>
                    <a:pt x="436" y="261"/>
                  </a:lnTo>
                  <a:lnTo>
                    <a:pt x="432" y="251"/>
                  </a:lnTo>
                  <a:lnTo>
                    <a:pt x="426" y="247"/>
                  </a:lnTo>
                  <a:lnTo>
                    <a:pt x="422" y="243"/>
                  </a:lnTo>
                  <a:lnTo>
                    <a:pt x="416" y="237"/>
                  </a:lnTo>
                  <a:lnTo>
                    <a:pt x="416" y="237"/>
                  </a:lnTo>
                  <a:lnTo>
                    <a:pt x="416" y="235"/>
                  </a:lnTo>
                  <a:lnTo>
                    <a:pt x="416" y="231"/>
                  </a:lnTo>
                  <a:lnTo>
                    <a:pt x="408" y="231"/>
                  </a:lnTo>
                  <a:lnTo>
                    <a:pt x="408" y="231"/>
                  </a:lnTo>
                  <a:lnTo>
                    <a:pt x="396" y="235"/>
                  </a:lnTo>
                  <a:lnTo>
                    <a:pt x="390" y="237"/>
                  </a:lnTo>
                  <a:lnTo>
                    <a:pt x="386" y="237"/>
                  </a:lnTo>
                  <a:lnTo>
                    <a:pt x="382" y="235"/>
                  </a:lnTo>
                  <a:lnTo>
                    <a:pt x="380" y="235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0" y="217"/>
                  </a:lnTo>
                  <a:lnTo>
                    <a:pt x="382" y="213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6" y="211"/>
                  </a:lnTo>
                  <a:lnTo>
                    <a:pt x="386" y="211"/>
                  </a:lnTo>
                  <a:lnTo>
                    <a:pt x="392" y="213"/>
                  </a:lnTo>
                  <a:lnTo>
                    <a:pt x="39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10" y="215"/>
                  </a:lnTo>
                  <a:lnTo>
                    <a:pt x="416" y="215"/>
                  </a:lnTo>
                  <a:lnTo>
                    <a:pt x="418" y="217"/>
                  </a:lnTo>
                  <a:lnTo>
                    <a:pt x="422" y="215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32" y="201"/>
                  </a:lnTo>
                  <a:lnTo>
                    <a:pt x="434" y="195"/>
                  </a:lnTo>
                  <a:lnTo>
                    <a:pt x="436" y="193"/>
                  </a:lnTo>
                  <a:lnTo>
                    <a:pt x="434" y="191"/>
                  </a:lnTo>
                  <a:lnTo>
                    <a:pt x="434" y="191"/>
                  </a:lnTo>
                  <a:lnTo>
                    <a:pt x="434" y="185"/>
                  </a:lnTo>
                  <a:lnTo>
                    <a:pt x="430" y="183"/>
                  </a:lnTo>
                  <a:lnTo>
                    <a:pt x="430" y="179"/>
                  </a:lnTo>
                  <a:lnTo>
                    <a:pt x="432" y="173"/>
                  </a:lnTo>
                  <a:lnTo>
                    <a:pt x="432" y="173"/>
                  </a:lnTo>
                  <a:lnTo>
                    <a:pt x="438" y="167"/>
                  </a:lnTo>
                  <a:lnTo>
                    <a:pt x="446" y="159"/>
                  </a:lnTo>
                  <a:lnTo>
                    <a:pt x="454" y="155"/>
                  </a:lnTo>
                  <a:lnTo>
                    <a:pt x="458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70" y="159"/>
                  </a:lnTo>
                  <a:lnTo>
                    <a:pt x="474" y="159"/>
                  </a:lnTo>
                  <a:lnTo>
                    <a:pt x="478" y="157"/>
                  </a:lnTo>
                  <a:lnTo>
                    <a:pt x="478" y="157"/>
                  </a:lnTo>
                  <a:lnTo>
                    <a:pt x="480" y="155"/>
                  </a:lnTo>
                  <a:lnTo>
                    <a:pt x="484" y="153"/>
                  </a:lnTo>
                  <a:lnTo>
                    <a:pt x="484" y="147"/>
                  </a:lnTo>
                  <a:lnTo>
                    <a:pt x="488" y="143"/>
                  </a:lnTo>
                  <a:lnTo>
                    <a:pt x="488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503" y="133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3" y="123"/>
                  </a:lnTo>
                  <a:lnTo>
                    <a:pt x="527" y="119"/>
                  </a:lnTo>
                  <a:lnTo>
                    <a:pt x="533" y="114"/>
                  </a:lnTo>
                  <a:lnTo>
                    <a:pt x="533" y="110"/>
                  </a:lnTo>
                  <a:lnTo>
                    <a:pt x="533" y="106"/>
                  </a:lnTo>
                  <a:lnTo>
                    <a:pt x="533" y="106"/>
                  </a:lnTo>
                  <a:lnTo>
                    <a:pt x="531" y="102"/>
                  </a:lnTo>
                  <a:lnTo>
                    <a:pt x="531" y="94"/>
                  </a:lnTo>
                  <a:lnTo>
                    <a:pt x="529" y="90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5" y="86"/>
                  </a:lnTo>
                  <a:lnTo>
                    <a:pt x="521" y="86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07" y="78"/>
                  </a:lnTo>
                  <a:lnTo>
                    <a:pt x="501" y="76"/>
                  </a:lnTo>
                  <a:lnTo>
                    <a:pt x="488" y="74"/>
                  </a:lnTo>
                  <a:lnTo>
                    <a:pt x="488" y="74"/>
                  </a:lnTo>
                  <a:lnTo>
                    <a:pt x="484" y="74"/>
                  </a:lnTo>
                  <a:lnTo>
                    <a:pt x="476" y="70"/>
                  </a:lnTo>
                  <a:lnTo>
                    <a:pt x="472" y="68"/>
                  </a:lnTo>
                  <a:lnTo>
                    <a:pt x="470" y="66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2" y="60"/>
                  </a:lnTo>
                  <a:lnTo>
                    <a:pt x="474" y="54"/>
                  </a:lnTo>
                  <a:lnTo>
                    <a:pt x="476" y="46"/>
                  </a:lnTo>
                  <a:lnTo>
                    <a:pt x="478" y="42"/>
                  </a:lnTo>
                  <a:lnTo>
                    <a:pt x="478" y="42"/>
                  </a:lnTo>
                  <a:lnTo>
                    <a:pt x="476" y="32"/>
                  </a:lnTo>
                  <a:lnTo>
                    <a:pt x="476" y="28"/>
                  </a:lnTo>
                  <a:lnTo>
                    <a:pt x="474" y="24"/>
                  </a:lnTo>
                  <a:lnTo>
                    <a:pt x="474" y="24"/>
                  </a:lnTo>
                  <a:lnTo>
                    <a:pt x="470" y="22"/>
                  </a:lnTo>
                  <a:lnTo>
                    <a:pt x="462" y="20"/>
                  </a:lnTo>
                  <a:lnTo>
                    <a:pt x="458" y="18"/>
                  </a:lnTo>
                  <a:lnTo>
                    <a:pt x="458" y="16"/>
                  </a:lnTo>
                  <a:lnTo>
                    <a:pt x="456" y="14"/>
                  </a:lnTo>
                  <a:lnTo>
                    <a:pt x="456" y="14"/>
                  </a:lnTo>
                  <a:lnTo>
                    <a:pt x="458" y="6"/>
                  </a:lnTo>
                  <a:lnTo>
                    <a:pt x="456" y="2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8"/>
                  </a:lnTo>
                  <a:lnTo>
                    <a:pt x="438" y="14"/>
                  </a:lnTo>
                  <a:lnTo>
                    <a:pt x="438" y="14"/>
                  </a:lnTo>
                  <a:lnTo>
                    <a:pt x="424" y="24"/>
                  </a:lnTo>
                  <a:lnTo>
                    <a:pt x="416" y="34"/>
                  </a:lnTo>
                  <a:lnTo>
                    <a:pt x="412" y="34"/>
                  </a:lnTo>
                  <a:lnTo>
                    <a:pt x="408" y="34"/>
                  </a:lnTo>
                  <a:lnTo>
                    <a:pt x="408" y="34"/>
                  </a:lnTo>
                  <a:lnTo>
                    <a:pt x="396" y="34"/>
                  </a:lnTo>
                  <a:lnTo>
                    <a:pt x="392" y="34"/>
                  </a:lnTo>
                  <a:lnTo>
                    <a:pt x="390" y="38"/>
                  </a:lnTo>
                  <a:lnTo>
                    <a:pt x="390" y="38"/>
                  </a:lnTo>
                  <a:lnTo>
                    <a:pt x="388" y="40"/>
                  </a:lnTo>
                  <a:lnTo>
                    <a:pt x="386" y="44"/>
                  </a:lnTo>
                  <a:lnTo>
                    <a:pt x="386" y="48"/>
                  </a:lnTo>
                  <a:lnTo>
                    <a:pt x="384" y="56"/>
                  </a:lnTo>
                  <a:lnTo>
                    <a:pt x="384" y="56"/>
                  </a:lnTo>
                  <a:lnTo>
                    <a:pt x="380" y="60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0" y="82"/>
                  </a:lnTo>
                  <a:lnTo>
                    <a:pt x="368" y="86"/>
                  </a:lnTo>
                  <a:lnTo>
                    <a:pt x="368" y="90"/>
                  </a:lnTo>
                  <a:lnTo>
                    <a:pt x="368" y="90"/>
                  </a:lnTo>
                  <a:lnTo>
                    <a:pt x="370" y="90"/>
                  </a:lnTo>
                  <a:lnTo>
                    <a:pt x="372" y="90"/>
                  </a:lnTo>
                  <a:lnTo>
                    <a:pt x="380" y="90"/>
                  </a:lnTo>
                  <a:lnTo>
                    <a:pt x="388" y="90"/>
                  </a:lnTo>
                  <a:lnTo>
                    <a:pt x="390" y="92"/>
                  </a:lnTo>
                  <a:lnTo>
                    <a:pt x="392" y="92"/>
                  </a:lnTo>
                  <a:lnTo>
                    <a:pt x="392" y="92"/>
                  </a:lnTo>
                  <a:lnTo>
                    <a:pt x="400" y="102"/>
                  </a:lnTo>
                  <a:lnTo>
                    <a:pt x="400" y="104"/>
                  </a:lnTo>
                  <a:lnTo>
                    <a:pt x="400" y="104"/>
                  </a:lnTo>
                  <a:lnTo>
                    <a:pt x="400" y="106"/>
                  </a:lnTo>
                  <a:lnTo>
                    <a:pt x="396" y="106"/>
                  </a:lnTo>
                  <a:lnTo>
                    <a:pt x="396" y="106"/>
                  </a:lnTo>
                  <a:lnTo>
                    <a:pt x="376" y="106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56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0" y="104"/>
                  </a:lnTo>
                  <a:lnTo>
                    <a:pt x="336" y="104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288" y="133"/>
                  </a:lnTo>
                  <a:lnTo>
                    <a:pt x="271" y="145"/>
                  </a:lnTo>
                  <a:lnTo>
                    <a:pt x="265" y="147"/>
                  </a:lnTo>
                  <a:lnTo>
                    <a:pt x="257" y="149"/>
                  </a:lnTo>
                  <a:lnTo>
                    <a:pt x="257" y="149"/>
                  </a:lnTo>
                  <a:lnTo>
                    <a:pt x="253" y="151"/>
                  </a:lnTo>
                  <a:lnTo>
                    <a:pt x="247" y="155"/>
                  </a:lnTo>
                  <a:lnTo>
                    <a:pt x="235" y="165"/>
                  </a:lnTo>
                  <a:lnTo>
                    <a:pt x="227" y="171"/>
                  </a:lnTo>
                  <a:lnTo>
                    <a:pt x="223" y="175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07" y="179"/>
                  </a:lnTo>
                  <a:lnTo>
                    <a:pt x="197" y="183"/>
                  </a:lnTo>
                  <a:lnTo>
                    <a:pt x="187" y="191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65" y="207"/>
                  </a:lnTo>
                  <a:lnTo>
                    <a:pt x="153" y="219"/>
                  </a:lnTo>
                  <a:lnTo>
                    <a:pt x="141" y="229"/>
                  </a:lnTo>
                  <a:lnTo>
                    <a:pt x="135" y="235"/>
                  </a:lnTo>
                  <a:lnTo>
                    <a:pt x="131" y="241"/>
                  </a:lnTo>
                  <a:lnTo>
                    <a:pt x="131" y="241"/>
                  </a:lnTo>
                  <a:lnTo>
                    <a:pt x="111" y="273"/>
                  </a:lnTo>
                  <a:lnTo>
                    <a:pt x="97" y="291"/>
                  </a:lnTo>
                  <a:lnTo>
                    <a:pt x="93" y="29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1" y="309"/>
                  </a:lnTo>
                  <a:lnTo>
                    <a:pt x="75" y="315"/>
                  </a:lnTo>
                  <a:lnTo>
                    <a:pt x="73" y="321"/>
                  </a:lnTo>
                  <a:lnTo>
                    <a:pt x="73" y="325"/>
                  </a:lnTo>
                  <a:lnTo>
                    <a:pt x="73" y="325"/>
                  </a:lnTo>
                  <a:lnTo>
                    <a:pt x="79" y="329"/>
                  </a:lnTo>
                  <a:lnTo>
                    <a:pt x="83" y="333"/>
                  </a:lnTo>
                  <a:lnTo>
                    <a:pt x="89" y="337"/>
                  </a:lnTo>
                  <a:lnTo>
                    <a:pt x="89" y="337"/>
                  </a:lnTo>
                  <a:lnTo>
                    <a:pt x="109" y="337"/>
                  </a:lnTo>
                  <a:lnTo>
                    <a:pt x="119" y="339"/>
                  </a:lnTo>
                  <a:lnTo>
                    <a:pt x="125" y="341"/>
                  </a:lnTo>
                  <a:lnTo>
                    <a:pt x="129" y="343"/>
                  </a:lnTo>
                  <a:lnTo>
                    <a:pt x="129" y="343"/>
                  </a:lnTo>
                  <a:lnTo>
                    <a:pt x="131" y="350"/>
                  </a:lnTo>
                  <a:lnTo>
                    <a:pt x="133" y="360"/>
                  </a:lnTo>
                  <a:lnTo>
                    <a:pt x="133" y="364"/>
                  </a:lnTo>
                  <a:lnTo>
                    <a:pt x="133" y="370"/>
                  </a:lnTo>
                  <a:lnTo>
                    <a:pt x="131" y="374"/>
                  </a:lnTo>
                  <a:lnTo>
                    <a:pt x="129" y="376"/>
                  </a:lnTo>
                  <a:lnTo>
                    <a:pt x="129" y="376"/>
                  </a:lnTo>
                  <a:lnTo>
                    <a:pt x="125" y="376"/>
                  </a:lnTo>
                  <a:lnTo>
                    <a:pt x="119" y="376"/>
                  </a:lnTo>
                  <a:lnTo>
                    <a:pt x="115" y="374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93" y="382"/>
                  </a:lnTo>
                  <a:lnTo>
                    <a:pt x="85" y="384"/>
                  </a:lnTo>
                  <a:lnTo>
                    <a:pt x="83" y="384"/>
                  </a:lnTo>
                  <a:lnTo>
                    <a:pt x="79" y="384"/>
                  </a:lnTo>
                  <a:lnTo>
                    <a:pt x="79" y="384"/>
                  </a:lnTo>
                  <a:lnTo>
                    <a:pt x="75" y="380"/>
                  </a:lnTo>
                  <a:lnTo>
                    <a:pt x="69" y="378"/>
                  </a:lnTo>
                  <a:lnTo>
                    <a:pt x="63" y="378"/>
                  </a:lnTo>
                  <a:lnTo>
                    <a:pt x="63" y="378"/>
                  </a:lnTo>
                  <a:lnTo>
                    <a:pt x="61" y="378"/>
                  </a:lnTo>
                  <a:lnTo>
                    <a:pt x="59" y="378"/>
                  </a:lnTo>
                  <a:lnTo>
                    <a:pt x="57" y="380"/>
                  </a:lnTo>
                  <a:lnTo>
                    <a:pt x="57" y="380"/>
                  </a:lnTo>
                  <a:lnTo>
                    <a:pt x="61" y="390"/>
                  </a:lnTo>
                  <a:lnTo>
                    <a:pt x="61" y="400"/>
                  </a:lnTo>
                  <a:lnTo>
                    <a:pt x="57" y="406"/>
                  </a:lnTo>
                  <a:lnTo>
                    <a:pt x="57" y="406"/>
                  </a:lnTo>
                  <a:lnTo>
                    <a:pt x="50" y="420"/>
                  </a:lnTo>
                  <a:lnTo>
                    <a:pt x="40" y="432"/>
                  </a:lnTo>
                  <a:lnTo>
                    <a:pt x="40" y="432"/>
                  </a:lnTo>
                  <a:lnTo>
                    <a:pt x="34" y="440"/>
                  </a:lnTo>
                  <a:lnTo>
                    <a:pt x="28" y="442"/>
                  </a:lnTo>
                  <a:lnTo>
                    <a:pt x="28" y="442"/>
                  </a:lnTo>
                  <a:lnTo>
                    <a:pt x="26" y="444"/>
                  </a:lnTo>
                  <a:lnTo>
                    <a:pt x="22" y="446"/>
                  </a:lnTo>
                  <a:lnTo>
                    <a:pt x="12" y="456"/>
                  </a:lnTo>
                  <a:lnTo>
                    <a:pt x="12" y="456"/>
                  </a:lnTo>
                  <a:lnTo>
                    <a:pt x="8" y="462"/>
                  </a:lnTo>
                  <a:lnTo>
                    <a:pt x="4" y="466"/>
                  </a:lnTo>
                  <a:lnTo>
                    <a:pt x="0" y="476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18" y="482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89" name="Freeform 80"/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0" name="Freeform 81"/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1" name="Freeform 82"/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2" name="Freeform 83"/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3" name="Freeform 84"/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4" name="Freeform 85"/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5" name="Freeform 86"/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6" name="Freeform 87"/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7" name="Freeform 88"/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8" name="Freeform 89"/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99" name="Freeform 90"/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0" name="Freeform 91"/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1" name="Freeform 92"/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2" name="Freeform 93"/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3" name="Freeform 94"/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4" name="Freeform 95"/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5" name="Freeform 96"/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6" name="Freeform 97"/>
            <p:cNvSpPr>
              <a:spLocks/>
            </p:cNvSpPr>
            <p:nvPr/>
          </p:nvSpPr>
          <p:spPr bwMode="auto">
            <a:xfrm>
              <a:off x="4341" y="1136"/>
              <a:ext cx="38" cy="75"/>
            </a:xfrm>
            <a:custGeom>
              <a:avLst/>
              <a:gdLst>
                <a:gd name="T0" fmla="*/ 28 w 38"/>
                <a:gd name="T1" fmla="*/ 75 h 75"/>
                <a:gd name="T2" fmla="*/ 28 w 38"/>
                <a:gd name="T3" fmla="*/ 75 h 75"/>
                <a:gd name="T4" fmla="*/ 24 w 38"/>
                <a:gd name="T5" fmla="*/ 75 h 75"/>
                <a:gd name="T6" fmla="*/ 16 w 38"/>
                <a:gd name="T7" fmla="*/ 75 h 75"/>
                <a:gd name="T8" fmla="*/ 14 w 38"/>
                <a:gd name="T9" fmla="*/ 73 h 75"/>
                <a:gd name="T10" fmla="*/ 12 w 38"/>
                <a:gd name="T11" fmla="*/ 71 h 75"/>
                <a:gd name="T12" fmla="*/ 12 w 38"/>
                <a:gd name="T13" fmla="*/ 71 h 75"/>
                <a:gd name="T14" fmla="*/ 4 w 38"/>
                <a:gd name="T15" fmla="*/ 59 h 75"/>
                <a:gd name="T16" fmla="*/ 0 w 38"/>
                <a:gd name="T17" fmla="*/ 51 h 75"/>
                <a:gd name="T18" fmla="*/ 0 w 38"/>
                <a:gd name="T19" fmla="*/ 47 h 75"/>
                <a:gd name="T20" fmla="*/ 0 w 38"/>
                <a:gd name="T21" fmla="*/ 41 h 75"/>
                <a:gd name="T22" fmla="*/ 0 w 38"/>
                <a:gd name="T23" fmla="*/ 41 h 75"/>
                <a:gd name="T24" fmla="*/ 2 w 38"/>
                <a:gd name="T25" fmla="*/ 30 h 75"/>
                <a:gd name="T26" fmla="*/ 4 w 38"/>
                <a:gd name="T27" fmla="*/ 22 h 75"/>
                <a:gd name="T28" fmla="*/ 8 w 38"/>
                <a:gd name="T29" fmla="*/ 12 h 75"/>
                <a:gd name="T30" fmla="*/ 14 w 38"/>
                <a:gd name="T31" fmla="*/ 6 h 75"/>
                <a:gd name="T32" fmla="*/ 14 w 38"/>
                <a:gd name="T33" fmla="*/ 6 h 75"/>
                <a:gd name="T34" fmla="*/ 20 w 38"/>
                <a:gd name="T35" fmla="*/ 2 h 75"/>
                <a:gd name="T36" fmla="*/ 26 w 38"/>
                <a:gd name="T37" fmla="*/ 0 h 75"/>
                <a:gd name="T38" fmla="*/ 32 w 38"/>
                <a:gd name="T39" fmla="*/ 0 h 75"/>
                <a:gd name="T40" fmla="*/ 32 w 38"/>
                <a:gd name="T41" fmla="*/ 2 h 75"/>
                <a:gd name="T42" fmla="*/ 34 w 38"/>
                <a:gd name="T43" fmla="*/ 2 h 75"/>
                <a:gd name="T44" fmla="*/ 34 w 38"/>
                <a:gd name="T45" fmla="*/ 2 h 75"/>
                <a:gd name="T46" fmla="*/ 36 w 38"/>
                <a:gd name="T47" fmla="*/ 10 h 75"/>
                <a:gd name="T48" fmla="*/ 38 w 38"/>
                <a:gd name="T49" fmla="*/ 18 h 75"/>
                <a:gd name="T50" fmla="*/ 38 w 38"/>
                <a:gd name="T51" fmla="*/ 34 h 75"/>
                <a:gd name="T52" fmla="*/ 38 w 38"/>
                <a:gd name="T53" fmla="*/ 34 h 75"/>
                <a:gd name="T54" fmla="*/ 36 w 38"/>
                <a:gd name="T55" fmla="*/ 39 h 75"/>
                <a:gd name="T56" fmla="*/ 34 w 38"/>
                <a:gd name="T57" fmla="*/ 43 h 75"/>
                <a:gd name="T58" fmla="*/ 32 w 38"/>
                <a:gd name="T59" fmla="*/ 47 h 75"/>
                <a:gd name="T60" fmla="*/ 30 w 38"/>
                <a:gd name="T61" fmla="*/ 51 h 75"/>
                <a:gd name="T62" fmla="*/ 30 w 38"/>
                <a:gd name="T63" fmla="*/ 51 h 75"/>
                <a:gd name="T64" fmla="*/ 30 w 38"/>
                <a:gd name="T65" fmla="*/ 59 h 75"/>
                <a:gd name="T66" fmla="*/ 30 w 38"/>
                <a:gd name="T67" fmla="*/ 65 h 75"/>
                <a:gd name="T68" fmla="*/ 30 w 38"/>
                <a:gd name="T69" fmla="*/ 65 h 75"/>
                <a:gd name="T70" fmla="*/ 28 w 38"/>
                <a:gd name="T71" fmla="*/ 75 h 75"/>
                <a:gd name="T72" fmla="*/ 28 w 38"/>
                <a:gd name="T73" fmla="*/ 75 h 75"/>
                <a:gd name="T74" fmla="*/ 28 w 38"/>
                <a:gd name="T75" fmla="*/ 75 h 75"/>
                <a:gd name="T76" fmla="*/ 28 w 38"/>
                <a:gd name="T77" fmla="*/ 75 h 75"/>
                <a:gd name="T78" fmla="*/ 28 w 38"/>
                <a:gd name="T7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" h="75">
                  <a:moveTo>
                    <a:pt x="28" y="75"/>
                  </a:moveTo>
                  <a:lnTo>
                    <a:pt x="28" y="75"/>
                  </a:lnTo>
                  <a:lnTo>
                    <a:pt x="24" y="75"/>
                  </a:lnTo>
                  <a:lnTo>
                    <a:pt x="16" y="75"/>
                  </a:lnTo>
                  <a:lnTo>
                    <a:pt x="14" y="73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4" y="59"/>
                  </a:lnTo>
                  <a:lnTo>
                    <a:pt x="0" y="51"/>
                  </a:lnTo>
                  <a:lnTo>
                    <a:pt x="0" y="4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10"/>
                  </a:lnTo>
                  <a:lnTo>
                    <a:pt x="38" y="1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9"/>
                  </a:lnTo>
                  <a:lnTo>
                    <a:pt x="34" y="43"/>
                  </a:lnTo>
                  <a:lnTo>
                    <a:pt x="32" y="47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7" name="Freeform 98"/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8" name="Freeform 99"/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09" name="Freeform 100"/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0" name="Freeform 101"/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1" name="Freeform 102"/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2" name="Freeform 103"/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no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3" name="Freeform 104"/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4" name="Freeform 105"/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5" name="Freeform 106"/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6" name="Freeform 107"/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7" name="Freeform 108"/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8" name="Freeform 109"/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19" name="Freeform 110"/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0" name="Freeform 111"/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1" name="Freeform 112"/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2" name="Freeform 113"/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3" name="Freeform 114"/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4" name="Freeform 115"/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5" name="Freeform 116"/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6" name="Freeform 117"/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7" name="Freeform 118"/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8" name="Freeform 119"/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29" name="Freeform 120"/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0" name="Freeform 121"/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1" name="Freeform 122"/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2" name="Freeform 123"/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3" name="Freeform 124"/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4" name="Freeform 125"/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5" name="Freeform 126"/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6" name="Freeform 127"/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7" name="Freeform 128"/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8" name="Freeform 129"/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39" name="Freeform 130"/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0" name="Freeform 131"/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1" name="Freeform 132"/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2" name="Freeform 133"/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3" name="Freeform 134"/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4" name="Freeform 135"/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5" name="Freeform 136"/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6" name="Freeform 137"/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7" name="Freeform 138"/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8" name="Freeform 139"/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249" name="Freeform 140"/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solidFill>
              <a:schemeClr val="tx2"/>
            </a:solidFill>
            <a:ln w="635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sp>
        <p:nvSpPr>
          <p:cNvPr id="256" name="Прямоугольник 255"/>
          <p:cNvSpPr/>
          <p:nvPr/>
        </p:nvSpPr>
        <p:spPr>
          <a:xfrm>
            <a:off x="755738" y="1317645"/>
            <a:ext cx="29100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solidFill>
                  <a:srgbClr val="C00000"/>
                </a:solidFill>
                <a:latin typeface="Bebas Neue Bold"/>
                <a:cs typeface="Arial" pitchFamily="34" charset="0"/>
              </a:rPr>
              <a:t>Инструменты внедрения стандарта</a:t>
            </a:r>
            <a:endParaRPr lang="ru-RU" sz="1200" b="1" dirty="0">
              <a:solidFill>
                <a:srgbClr val="C00000"/>
              </a:solidFill>
              <a:latin typeface="Bebas Neue Bold"/>
              <a:cs typeface="Arial" pitchFamily="34" charset="0"/>
            </a:endParaRPr>
          </a:p>
        </p:txBody>
      </p:sp>
      <p:sp>
        <p:nvSpPr>
          <p:cNvPr id="260" name="Прямоугольник 259"/>
          <p:cNvSpPr/>
          <p:nvPr/>
        </p:nvSpPr>
        <p:spPr>
          <a:xfrm>
            <a:off x="6268620" y="1357154"/>
            <a:ext cx="6273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solidFill>
                  <a:srgbClr val="C00000"/>
                </a:solidFill>
                <a:latin typeface="Bebas Neue Bold"/>
                <a:cs typeface="Arial" pitchFamily="34" charset="0"/>
              </a:rPr>
              <a:t>Цель:</a:t>
            </a:r>
            <a:endParaRPr lang="ru-RU" sz="1200" b="1" dirty="0">
              <a:solidFill>
                <a:srgbClr val="C00000"/>
              </a:solidFill>
              <a:latin typeface="Bebas Neue Bold"/>
              <a:cs typeface="Arial" pitchFamily="34" charset="0"/>
            </a:endParaRPr>
          </a:p>
        </p:txBody>
      </p:sp>
      <p:sp>
        <p:nvSpPr>
          <p:cNvPr id="261" name="Прямоугольник 260"/>
          <p:cNvSpPr/>
          <p:nvPr/>
        </p:nvSpPr>
        <p:spPr>
          <a:xfrm>
            <a:off x="4941746" y="1668826"/>
            <a:ext cx="428008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Комплексное</a:t>
            </a:r>
            <a:r>
              <a:rPr lang="ru-RU" sz="1050" b="1" dirty="0" smtClean="0">
                <a:solidFill>
                  <a:srgbClr val="283E6E"/>
                </a:solidFill>
                <a:latin typeface="Bebas Neue Bold"/>
              </a:rPr>
              <a:t> </a:t>
            </a:r>
            <a:r>
              <a:rPr lang="ru-RU" sz="1050" b="1" u="sng" dirty="0" smtClean="0">
                <a:solidFill>
                  <a:srgbClr val="283E6E"/>
                </a:solidFill>
                <a:latin typeface="Bebas Neue Bold"/>
              </a:rPr>
              <a:t>развитие</a:t>
            </a:r>
            <a:r>
              <a:rPr lang="ru-RU" sz="1050" b="1" dirty="0" smtClean="0">
                <a:solidFill>
                  <a:srgbClr val="283E6E"/>
                </a:solidFill>
                <a:latin typeface="Bebas Neue Bold"/>
              </a:rPr>
              <a:t> </a:t>
            </a:r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системы поддержки экспорта в регионах</a:t>
            </a:r>
          </a:p>
          <a:p>
            <a:endParaRPr lang="ru-RU" sz="1050" dirty="0">
              <a:solidFill>
                <a:srgbClr val="283E6E"/>
              </a:solidFill>
              <a:latin typeface="Bebas Neue Bold"/>
            </a:endParaRPr>
          </a:p>
          <a:p>
            <a:r>
              <a:rPr lang="ru-RU" sz="1050" b="1" u="sng" dirty="0" smtClean="0">
                <a:solidFill>
                  <a:srgbClr val="283E6E"/>
                </a:solidFill>
                <a:latin typeface="Bebas Neue Bold"/>
              </a:rPr>
              <a:t>Унификация</a:t>
            </a:r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 подходов с учетом региональной специфики</a:t>
            </a:r>
            <a:endParaRPr lang="ru-RU" sz="1050" dirty="0">
              <a:solidFill>
                <a:srgbClr val="283E6E"/>
              </a:solidFill>
              <a:latin typeface="Bebas Neue Bold"/>
            </a:endParaRPr>
          </a:p>
        </p:txBody>
      </p:sp>
      <p:sp>
        <p:nvSpPr>
          <p:cNvPr id="264" name="Прямоугольник 263"/>
          <p:cNvSpPr/>
          <p:nvPr/>
        </p:nvSpPr>
        <p:spPr>
          <a:xfrm>
            <a:off x="6124070" y="2337609"/>
            <a:ext cx="112158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solidFill>
                  <a:srgbClr val="C00000"/>
                </a:solidFill>
                <a:latin typeface="Bebas Neue Bold"/>
                <a:cs typeface="Arial" pitchFamily="34" charset="0"/>
              </a:rPr>
              <a:t>Результаты:</a:t>
            </a:r>
            <a:endParaRPr lang="ru-RU" sz="1200" b="1" dirty="0">
              <a:solidFill>
                <a:srgbClr val="C00000"/>
              </a:solidFill>
              <a:latin typeface="Bebas Neue Bold"/>
              <a:cs typeface="Arial" pitchFamily="34" charset="0"/>
            </a:endParaRPr>
          </a:p>
        </p:txBody>
      </p:sp>
      <p:sp>
        <p:nvSpPr>
          <p:cNvPr id="265" name="Прямоугольник 264"/>
          <p:cNvSpPr/>
          <p:nvPr/>
        </p:nvSpPr>
        <p:spPr>
          <a:xfrm>
            <a:off x="4962484" y="2593515"/>
            <a:ext cx="3995537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u="sng" dirty="0" smtClean="0">
                <a:solidFill>
                  <a:srgbClr val="283E6E"/>
                </a:solidFill>
                <a:latin typeface="Bebas Neue Bold"/>
              </a:rPr>
              <a:t>Снятие</a:t>
            </a:r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 административных барьеров</a:t>
            </a:r>
          </a:p>
          <a:p>
            <a:endParaRPr lang="ru-RU" sz="1050" dirty="0" smtClean="0">
              <a:solidFill>
                <a:srgbClr val="283E6E"/>
              </a:solidFill>
              <a:latin typeface="Bebas Neue Bold"/>
            </a:endParaRPr>
          </a:p>
          <a:p>
            <a:r>
              <a:rPr lang="ru-RU" sz="1050" b="1" u="sng" dirty="0" smtClean="0">
                <a:solidFill>
                  <a:srgbClr val="283E6E"/>
                </a:solidFill>
                <a:latin typeface="Bebas Neue Bold"/>
              </a:rPr>
              <a:t>Доступность</a:t>
            </a:r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 мер государственной поддержки экспортеров</a:t>
            </a:r>
          </a:p>
          <a:p>
            <a:endParaRPr lang="ru-RU" sz="1050" dirty="0" smtClean="0">
              <a:solidFill>
                <a:srgbClr val="283E6E"/>
              </a:solidFill>
              <a:latin typeface="Bebas Neue Bold"/>
            </a:endParaRPr>
          </a:p>
          <a:p>
            <a:r>
              <a:rPr lang="ru-RU" sz="1050" b="1" u="sng" dirty="0" smtClean="0">
                <a:solidFill>
                  <a:srgbClr val="283E6E"/>
                </a:solidFill>
                <a:latin typeface="Bebas Neue Bold"/>
              </a:rPr>
              <a:t>Увеличение </a:t>
            </a:r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количества экспортеров </a:t>
            </a:r>
          </a:p>
          <a:p>
            <a:endParaRPr lang="ru-RU" sz="1050" dirty="0">
              <a:solidFill>
                <a:srgbClr val="283E6E"/>
              </a:solidFill>
              <a:latin typeface="Bebas Neue Bold"/>
            </a:endParaRPr>
          </a:p>
          <a:p>
            <a:r>
              <a:rPr lang="ru-RU" sz="1050" b="1" u="sng" dirty="0" smtClean="0">
                <a:solidFill>
                  <a:srgbClr val="283E6E"/>
                </a:solidFill>
                <a:latin typeface="Bebas Neue Bold"/>
              </a:rPr>
              <a:t>Увеличение</a:t>
            </a:r>
            <a:r>
              <a:rPr lang="ru-RU" sz="1050" dirty="0" smtClean="0">
                <a:solidFill>
                  <a:srgbClr val="283E6E"/>
                </a:solidFill>
                <a:latin typeface="Bebas Neue Bold"/>
              </a:rPr>
              <a:t> объема экспорта</a:t>
            </a:r>
            <a:endParaRPr lang="ru-RU" sz="1050" dirty="0">
              <a:solidFill>
                <a:srgbClr val="283E6E"/>
              </a:solidFill>
              <a:latin typeface="Bebas Neue Bold"/>
            </a:endParaRPr>
          </a:p>
        </p:txBody>
      </p:sp>
      <p:pic>
        <p:nvPicPr>
          <p:cNvPr id="269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216" y="1710640"/>
            <a:ext cx="101603" cy="123692"/>
          </a:xfrm>
          <a:prstGeom prst="rect">
            <a:avLst/>
          </a:prstGeom>
        </p:spPr>
      </p:pic>
      <p:pic>
        <p:nvPicPr>
          <p:cNvPr id="270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094" y="2044330"/>
            <a:ext cx="101603" cy="123692"/>
          </a:xfrm>
          <a:prstGeom prst="rect">
            <a:avLst/>
          </a:prstGeom>
        </p:spPr>
      </p:pic>
      <p:pic>
        <p:nvPicPr>
          <p:cNvPr id="271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216" y="2644235"/>
            <a:ext cx="101603" cy="123692"/>
          </a:xfrm>
          <a:prstGeom prst="rect">
            <a:avLst/>
          </a:prstGeom>
        </p:spPr>
      </p:pic>
      <p:pic>
        <p:nvPicPr>
          <p:cNvPr id="272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094" y="2977925"/>
            <a:ext cx="101603" cy="123692"/>
          </a:xfrm>
          <a:prstGeom prst="rect">
            <a:avLst/>
          </a:prstGeom>
        </p:spPr>
      </p:pic>
      <p:pic>
        <p:nvPicPr>
          <p:cNvPr id="273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216" y="3323344"/>
            <a:ext cx="101603" cy="123692"/>
          </a:xfrm>
          <a:prstGeom prst="rect">
            <a:avLst/>
          </a:prstGeom>
        </p:spPr>
      </p:pic>
      <p:pic>
        <p:nvPicPr>
          <p:cNvPr id="274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7094" y="3641794"/>
            <a:ext cx="101603" cy="123692"/>
          </a:xfrm>
          <a:prstGeom prst="rect">
            <a:avLst/>
          </a:prstGeom>
        </p:spPr>
      </p:pic>
      <p:pic>
        <p:nvPicPr>
          <p:cNvPr id="19" name="Picture 2" descr="C:\Users\minaeva\Desktop\значки для презы\american-government-building_318-64504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687" y="1833498"/>
            <a:ext cx="326018" cy="326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0" name="Прямая соединительная линия 249"/>
          <p:cNvCxnSpPr/>
          <p:nvPr/>
        </p:nvCxnSpPr>
        <p:spPr>
          <a:xfrm flipH="1">
            <a:off x="305395" y="3266234"/>
            <a:ext cx="2954471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1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72" y="3220696"/>
            <a:ext cx="74811" cy="91075"/>
          </a:xfrm>
          <a:prstGeom prst="rect">
            <a:avLst/>
          </a:prstGeom>
        </p:spPr>
      </p:pic>
      <p:cxnSp>
        <p:nvCxnSpPr>
          <p:cNvPr id="252" name="Прямая соединительная линия 251"/>
          <p:cNvCxnSpPr/>
          <p:nvPr/>
        </p:nvCxnSpPr>
        <p:spPr>
          <a:xfrm flipH="1" flipV="1">
            <a:off x="3259866" y="3266235"/>
            <a:ext cx="510639" cy="43740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2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253" name="Прямоугольник 252"/>
          <p:cNvSpPr/>
          <p:nvPr/>
        </p:nvSpPr>
        <p:spPr>
          <a:xfrm>
            <a:off x="311485" y="3254229"/>
            <a:ext cx="28188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Представительства и торговые дома </a:t>
            </a:r>
            <a:b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</a:b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за рубежом</a:t>
            </a:r>
            <a:endParaRPr lang="ru-RU" sz="900" b="1" dirty="0"/>
          </a:p>
        </p:txBody>
      </p:sp>
      <p:sp>
        <p:nvSpPr>
          <p:cNvPr id="254" name="Прямоугольник 253"/>
          <p:cNvSpPr/>
          <p:nvPr/>
        </p:nvSpPr>
        <p:spPr>
          <a:xfrm>
            <a:off x="311485" y="4100049"/>
            <a:ext cx="28188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Дни международного бизнеса</a:t>
            </a:r>
            <a:endParaRPr lang="ru-RU" sz="900" b="1" dirty="0"/>
          </a:p>
        </p:txBody>
      </p:sp>
      <p:cxnSp>
        <p:nvCxnSpPr>
          <p:cNvPr id="255" name="Прямая соединительная линия 254"/>
          <p:cNvCxnSpPr/>
          <p:nvPr/>
        </p:nvCxnSpPr>
        <p:spPr>
          <a:xfrm flipH="1">
            <a:off x="585805" y="5034178"/>
            <a:ext cx="2952328" cy="60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7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54" y="4987092"/>
            <a:ext cx="74811" cy="91075"/>
          </a:xfrm>
          <a:prstGeom prst="rect">
            <a:avLst/>
          </a:prstGeom>
        </p:spPr>
      </p:pic>
      <p:sp>
        <p:nvSpPr>
          <p:cNvPr id="258" name="Прямоугольник 257"/>
          <p:cNvSpPr/>
          <p:nvPr/>
        </p:nvSpPr>
        <p:spPr>
          <a:xfrm>
            <a:off x="641434" y="4715417"/>
            <a:ext cx="25515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900" b="1" dirty="0" smtClean="0">
                <a:solidFill>
                  <a:schemeClr val="tx2"/>
                </a:solidFill>
                <a:latin typeface="Bebas Neue Bold"/>
                <a:cs typeface="Arial" pitchFamily="34" charset="0"/>
              </a:rPr>
              <a:t>Информационный ресурс в сети «Интернет»</a:t>
            </a:r>
            <a:endParaRPr lang="ru-RU" sz="1000" b="1" dirty="0">
              <a:solidFill>
                <a:schemeClr val="tx2"/>
              </a:solidFill>
              <a:latin typeface="Bebas Neue Bold"/>
              <a:cs typeface="Arial" pitchFamily="34" charset="0"/>
            </a:endParaRPr>
          </a:p>
        </p:txBody>
      </p:sp>
      <p:cxnSp>
        <p:nvCxnSpPr>
          <p:cNvPr id="259" name="Прямая соединительная линия 258"/>
          <p:cNvCxnSpPr/>
          <p:nvPr/>
        </p:nvCxnSpPr>
        <p:spPr>
          <a:xfrm flipH="1">
            <a:off x="3538133" y="4233724"/>
            <a:ext cx="336086" cy="8077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2" name="Picture 2" descr="C:\Users\minaeva\Desktop\значки для презы\id-badge_318-47612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1" y="4054975"/>
            <a:ext cx="250764" cy="250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3" name="Picture 2" descr="C:\Users\minaeva\Desktop\значки для презы\1046.png"/>
          <p:cNvPicPr>
            <a:picLocks noChangeAspect="1" noChangeArrowheads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40" y="3305345"/>
            <a:ext cx="278985" cy="278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" name="Picture 5" descr="C:\Users\minaeva\Desktop\значки для презы\site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26" y="4737123"/>
            <a:ext cx="230709" cy="243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" name="Picture 6" descr="C:\Users\minaeva\Desktop\значки для презы\staff-people-group-in-a-circular-arrow_318-52415.jpg"/>
          <p:cNvPicPr>
            <a:picLocks noChangeAspect="1" noChangeArrowheads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67" y="5572311"/>
            <a:ext cx="310789" cy="31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32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1307552" y="5196687"/>
            <a:ext cx="6072920" cy="126581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baseline="30000" dirty="0" smtClean="0">
                <a:solidFill>
                  <a:srgbClr val="283E6E"/>
                </a:solidFill>
                <a:latin typeface="Circe" panose="020B0502020203020203" pitchFamily="34" charset="-52"/>
              </a:rPr>
              <a:t>+7 (495) 937-47-47</a:t>
            </a:r>
          </a:p>
          <a:p>
            <a:pPr algn="l"/>
            <a:r>
              <a:rPr lang="ru-RU" sz="2400" b="1" baseline="30000" dirty="0" smtClean="0">
                <a:solidFill>
                  <a:srgbClr val="283E6E"/>
                </a:solidFill>
                <a:latin typeface="Circe" panose="020B0502020203020203" pitchFamily="34" charset="-52"/>
              </a:rPr>
              <a:t>123610</a:t>
            </a:r>
            <a:r>
              <a:rPr lang="ru-RU" sz="2400" b="1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, Москва</a:t>
            </a:r>
            <a:r>
              <a:rPr lang="en-US" sz="2400" b="1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,</a:t>
            </a:r>
            <a:r>
              <a:rPr lang="en-US" sz="2400" b="1" dirty="0">
                <a:solidFill>
                  <a:srgbClr val="283E6E"/>
                </a:solidFill>
                <a:latin typeface="Circe" panose="020B0502020203020203" pitchFamily="34" charset="-52"/>
              </a:rPr>
              <a:t> </a:t>
            </a:r>
            <a:r>
              <a:rPr lang="ru-RU" sz="2400" b="1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Краснопресненская наб., 12	</a:t>
            </a:r>
            <a:endParaRPr lang="ru-RU" sz="2400" b="1" dirty="0">
              <a:solidFill>
                <a:srgbClr val="283E6E"/>
              </a:solidFill>
              <a:latin typeface="Circe" panose="020B0502020203020203" pitchFamily="34" charset="-52"/>
            </a:endParaRPr>
          </a:p>
          <a:p>
            <a:pPr algn="l"/>
            <a:r>
              <a:rPr lang="en-US" sz="2400" b="1" baseline="30000" dirty="0" smtClean="0">
                <a:solidFill>
                  <a:srgbClr val="283E6E"/>
                </a:solidFill>
                <a:latin typeface="Circe" panose="020B0502020203020203" pitchFamily="34" charset="-52"/>
              </a:rPr>
              <a:t>www.exportcenter.ru</a:t>
            </a:r>
            <a:endParaRPr lang="en-US" sz="2400" b="1" dirty="0">
              <a:solidFill>
                <a:srgbClr val="283E6E"/>
              </a:solidFill>
              <a:latin typeface="Circe" panose="020B0502020203020203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66039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70481" y="7408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Внедрения Базовых инструментов в «пилотах»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2199598" y="1346794"/>
            <a:ext cx="13179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РОИВ координатор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50385" y="1348692"/>
            <a:ext cx="12688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Экспортный совет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58254" y="1348701"/>
            <a:ext cx="963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Стратегия 2030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43082" y="1355418"/>
            <a:ext cx="4411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ЦПЭ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8748" y="1695174"/>
            <a:ext cx="16001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Владимир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6901" y="1989816"/>
            <a:ext cx="12458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Туль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3728" y="2277666"/>
            <a:ext cx="1407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ензе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3557" y="1843385"/>
            <a:ext cx="13163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яза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49281" y="2579983"/>
            <a:ext cx="17972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Башкортостан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49307" y="2431174"/>
            <a:ext cx="11320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ермский край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2846" y="2864629"/>
            <a:ext cx="16578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Удмуртская Республика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9307" y="2722779"/>
            <a:ext cx="15295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Татарстан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9139" y="3027501"/>
            <a:ext cx="1478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Ульян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6759" y="3298567"/>
            <a:ext cx="17732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Калинингра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2903" y="3439370"/>
            <a:ext cx="16305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Ленингра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52010" y="3578197"/>
            <a:ext cx="1556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Новгоро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51021" y="3728168"/>
            <a:ext cx="13276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ск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51241" y="4015297"/>
            <a:ext cx="159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Волгогра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2178" y="4151190"/>
            <a:ext cx="12891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Крым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50022" y="4300998"/>
            <a:ext cx="13740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ост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1348" y="5194243"/>
            <a:ext cx="14895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Челяби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52814" y="4610770"/>
            <a:ext cx="151195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Ставропольский край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3450" y="4913965"/>
            <a:ext cx="13821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Курга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45194" y="5052938"/>
            <a:ext cx="1556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Свердл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2846" y="5593735"/>
            <a:ext cx="16417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Новосибир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64328" y="5921397"/>
            <a:ext cx="13083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Хабаровский край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452826" y="194542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292296" y="194542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4139386" y="194542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85206" y="194542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Левая фигурная скобка 54"/>
          <p:cNvSpPr/>
          <p:nvPr/>
        </p:nvSpPr>
        <p:spPr>
          <a:xfrm>
            <a:off x="611594" y="1772861"/>
            <a:ext cx="198454" cy="410769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Левая фигурная скобка 55"/>
          <p:cNvSpPr/>
          <p:nvPr/>
        </p:nvSpPr>
        <p:spPr>
          <a:xfrm>
            <a:off x="619214" y="2359601"/>
            <a:ext cx="198454" cy="83680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Левая фигурная скобка 56"/>
          <p:cNvSpPr/>
          <p:nvPr/>
        </p:nvSpPr>
        <p:spPr>
          <a:xfrm>
            <a:off x="626834" y="3388302"/>
            <a:ext cx="198454" cy="508772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Левая фигурная скобка 57"/>
          <p:cNvSpPr/>
          <p:nvPr/>
        </p:nvSpPr>
        <p:spPr>
          <a:xfrm>
            <a:off x="634454" y="4096962"/>
            <a:ext cx="198454" cy="379019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Левая фигурная скобка 58"/>
          <p:cNvSpPr/>
          <p:nvPr/>
        </p:nvSpPr>
        <p:spPr>
          <a:xfrm>
            <a:off x="642074" y="4989164"/>
            <a:ext cx="198454" cy="398832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Левая фигурная скобка 59"/>
          <p:cNvSpPr/>
          <p:nvPr/>
        </p:nvSpPr>
        <p:spPr>
          <a:xfrm>
            <a:off x="642074" y="4660842"/>
            <a:ext cx="198454" cy="17626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Левая фигурная скобка 60"/>
          <p:cNvSpPr/>
          <p:nvPr/>
        </p:nvSpPr>
        <p:spPr>
          <a:xfrm>
            <a:off x="657314" y="5645808"/>
            <a:ext cx="198454" cy="17626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Левая фигурная скобка 61"/>
          <p:cNvSpPr/>
          <p:nvPr/>
        </p:nvSpPr>
        <p:spPr>
          <a:xfrm>
            <a:off x="664934" y="5973468"/>
            <a:ext cx="198454" cy="17626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2453640" y="1800659"/>
            <a:ext cx="788731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293110" y="1800659"/>
            <a:ext cx="788731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4140200" y="1800658"/>
            <a:ext cx="788731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4986020" y="1800659"/>
            <a:ext cx="788731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2454819" y="252121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 67"/>
          <p:cNvSpPr/>
          <p:nvPr/>
        </p:nvSpPr>
        <p:spPr>
          <a:xfrm>
            <a:off x="3294289" y="252121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 68"/>
          <p:cNvSpPr/>
          <p:nvPr/>
        </p:nvSpPr>
        <p:spPr>
          <a:xfrm>
            <a:off x="4141379" y="252121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4987199" y="252121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/>
        </p:nvSpPr>
        <p:spPr>
          <a:xfrm>
            <a:off x="2453279" y="237843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 71"/>
          <p:cNvSpPr/>
          <p:nvPr/>
        </p:nvSpPr>
        <p:spPr>
          <a:xfrm>
            <a:off x="3292749" y="237843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/>
          <p:cNvSpPr/>
          <p:nvPr/>
        </p:nvSpPr>
        <p:spPr>
          <a:xfrm>
            <a:off x="4139839" y="237843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4985659" y="237843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/>
          <p:cNvSpPr/>
          <p:nvPr/>
        </p:nvSpPr>
        <p:spPr>
          <a:xfrm>
            <a:off x="2454157" y="209219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 75"/>
          <p:cNvSpPr/>
          <p:nvPr/>
        </p:nvSpPr>
        <p:spPr>
          <a:xfrm>
            <a:off x="3293627" y="209219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 76"/>
          <p:cNvSpPr/>
          <p:nvPr/>
        </p:nvSpPr>
        <p:spPr>
          <a:xfrm>
            <a:off x="4140717" y="2092190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4986537" y="209219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/>
          <p:cNvSpPr/>
          <p:nvPr/>
        </p:nvSpPr>
        <p:spPr>
          <a:xfrm>
            <a:off x="2454819" y="28296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рямоугольник 79"/>
          <p:cNvSpPr/>
          <p:nvPr/>
        </p:nvSpPr>
        <p:spPr>
          <a:xfrm>
            <a:off x="3294289" y="28296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 80"/>
          <p:cNvSpPr/>
          <p:nvPr/>
        </p:nvSpPr>
        <p:spPr>
          <a:xfrm>
            <a:off x="4141379" y="282964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Прямоугольник 81"/>
          <p:cNvSpPr/>
          <p:nvPr/>
        </p:nvSpPr>
        <p:spPr>
          <a:xfrm>
            <a:off x="4987199" y="28296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 82"/>
          <p:cNvSpPr/>
          <p:nvPr/>
        </p:nvSpPr>
        <p:spPr>
          <a:xfrm>
            <a:off x="2451070" y="267725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3290540" y="267725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/>
        </p:nvSpPr>
        <p:spPr>
          <a:xfrm>
            <a:off x="4137630" y="267725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Прямоугольник 85"/>
          <p:cNvSpPr/>
          <p:nvPr/>
        </p:nvSpPr>
        <p:spPr>
          <a:xfrm>
            <a:off x="4983450" y="267725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рямоугольник 86"/>
          <p:cNvSpPr/>
          <p:nvPr/>
        </p:nvSpPr>
        <p:spPr>
          <a:xfrm>
            <a:off x="2453941" y="2976407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Прямоугольник 87"/>
          <p:cNvSpPr/>
          <p:nvPr/>
        </p:nvSpPr>
        <p:spPr>
          <a:xfrm>
            <a:off x="3293411" y="2976407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 88"/>
          <p:cNvSpPr/>
          <p:nvPr/>
        </p:nvSpPr>
        <p:spPr>
          <a:xfrm>
            <a:off x="4140501" y="2976406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рямоугольник 89"/>
          <p:cNvSpPr/>
          <p:nvPr/>
        </p:nvSpPr>
        <p:spPr>
          <a:xfrm>
            <a:off x="4986321" y="2976407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2451070" y="313445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Прямоугольник 97"/>
          <p:cNvSpPr/>
          <p:nvPr/>
        </p:nvSpPr>
        <p:spPr>
          <a:xfrm>
            <a:off x="3290540" y="313445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4137630" y="31344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4983450" y="313445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рямоугольник 127"/>
          <p:cNvSpPr/>
          <p:nvPr/>
        </p:nvSpPr>
        <p:spPr>
          <a:xfrm>
            <a:off x="2454819" y="352705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Прямоугольник 128"/>
          <p:cNvSpPr/>
          <p:nvPr/>
        </p:nvSpPr>
        <p:spPr>
          <a:xfrm>
            <a:off x="3296643" y="3527054"/>
            <a:ext cx="788732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Прямоугольник 129"/>
          <p:cNvSpPr/>
          <p:nvPr/>
        </p:nvSpPr>
        <p:spPr>
          <a:xfrm>
            <a:off x="4141379" y="3527053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рямоугольник 130"/>
          <p:cNvSpPr/>
          <p:nvPr/>
        </p:nvSpPr>
        <p:spPr>
          <a:xfrm>
            <a:off x="4987199" y="352705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рямоугольник 131"/>
          <p:cNvSpPr/>
          <p:nvPr/>
        </p:nvSpPr>
        <p:spPr>
          <a:xfrm>
            <a:off x="2453279" y="339951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рямоугольник 132"/>
          <p:cNvSpPr/>
          <p:nvPr/>
        </p:nvSpPr>
        <p:spPr>
          <a:xfrm>
            <a:off x="3295103" y="3399514"/>
            <a:ext cx="788732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рямоугольник 133"/>
          <p:cNvSpPr/>
          <p:nvPr/>
        </p:nvSpPr>
        <p:spPr>
          <a:xfrm>
            <a:off x="4139839" y="339951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рямоугольник 134"/>
          <p:cNvSpPr/>
          <p:nvPr/>
        </p:nvSpPr>
        <p:spPr>
          <a:xfrm>
            <a:off x="4985659" y="339951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рямоугольник 135"/>
          <p:cNvSpPr/>
          <p:nvPr/>
        </p:nvSpPr>
        <p:spPr>
          <a:xfrm>
            <a:off x="2454819" y="38202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/>
        </p:nvSpPr>
        <p:spPr>
          <a:xfrm>
            <a:off x="3296643" y="3820241"/>
            <a:ext cx="788732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рямоугольник 137"/>
          <p:cNvSpPr/>
          <p:nvPr/>
        </p:nvSpPr>
        <p:spPr>
          <a:xfrm>
            <a:off x="4141379" y="382024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/>
        </p:nvSpPr>
        <p:spPr>
          <a:xfrm>
            <a:off x="4987199" y="38202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 139"/>
          <p:cNvSpPr/>
          <p:nvPr/>
        </p:nvSpPr>
        <p:spPr>
          <a:xfrm>
            <a:off x="2451070" y="36754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рямоугольник 140"/>
          <p:cNvSpPr/>
          <p:nvPr/>
        </p:nvSpPr>
        <p:spPr>
          <a:xfrm>
            <a:off x="3292894" y="3675475"/>
            <a:ext cx="788732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рямоугольник 141"/>
          <p:cNvSpPr/>
          <p:nvPr/>
        </p:nvSpPr>
        <p:spPr>
          <a:xfrm>
            <a:off x="4137630" y="36754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Прямоугольник 142"/>
          <p:cNvSpPr/>
          <p:nvPr/>
        </p:nvSpPr>
        <p:spPr>
          <a:xfrm>
            <a:off x="4983450" y="367547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рямоугольник 143"/>
          <p:cNvSpPr/>
          <p:nvPr/>
        </p:nvSpPr>
        <p:spPr>
          <a:xfrm>
            <a:off x="2454819" y="41366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рямоугольник 144"/>
          <p:cNvSpPr/>
          <p:nvPr/>
        </p:nvSpPr>
        <p:spPr>
          <a:xfrm>
            <a:off x="3294289" y="413665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рямоугольник 145"/>
          <p:cNvSpPr/>
          <p:nvPr/>
        </p:nvSpPr>
        <p:spPr>
          <a:xfrm>
            <a:off x="4141379" y="413665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Прямоугольник 146"/>
          <p:cNvSpPr/>
          <p:nvPr/>
        </p:nvSpPr>
        <p:spPr>
          <a:xfrm>
            <a:off x="4987199" y="413665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Прямоугольник 147"/>
          <p:cNvSpPr/>
          <p:nvPr/>
        </p:nvSpPr>
        <p:spPr>
          <a:xfrm>
            <a:off x="2454819" y="44298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Прямоугольник 148"/>
          <p:cNvSpPr/>
          <p:nvPr/>
        </p:nvSpPr>
        <p:spPr>
          <a:xfrm>
            <a:off x="3294289" y="44298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 149"/>
          <p:cNvSpPr/>
          <p:nvPr/>
        </p:nvSpPr>
        <p:spPr>
          <a:xfrm>
            <a:off x="4141379" y="442984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Прямоугольник 150"/>
          <p:cNvSpPr/>
          <p:nvPr/>
        </p:nvSpPr>
        <p:spPr>
          <a:xfrm>
            <a:off x="4987199" y="44298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рямоугольник 151"/>
          <p:cNvSpPr/>
          <p:nvPr/>
        </p:nvSpPr>
        <p:spPr>
          <a:xfrm>
            <a:off x="2451070" y="428507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рямоугольник 152"/>
          <p:cNvSpPr/>
          <p:nvPr/>
        </p:nvSpPr>
        <p:spPr>
          <a:xfrm>
            <a:off x="3290540" y="428507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рямоугольник 153"/>
          <p:cNvSpPr/>
          <p:nvPr/>
        </p:nvSpPr>
        <p:spPr>
          <a:xfrm>
            <a:off x="4137630" y="42850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рямоугольник 154"/>
          <p:cNvSpPr/>
          <p:nvPr/>
        </p:nvSpPr>
        <p:spPr>
          <a:xfrm>
            <a:off x="4983450" y="428507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Прямоугольник 155"/>
          <p:cNvSpPr/>
          <p:nvPr/>
        </p:nvSpPr>
        <p:spPr>
          <a:xfrm>
            <a:off x="2454819" y="504343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Прямоугольник 156"/>
          <p:cNvSpPr/>
          <p:nvPr/>
        </p:nvSpPr>
        <p:spPr>
          <a:xfrm>
            <a:off x="3294289" y="504343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Прямоугольник 157"/>
          <p:cNvSpPr/>
          <p:nvPr/>
        </p:nvSpPr>
        <p:spPr>
          <a:xfrm>
            <a:off x="4141379" y="5043433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Прямоугольник 158"/>
          <p:cNvSpPr/>
          <p:nvPr/>
        </p:nvSpPr>
        <p:spPr>
          <a:xfrm>
            <a:off x="4987199" y="504343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Прямоугольник 159"/>
          <p:cNvSpPr/>
          <p:nvPr/>
        </p:nvSpPr>
        <p:spPr>
          <a:xfrm>
            <a:off x="2454819" y="529852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Прямоугольник 160"/>
          <p:cNvSpPr/>
          <p:nvPr/>
        </p:nvSpPr>
        <p:spPr>
          <a:xfrm>
            <a:off x="3294289" y="529852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Прямоугольник 161"/>
          <p:cNvSpPr/>
          <p:nvPr/>
        </p:nvSpPr>
        <p:spPr>
          <a:xfrm>
            <a:off x="4141379" y="529852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3" name="Прямоугольник 162"/>
          <p:cNvSpPr/>
          <p:nvPr/>
        </p:nvSpPr>
        <p:spPr>
          <a:xfrm>
            <a:off x="4987199" y="529852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Прямоугольник 163"/>
          <p:cNvSpPr/>
          <p:nvPr/>
        </p:nvSpPr>
        <p:spPr>
          <a:xfrm>
            <a:off x="2451070" y="516137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Прямоугольник 164"/>
          <p:cNvSpPr/>
          <p:nvPr/>
        </p:nvSpPr>
        <p:spPr>
          <a:xfrm>
            <a:off x="3290540" y="516137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6" name="Прямоугольник 165"/>
          <p:cNvSpPr/>
          <p:nvPr/>
        </p:nvSpPr>
        <p:spPr>
          <a:xfrm>
            <a:off x="4137630" y="51613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Прямоугольник 166"/>
          <p:cNvSpPr/>
          <p:nvPr/>
        </p:nvSpPr>
        <p:spPr>
          <a:xfrm>
            <a:off x="4983450" y="516137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Прямоугольник 167"/>
          <p:cNvSpPr/>
          <p:nvPr/>
        </p:nvSpPr>
        <p:spPr>
          <a:xfrm>
            <a:off x="2454819" y="475750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Прямоугольник 168"/>
          <p:cNvSpPr/>
          <p:nvPr/>
        </p:nvSpPr>
        <p:spPr>
          <a:xfrm>
            <a:off x="3294289" y="475750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169"/>
          <p:cNvSpPr/>
          <p:nvPr/>
        </p:nvSpPr>
        <p:spPr>
          <a:xfrm>
            <a:off x="4141379" y="475750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Прямоугольник 170"/>
          <p:cNvSpPr/>
          <p:nvPr/>
        </p:nvSpPr>
        <p:spPr>
          <a:xfrm>
            <a:off x="4987199" y="475750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Прямоугольник 171"/>
          <p:cNvSpPr/>
          <p:nvPr/>
        </p:nvSpPr>
        <p:spPr>
          <a:xfrm>
            <a:off x="2454819" y="570238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Прямоугольник 172"/>
          <p:cNvSpPr/>
          <p:nvPr/>
        </p:nvSpPr>
        <p:spPr>
          <a:xfrm>
            <a:off x="3294289" y="570238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Прямоугольник 173"/>
          <p:cNvSpPr/>
          <p:nvPr/>
        </p:nvSpPr>
        <p:spPr>
          <a:xfrm>
            <a:off x="4141379" y="570238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Прямоугольник 174"/>
          <p:cNvSpPr/>
          <p:nvPr/>
        </p:nvSpPr>
        <p:spPr>
          <a:xfrm>
            <a:off x="4987199" y="570238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6" name="Прямоугольник 175"/>
          <p:cNvSpPr/>
          <p:nvPr/>
        </p:nvSpPr>
        <p:spPr>
          <a:xfrm>
            <a:off x="2454819" y="60300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Прямоугольник 176"/>
          <p:cNvSpPr/>
          <p:nvPr/>
        </p:nvSpPr>
        <p:spPr>
          <a:xfrm>
            <a:off x="3294289" y="60300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8" name="Прямоугольник 177"/>
          <p:cNvSpPr/>
          <p:nvPr/>
        </p:nvSpPr>
        <p:spPr>
          <a:xfrm>
            <a:off x="4141379" y="6030040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Прямоугольник 178"/>
          <p:cNvSpPr/>
          <p:nvPr/>
        </p:nvSpPr>
        <p:spPr>
          <a:xfrm>
            <a:off x="4987199" y="60300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83820" y="1838758"/>
            <a:ext cx="5504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Ц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91440" y="26312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П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30480" y="3492298"/>
            <a:ext cx="6174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З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46381" y="4137724"/>
            <a:ext cx="599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Ю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38761" y="4610164"/>
            <a:ext cx="6249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КФО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130201" y="5036884"/>
            <a:ext cx="528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У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153061" y="5585524"/>
            <a:ext cx="528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137821" y="5913184"/>
            <a:ext cx="552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Д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7" name="Прямоугольник 186"/>
          <p:cNvSpPr/>
          <p:nvPr/>
        </p:nvSpPr>
        <p:spPr>
          <a:xfrm>
            <a:off x="2409129" y="6649316"/>
            <a:ext cx="3175099" cy="45719"/>
          </a:xfrm>
          <a:prstGeom prst="rect">
            <a:avLst/>
          </a:prstGeom>
          <a:gradFill flip="none" rotWithShape="1">
            <a:gsLst>
              <a:gs pos="49000">
                <a:srgbClr val="7DB0F3"/>
              </a:gs>
              <a:gs pos="0">
                <a:srgbClr val="E6EDF6"/>
              </a:gs>
              <a:gs pos="100000">
                <a:srgbClr val="093263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6012180" y="1346794"/>
            <a:ext cx="0" cy="5404526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2323239" y="6429856"/>
            <a:ext cx="3738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0%</a:t>
            </a:r>
            <a:endParaRPr lang="ru-RU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5146962" y="6409522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100%</a:t>
            </a:r>
            <a:endParaRPr lang="ru-RU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6154378" y="1804466"/>
            <a:ext cx="2867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83E6E"/>
                </a:solidFill>
              </a:rPr>
              <a:t>РОИВ-координатор нормативно определен в </a:t>
            </a:r>
            <a:r>
              <a:rPr lang="ru-RU" sz="1400" b="1" dirty="0" smtClean="0">
                <a:solidFill>
                  <a:srgbClr val="C00000"/>
                </a:solidFill>
              </a:rPr>
              <a:t>8</a:t>
            </a:r>
            <a:r>
              <a:rPr lang="ru-RU" sz="1400" b="1" dirty="0" smtClean="0">
                <a:solidFill>
                  <a:srgbClr val="283E6E"/>
                </a:solidFill>
              </a:rPr>
              <a:t> «пилотах»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6177238" y="2749733"/>
            <a:ext cx="286770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83E6E"/>
                </a:solidFill>
              </a:rPr>
              <a:t>Экспортный совет при высшем должностном лице создан в </a:t>
            </a:r>
            <a:br>
              <a:rPr lang="ru-RU" sz="1400" b="1" dirty="0" smtClean="0">
                <a:solidFill>
                  <a:srgbClr val="283E6E"/>
                </a:solidFill>
              </a:rPr>
            </a:br>
            <a:r>
              <a:rPr lang="ru-RU" sz="1400" b="1" dirty="0" smtClean="0">
                <a:solidFill>
                  <a:srgbClr val="C00000"/>
                </a:solidFill>
              </a:rPr>
              <a:t>6 </a:t>
            </a:r>
            <a:r>
              <a:rPr lang="ru-RU" sz="1400" b="1" dirty="0" smtClean="0">
                <a:solidFill>
                  <a:srgbClr val="283E6E"/>
                </a:solidFill>
              </a:rPr>
              <a:t>«пилотах»</a:t>
            </a:r>
          </a:p>
          <a:p>
            <a:pPr algn="ctr"/>
            <a:r>
              <a:rPr lang="en-US" sz="1000" b="1" i="1" dirty="0" smtClean="0">
                <a:solidFill>
                  <a:srgbClr val="283E6E"/>
                </a:solidFill>
              </a:rPr>
              <a:t>I</a:t>
            </a:r>
            <a:r>
              <a:rPr lang="ru-RU" sz="1000" b="1" i="1" dirty="0" smtClean="0">
                <a:solidFill>
                  <a:srgbClr val="283E6E"/>
                </a:solidFill>
              </a:rPr>
              <a:t> заседание проведено в </a:t>
            </a:r>
            <a:r>
              <a:rPr lang="ru-RU" sz="1000" b="1" i="1" dirty="0" smtClean="0">
                <a:solidFill>
                  <a:srgbClr val="C00000"/>
                </a:solidFill>
              </a:rPr>
              <a:t>3</a:t>
            </a:r>
            <a:r>
              <a:rPr lang="ru-RU" sz="1000" b="1" i="1" dirty="0" smtClean="0">
                <a:solidFill>
                  <a:srgbClr val="283E6E"/>
                </a:solidFill>
              </a:rPr>
              <a:t> «пилотах»</a:t>
            </a:r>
            <a:endParaRPr lang="ru-RU" sz="1000" b="1" i="1" dirty="0">
              <a:solidFill>
                <a:srgbClr val="283E6E"/>
              </a:solidFill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6154378" y="4145718"/>
            <a:ext cx="28677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83E6E"/>
                </a:solidFill>
              </a:rPr>
              <a:t>Раздел по экспорту в социально-экономической стратегии региона 2030 согласован в </a:t>
            </a:r>
            <a:r>
              <a:rPr lang="ru-RU" sz="1400" b="1" dirty="0" smtClean="0">
                <a:solidFill>
                  <a:srgbClr val="C00000"/>
                </a:solidFill>
              </a:rPr>
              <a:t>4</a:t>
            </a:r>
            <a:r>
              <a:rPr lang="ru-RU" sz="1400" b="1" dirty="0" smtClean="0">
                <a:solidFill>
                  <a:srgbClr val="283E6E"/>
                </a:solidFill>
              </a:rPr>
              <a:t> «пилотах»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6154378" y="5417753"/>
            <a:ext cx="2867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83E6E"/>
                </a:solidFill>
              </a:rPr>
              <a:t>Центр поддержки экспорта создан в </a:t>
            </a:r>
            <a:r>
              <a:rPr lang="ru-RU" sz="1400" b="1" dirty="0" smtClean="0">
                <a:solidFill>
                  <a:srgbClr val="C00000"/>
                </a:solidFill>
              </a:rPr>
              <a:t>22</a:t>
            </a:r>
            <a:r>
              <a:rPr lang="ru-RU" sz="1400" b="1" dirty="0" smtClean="0">
                <a:solidFill>
                  <a:srgbClr val="283E6E"/>
                </a:solidFill>
              </a:rPr>
              <a:t> «пилоте»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3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88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99598" y="1346794"/>
            <a:ext cx="13179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Точка </a:t>
            </a:r>
          </a:p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за рубежом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50385" y="1348692"/>
            <a:ext cx="12688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Визиты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58254" y="1348701"/>
            <a:ext cx="963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Дни </a:t>
            </a:r>
          </a:p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бизнеса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27719" y="1348691"/>
            <a:ext cx="108074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Региональный</a:t>
            </a:r>
          </a:p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 бренд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8748" y="1695174"/>
            <a:ext cx="16001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Владимир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6901" y="1989816"/>
            <a:ext cx="12458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Туль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3728" y="2277666"/>
            <a:ext cx="1407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ензе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3557" y="1843385"/>
            <a:ext cx="13163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яза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49281" y="2579983"/>
            <a:ext cx="17972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Башкортостан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49307" y="2431174"/>
            <a:ext cx="113204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ермский край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2846" y="2864629"/>
            <a:ext cx="16578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Удмуртская Республика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9307" y="2722779"/>
            <a:ext cx="15295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Татарстан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9139" y="3027501"/>
            <a:ext cx="1478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Ульян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6759" y="3298567"/>
            <a:ext cx="17732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Калинингра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2903" y="3439370"/>
            <a:ext cx="16305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Ленингра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52010" y="3578197"/>
            <a:ext cx="1556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Новгоро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51021" y="3728168"/>
            <a:ext cx="13276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Пск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51241" y="4015297"/>
            <a:ext cx="15921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Волгоград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2178" y="4151190"/>
            <a:ext cx="12891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еспублика Крым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50022" y="4300998"/>
            <a:ext cx="13740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Рост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1348" y="5194243"/>
            <a:ext cx="14895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Челяби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52814" y="4610770"/>
            <a:ext cx="151195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Ставропольский край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3450" y="4913965"/>
            <a:ext cx="13821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Курган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45194" y="5052938"/>
            <a:ext cx="15568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Свердлов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2846" y="5593735"/>
            <a:ext cx="16417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Новосибирская область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64328" y="5921397"/>
            <a:ext cx="13083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283E6E"/>
                </a:solidFill>
              </a:rPr>
              <a:t>Хабаровский край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452826" y="194542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292296" y="1945425"/>
            <a:ext cx="791085" cy="45719"/>
          </a:xfrm>
          <a:prstGeom prst="rect">
            <a:avLst/>
          </a:prstGeom>
          <a:solidFill>
            <a:srgbClr val="4469B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4139386" y="194542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85206" y="194542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Левая фигурная скобка 54"/>
          <p:cNvSpPr/>
          <p:nvPr/>
        </p:nvSpPr>
        <p:spPr>
          <a:xfrm>
            <a:off x="611594" y="1772861"/>
            <a:ext cx="198454" cy="410769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Левая фигурная скобка 55"/>
          <p:cNvSpPr/>
          <p:nvPr/>
        </p:nvSpPr>
        <p:spPr>
          <a:xfrm>
            <a:off x="619214" y="2359601"/>
            <a:ext cx="198454" cy="83680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Левая фигурная скобка 56"/>
          <p:cNvSpPr/>
          <p:nvPr/>
        </p:nvSpPr>
        <p:spPr>
          <a:xfrm>
            <a:off x="626834" y="3388302"/>
            <a:ext cx="198454" cy="508772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Левая фигурная скобка 57"/>
          <p:cNvSpPr/>
          <p:nvPr/>
        </p:nvSpPr>
        <p:spPr>
          <a:xfrm>
            <a:off x="634454" y="4096962"/>
            <a:ext cx="198454" cy="379019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Левая фигурная скобка 58"/>
          <p:cNvSpPr/>
          <p:nvPr/>
        </p:nvSpPr>
        <p:spPr>
          <a:xfrm>
            <a:off x="642074" y="4989164"/>
            <a:ext cx="198454" cy="398832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Левая фигурная скобка 59"/>
          <p:cNvSpPr/>
          <p:nvPr/>
        </p:nvSpPr>
        <p:spPr>
          <a:xfrm>
            <a:off x="642074" y="4660842"/>
            <a:ext cx="198454" cy="17626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Левая фигурная скобка 60"/>
          <p:cNvSpPr/>
          <p:nvPr/>
        </p:nvSpPr>
        <p:spPr>
          <a:xfrm>
            <a:off x="657314" y="5645808"/>
            <a:ext cx="198454" cy="17626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Левая фигурная скобка 61"/>
          <p:cNvSpPr/>
          <p:nvPr/>
        </p:nvSpPr>
        <p:spPr>
          <a:xfrm>
            <a:off x="664934" y="5973468"/>
            <a:ext cx="198454" cy="176261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2453640" y="1800659"/>
            <a:ext cx="788731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293110" y="1800659"/>
            <a:ext cx="788731" cy="45719"/>
          </a:xfrm>
          <a:prstGeom prst="rect">
            <a:avLst/>
          </a:prstGeom>
          <a:solidFill>
            <a:srgbClr val="4469B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4140200" y="1800658"/>
            <a:ext cx="788731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4986020" y="1800659"/>
            <a:ext cx="788731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2454819" y="252121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 67"/>
          <p:cNvSpPr/>
          <p:nvPr/>
        </p:nvSpPr>
        <p:spPr>
          <a:xfrm>
            <a:off x="3294289" y="252121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 68"/>
          <p:cNvSpPr/>
          <p:nvPr/>
        </p:nvSpPr>
        <p:spPr>
          <a:xfrm>
            <a:off x="4141379" y="252121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4987199" y="252121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/>
        </p:nvSpPr>
        <p:spPr>
          <a:xfrm>
            <a:off x="2453279" y="237843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 71"/>
          <p:cNvSpPr/>
          <p:nvPr/>
        </p:nvSpPr>
        <p:spPr>
          <a:xfrm>
            <a:off x="3292749" y="237843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/>
          <p:cNvSpPr/>
          <p:nvPr/>
        </p:nvSpPr>
        <p:spPr>
          <a:xfrm>
            <a:off x="4139839" y="237843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4985659" y="237843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/>
          <p:cNvSpPr/>
          <p:nvPr/>
        </p:nvSpPr>
        <p:spPr>
          <a:xfrm>
            <a:off x="2454157" y="209219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 75"/>
          <p:cNvSpPr/>
          <p:nvPr/>
        </p:nvSpPr>
        <p:spPr>
          <a:xfrm>
            <a:off x="3293627" y="209219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 76"/>
          <p:cNvSpPr/>
          <p:nvPr/>
        </p:nvSpPr>
        <p:spPr>
          <a:xfrm>
            <a:off x="4140717" y="209219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4986537" y="209219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/>
          <p:cNvSpPr/>
          <p:nvPr/>
        </p:nvSpPr>
        <p:spPr>
          <a:xfrm>
            <a:off x="2454819" y="28296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рямоугольник 79"/>
          <p:cNvSpPr/>
          <p:nvPr/>
        </p:nvSpPr>
        <p:spPr>
          <a:xfrm>
            <a:off x="3294289" y="28296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 80"/>
          <p:cNvSpPr/>
          <p:nvPr/>
        </p:nvSpPr>
        <p:spPr>
          <a:xfrm>
            <a:off x="4141379" y="2829640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Прямоугольник 81"/>
          <p:cNvSpPr/>
          <p:nvPr/>
        </p:nvSpPr>
        <p:spPr>
          <a:xfrm>
            <a:off x="4987199" y="28296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 82"/>
          <p:cNvSpPr/>
          <p:nvPr/>
        </p:nvSpPr>
        <p:spPr>
          <a:xfrm>
            <a:off x="2451070" y="267725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3290540" y="267725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/>
        </p:nvSpPr>
        <p:spPr>
          <a:xfrm>
            <a:off x="4137630" y="267725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Прямоугольник 85"/>
          <p:cNvSpPr/>
          <p:nvPr/>
        </p:nvSpPr>
        <p:spPr>
          <a:xfrm>
            <a:off x="4983450" y="267725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рямоугольник 86"/>
          <p:cNvSpPr/>
          <p:nvPr/>
        </p:nvSpPr>
        <p:spPr>
          <a:xfrm>
            <a:off x="2453941" y="2976407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Прямоугольник 87"/>
          <p:cNvSpPr/>
          <p:nvPr/>
        </p:nvSpPr>
        <p:spPr>
          <a:xfrm>
            <a:off x="3293411" y="2976407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 88"/>
          <p:cNvSpPr/>
          <p:nvPr/>
        </p:nvSpPr>
        <p:spPr>
          <a:xfrm>
            <a:off x="4140501" y="2976406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рямоугольник 89"/>
          <p:cNvSpPr/>
          <p:nvPr/>
        </p:nvSpPr>
        <p:spPr>
          <a:xfrm>
            <a:off x="4986321" y="2976407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2451070" y="313445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Прямоугольник 97"/>
          <p:cNvSpPr/>
          <p:nvPr/>
        </p:nvSpPr>
        <p:spPr>
          <a:xfrm>
            <a:off x="3290540" y="313445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4137630" y="313445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4983450" y="313445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рямоугольник 127"/>
          <p:cNvSpPr/>
          <p:nvPr/>
        </p:nvSpPr>
        <p:spPr>
          <a:xfrm>
            <a:off x="2454819" y="35270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Прямоугольник 128"/>
          <p:cNvSpPr/>
          <p:nvPr/>
        </p:nvSpPr>
        <p:spPr>
          <a:xfrm>
            <a:off x="3296643" y="3527054"/>
            <a:ext cx="788732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Прямоугольник 129"/>
          <p:cNvSpPr/>
          <p:nvPr/>
        </p:nvSpPr>
        <p:spPr>
          <a:xfrm>
            <a:off x="4141379" y="352705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рямоугольник 130"/>
          <p:cNvSpPr/>
          <p:nvPr/>
        </p:nvSpPr>
        <p:spPr>
          <a:xfrm>
            <a:off x="4987199" y="352705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рямоугольник 131"/>
          <p:cNvSpPr/>
          <p:nvPr/>
        </p:nvSpPr>
        <p:spPr>
          <a:xfrm>
            <a:off x="2453279" y="339951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рямоугольник 132"/>
          <p:cNvSpPr/>
          <p:nvPr/>
        </p:nvSpPr>
        <p:spPr>
          <a:xfrm>
            <a:off x="3295103" y="3399514"/>
            <a:ext cx="788732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рямоугольник 133"/>
          <p:cNvSpPr/>
          <p:nvPr/>
        </p:nvSpPr>
        <p:spPr>
          <a:xfrm>
            <a:off x="4139839" y="339951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рямоугольник 134"/>
          <p:cNvSpPr/>
          <p:nvPr/>
        </p:nvSpPr>
        <p:spPr>
          <a:xfrm>
            <a:off x="4985659" y="339951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рямоугольник 135"/>
          <p:cNvSpPr/>
          <p:nvPr/>
        </p:nvSpPr>
        <p:spPr>
          <a:xfrm>
            <a:off x="2454819" y="382024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/>
        </p:nvSpPr>
        <p:spPr>
          <a:xfrm>
            <a:off x="3296643" y="3820241"/>
            <a:ext cx="788732" cy="45719"/>
          </a:xfrm>
          <a:prstGeom prst="rect">
            <a:avLst/>
          </a:prstGeom>
          <a:solidFill>
            <a:srgbClr val="4469B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рямоугольник 137"/>
          <p:cNvSpPr/>
          <p:nvPr/>
        </p:nvSpPr>
        <p:spPr>
          <a:xfrm>
            <a:off x="4141379" y="382024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/>
        </p:nvSpPr>
        <p:spPr>
          <a:xfrm>
            <a:off x="4987199" y="382024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 139"/>
          <p:cNvSpPr/>
          <p:nvPr/>
        </p:nvSpPr>
        <p:spPr>
          <a:xfrm>
            <a:off x="2451070" y="36754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рямоугольник 140"/>
          <p:cNvSpPr/>
          <p:nvPr/>
        </p:nvSpPr>
        <p:spPr>
          <a:xfrm>
            <a:off x="3292894" y="3675475"/>
            <a:ext cx="788732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рямоугольник 141"/>
          <p:cNvSpPr/>
          <p:nvPr/>
        </p:nvSpPr>
        <p:spPr>
          <a:xfrm>
            <a:off x="4137630" y="36754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Прямоугольник 142"/>
          <p:cNvSpPr/>
          <p:nvPr/>
        </p:nvSpPr>
        <p:spPr>
          <a:xfrm>
            <a:off x="4983450" y="36754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рямоугольник 143"/>
          <p:cNvSpPr/>
          <p:nvPr/>
        </p:nvSpPr>
        <p:spPr>
          <a:xfrm>
            <a:off x="2454819" y="413665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рямоугольник 144"/>
          <p:cNvSpPr/>
          <p:nvPr/>
        </p:nvSpPr>
        <p:spPr>
          <a:xfrm>
            <a:off x="3294289" y="41366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рямоугольник 145"/>
          <p:cNvSpPr/>
          <p:nvPr/>
        </p:nvSpPr>
        <p:spPr>
          <a:xfrm>
            <a:off x="4141379" y="4136653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Прямоугольник 146"/>
          <p:cNvSpPr/>
          <p:nvPr/>
        </p:nvSpPr>
        <p:spPr>
          <a:xfrm>
            <a:off x="4987199" y="41366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Прямоугольник 147"/>
          <p:cNvSpPr/>
          <p:nvPr/>
        </p:nvSpPr>
        <p:spPr>
          <a:xfrm>
            <a:off x="2454819" y="44298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Прямоугольник 148"/>
          <p:cNvSpPr/>
          <p:nvPr/>
        </p:nvSpPr>
        <p:spPr>
          <a:xfrm>
            <a:off x="3294289" y="44298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 149"/>
          <p:cNvSpPr/>
          <p:nvPr/>
        </p:nvSpPr>
        <p:spPr>
          <a:xfrm>
            <a:off x="4141379" y="442984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Прямоугольник 150"/>
          <p:cNvSpPr/>
          <p:nvPr/>
        </p:nvSpPr>
        <p:spPr>
          <a:xfrm>
            <a:off x="4987199" y="44298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рямоугольник 151"/>
          <p:cNvSpPr/>
          <p:nvPr/>
        </p:nvSpPr>
        <p:spPr>
          <a:xfrm>
            <a:off x="2451070" y="42850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рямоугольник 152"/>
          <p:cNvSpPr/>
          <p:nvPr/>
        </p:nvSpPr>
        <p:spPr>
          <a:xfrm>
            <a:off x="3290540" y="428507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рямоугольник 153"/>
          <p:cNvSpPr/>
          <p:nvPr/>
        </p:nvSpPr>
        <p:spPr>
          <a:xfrm>
            <a:off x="4137630" y="428507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рямоугольник 154"/>
          <p:cNvSpPr/>
          <p:nvPr/>
        </p:nvSpPr>
        <p:spPr>
          <a:xfrm>
            <a:off x="4983450" y="428507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Прямоугольник 155"/>
          <p:cNvSpPr/>
          <p:nvPr/>
        </p:nvSpPr>
        <p:spPr>
          <a:xfrm>
            <a:off x="2454819" y="504343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Прямоугольник 156"/>
          <p:cNvSpPr/>
          <p:nvPr/>
        </p:nvSpPr>
        <p:spPr>
          <a:xfrm>
            <a:off x="3294289" y="504343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Прямоугольник 157"/>
          <p:cNvSpPr/>
          <p:nvPr/>
        </p:nvSpPr>
        <p:spPr>
          <a:xfrm>
            <a:off x="4141379" y="5043433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Прямоугольник 158"/>
          <p:cNvSpPr/>
          <p:nvPr/>
        </p:nvSpPr>
        <p:spPr>
          <a:xfrm>
            <a:off x="4987199" y="5043434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Прямоугольник 159"/>
          <p:cNvSpPr/>
          <p:nvPr/>
        </p:nvSpPr>
        <p:spPr>
          <a:xfrm>
            <a:off x="2454819" y="529852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Прямоугольник 160"/>
          <p:cNvSpPr/>
          <p:nvPr/>
        </p:nvSpPr>
        <p:spPr>
          <a:xfrm>
            <a:off x="3294289" y="529852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Прямоугольник 161"/>
          <p:cNvSpPr/>
          <p:nvPr/>
        </p:nvSpPr>
        <p:spPr>
          <a:xfrm>
            <a:off x="4141379" y="529852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3" name="Прямоугольник 162"/>
          <p:cNvSpPr/>
          <p:nvPr/>
        </p:nvSpPr>
        <p:spPr>
          <a:xfrm>
            <a:off x="4987199" y="529852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Прямоугольник 163"/>
          <p:cNvSpPr/>
          <p:nvPr/>
        </p:nvSpPr>
        <p:spPr>
          <a:xfrm>
            <a:off x="2451070" y="51613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Прямоугольник 164"/>
          <p:cNvSpPr/>
          <p:nvPr/>
        </p:nvSpPr>
        <p:spPr>
          <a:xfrm>
            <a:off x="3290540" y="516137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Прямоугольник 166"/>
          <p:cNvSpPr/>
          <p:nvPr/>
        </p:nvSpPr>
        <p:spPr>
          <a:xfrm>
            <a:off x="4983450" y="51613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Прямоугольник 167"/>
          <p:cNvSpPr/>
          <p:nvPr/>
        </p:nvSpPr>
        <p:spPr>
          <a:xfrm>
            <a:off x="2454819" y="475750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Прямоугольник 168"/>
          <p:cNvSpPr/>
          <p:nvPr/>
        </p:nvSpPr>
        <p:spPr>
          <a:xfrm>
            <a:off x="3294289" y="475750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169"/>
          <p:cNvSpPr/>
          <p:nvPr/>
        </p:nvSpPr>
        <p:spPr>
          <a:xfrm>
            <a:off x="4141379" y="4757500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Прямоугольник 170"/>
          <p:cNvSpPr/>
          <p:nvPr/>
        </p:nvSpPr>
        <p:spPr>
          <a:xfrm>
            <a:off x="4987199" y="475750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Прямоугольник 171"/>
          <p:cNvSpPr/>
          <p:nvPr/>
        </p:nvSpPr>
        <p:spPr>
          <a:xfrm>
            <a:off x="2454819" y="570238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Прямоугольник 172"/>
          <p:cNvSpPr/>
          <p:nvPr/>
        </p:nvSpPr>
        <p:spPr>
          <a:xfrm>
            <a:off x="3294289" y="5702381"/>
            <a:ext cx="791085" cy="45719"/>
          </a:xfrm>
          <a:prstGeom prst="rect">
            <a:avLst/>
          </a:prstGeom>
          <a:solidFill>
            <a:srgbClr val="4469B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Прямоугольник 173"/>
          <p:cNvSpPr/>
          <p:nvPr/>
        </p:nvSpPr>
        <p:spPr>
          <a:xfrm>
            <a:off x="4141379" y="5702380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Прямоугольник 174"/>
          <p:cNvSpPr/>
          <p:nvPr/>
        </p:nvSpPr>
        <p:spPr>
          <a:xfrm>
            <a:off x="4987199" y="5702381"/>
            <a:ext cx="791085" cy="45719"/>
          </a:xfrm>
          <a:prstGeom prst="rect">
            <a:avLst/>
          </a:prstGeom>
          <a:solidFill>
            <a:srgbClr val="4469B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6" name="Прямоугольник 175"/>
          <p:cNvSpPr/>
          <p:nvPr/>
        </p:nvSpPr>
        <p:spPr>
          <a:xfrm>
            <a:off x="2454819" y="603004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Прямоугольник 176"/>
          <p:cNvSpPr/>
          <p:nvPr/>
        </p:nvSpPr>
        <p:spPr>
          <a:xfrm>
            <a:off x="3294289" y="60300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8" name="Прямоугольник 177"/>
          <p:cNvSpPr/>
          <p:nvPr/>
        </p:nvSpPr>
        <p:spPr>
          <a:xfrm>
            <a:off x="4141379" y="6030040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Прямоугольник 178"/>
          <p:cNvSpPr/>
          <p:nvPr/>
        </p:nvSpPr>
        <p:spPr>
          <a:xfrm>
            <a:off x="4987199" y="603004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83820" y="1838758"/>
            <a:ext cx="5504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Ц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91440" y="26312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П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30480" y="3492298"/>
            <a:ext cx="6174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З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46381" y="4137724"/>
            <a:ext cx="599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Ю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38761" y="4610164"/>
            <a:ext cx="6249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КФО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130201" y="5036884"/>
            <a:ext cx="528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У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153061" y="5585524"/>
            <a:ext cx="528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С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137821" y="5913184"/>
            <a:ext cx="552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283E6E"/>
                </a:solidFill>
              </a:rPr>
              <a:t>Д</a:t>
            </a:r>
            <a:r>
              <a:rPr lang="ru-RU" sz="1400" b="1" dirty="0" smtClean="0">
                <a:solidFill>
                  <a:srgbClr val="283E6E"/>
                </a:solidFill>
              </a:rPr>
              <a:t>ФО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87" name="Прямоугольник 186"/>
          <p:cNvSpPr/>
          <p:nvPr/>
        </p:nvSpPr>
        <p:spPr>
          <a:xfrm>
            <a:off x="2409129" y="6649316"/>
            <a:ext cx="6036155" cy="45719"/>
          </a:xfrm>
          <a:prstGeom prst="rect">
            <a:avLst/>
          </a:prstGeom>
          <a:gradFill flip="none" rotWithShape="1">
            <a:gsLst>
              <a:gs pos="49000">
                <a:srgbClr val="7DB0F3"/>
              </a:gs>
              <a:gs pos="0">
                <a:srgbClr val="E1E9F3"/>
              </a:gs>
              <a:gs pos="100000">
                <a:srgbClr val="223752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/>
          <p:cNvSpPr txBox="1"/>
          <p:nvPr/>
        </p:nvSpPr>
        <p:spPr>
          <a:xfrm>
            <a:off x="2325275" y="6430750"/>
            <a:ext cx="3738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0%</a:t>
            </a:r>
            <a:endParaRPr lang="ru-RU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7996586" y="6410417"/>
            <a:ext cx="532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100%</a:t>
            </a:r>
            <a:endParaRPr lang="ru-RU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4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2370481" y="740850"/>
            <a:ext cx="6773520" cy="42774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Внедрения инструментов </a:t>
            </a:r>
            <a:r>
              <a:rPr lang="en-US" dirty="0" smtClean="0"/>
              <a:t>II</a:t>
            </a:r>
            <a:r>
              <a:rPr lang="ru-RU" dirty="0" smtClean="0"/>
              <a:t> уровня в «пилотах»</a:t>
            </a:r>
            <a:endParaRPr lang="ru-RU" dirty="0"/>
          </a:p>
        </p:txBody>
      </p:sp>
      <p:sp>
        <p:nvSpPr>
          <p:cNvPr id="190" name="TextBox 189"/>
          <p:cNvSpPr txBox="1"/>
          <p:nvPr/>
        </p:nvSpPr>
        <p:spPr>
          <a:xfrm>
            <a:off x="6013399" y="1377342"/>
            <a:ext cx="4619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Сайт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6756673" y="1377342"/>
            <a:ext cx="7889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Обучение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7591726" y="1377342"/>
            <a:ext cx="94769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Клуб </a:t>
            </a:r>
          </a:p>
          <a:p>
            <a:pPr algn="ctr"/>
            <a:r>
              <a:rPr lang="ru-RU" sz="1100" b="1" dirty="0" smtClean="0">
                <a:solidFill>
                  <a:srgbClr val="283E6E"/>
                </a:solidFill>
              </a:rPr>
              <a:t>экспортеров</a:t>
            </a:r>
            <a:endParaRPr lang="ru-RU" sz="1100" b="1" dirty="0">
              <a:solidFill>
                <a:srgbClr val="283E6E"/>
              </a:solidFill>
            </a:endParaRPr>
          </a:p>
        </p:txBody>
      </p:sp>
      <p:sp>
        <p:nvSpPr>
          <p:cNvPr id="198" name="Прямоугольник 197"/>
          <p:cNvSpPr/>
          <p:nvPr/>
        </p:nvSpPr>
        <p:spPr>
          <a:xfrm>
            <a:off x="5876746" y="1953045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9" name="Прямоугольник 198"/>
          <p:cNvSpPr/>
          <p:nvPr/>
        </p:nvSpPr>
        <p:spPr>
          <a:xfrm>
            <a:off x="5877560" y="1808279"/>
            <a:ext cx="788731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0" name="Прямоугольник 199"/>
          <p:cNvSpPr/>
          <p:nvPr/>
        </p:nvSpPr>
        <p:spPr>
          <a:xfrm>
            <a:off x="5878739" y="252883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1" name="Прямоугольник 200"/>
          <p:cNvSpPr/>
          <p:nvPr/>
        </p:nvSpPr>
        <p:spPr>
          <a:xfrm>
            <a:off x="5877199" y="23860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2" name="Прямоугольник 201"/>
          <p:cNvSpPr/>
          <p:nvPr/>
        </p:nvSpPr>
        <p:spPr>
          <a:xfrm>
            <a:off x="5878077" y="2099811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3" name="Прямоугольник 202"/>
          <p:cNvSpPr/>
          <p:nvPr/>
        </p:nvSpPr>
        <p:spPr>
          <a:xfrm>
            <a:off x="5878739" y="283726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4" name="Прямоугольник 203"/>
          <p:cNvSpPr/>
          <p:nvPr/>
        </p:nvSpPr>
        <p:spPr>
          <a:xfrm>
            <a:off x="5874990" y="268487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5" name="Прямоугольник 204"/>
          <p:cNvSpPr/>
          <p:nvPr/>
        </p:nvSpPr>
        <p:spPr>
          <a:xfrm>
            <a:off x="5877861" y="2984027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6" name="Прямоугольник 205"/>
          <p:cNvSpPr/>
          <p:nvPr/>
        </p:nvSpPr>
        <p:spPr>
          <a:xfrm>
            <a:off x="5874990" y="3142075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7" name="Прямоугольник 206"/>
          <p:cNvSpPr/>
          <p:nvPr/>
        </p:nvSpPr>
        <p:spPr>
          <a:xfrm>
            <a:off x="5878739" y="35346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8" name="Прямоугольник 207"/>
          <p:cNvSpPr/>
          <p:nvPr/>
        </p:nvSpPr>
        <p:spPr>
          <a:xfrm>
            <a:off x="5877199" y="3407134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9" name="Прямоугольник 208"/>
          <p:cNvSpPr/>
          <p:nvPr/>
        </p:nvSpPr>
        <p:spPr>
          <a:xfrm>
            <a:off x="5878739" y="3827861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0" name="Прямоугольник 209"/>
          <p:cNvSpPr/>
          <p:nvPr/>
        </p:nvSpPr>
        <p:spPr>
          <a:xfrm>
            <a:off x="5874990" y="3683095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1" name="Прямоугольник 210"/>
          <p:cNvSpPr/>
          <p:nvPr/>
        </p:nvSpPr>
        <p:spPr>
          <a:xfrm>
            <a:off x="5878739" y="4144274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2" name="Прямоугольник 211"/>
          <p:cNvSpPr/>
          <p:nvPr/>
        </p:nvSpPr>
        <p:spPr>
          <a:xfrm>
            <a:off x="5878739" y="443746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3" name="Прямоугольник 212"/>
          <p:cNvSpPr/>
          <p:nvPr/>
        </p:nvSpPr>
        <p:spPr>
          <a:xfrm>
            <a:off x="5874990" y="4292695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4" name="Прямоугольник 213"/>
          <p:cNvSpPr/>
          <p:nvPr/>
        </p:nvSpPr>
        <p:spPr>
          <a:xfrm>
            <a:off x="5878739" y="5051054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5" name="Прямоугольник 214"/>
          <p:cNvSpPr/>
          <p:nvPr/>
        </p:nvSpPr>
        <p:spPr>
          <a:xfrm>
            <a:off x="5878739" y="5306141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6" name="Прямоугольник 215"/>
          <p:cNvSpPr/>
          <p:nvPr/>
        </p:nvSpPr>
        <p:spPr>
          <a:xfrm>
            <a:off x="5874990" y="5168995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Прямоугольник 216"/>
          <p:cNvSpPr/>
          <p:nvPr/>
        </p:nvSpPr>
        <p:spPr>
          <a:xfrm>
            <a:off x="5878739" y="4765121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8" name="Прямоугольник 217"/>
          <p:cNvSpPr/>
          <p:nvPr/>
        </p:nvSpPr>
        <p:spPr>
          <a:xfrm>
            <a:off x="5878739" y="5710001"/>
            <a:ext cx="791085" cy="45719"/>
          </a:xfrm>
          <a:prstGeom prst="rect">
            <a:avLst/>
          </a:prstGeom>
          <a:solidFill>
            <a:srgbClr val="BFD8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9" name="Прямоугольник 218"/>
          <p:cNvSpPr/>
          <p:nvPr/>
        </p:nvSpPr>
        <p:spPr>
          <a:xfrm>
            <a:off x="5878739" y="603766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0" name="Прямоугольник 219"/>
          <p:cNvSpPr/>
          <p:nvPr/>
        </p:nvSpPr>
        <p:spPr>
          <a:xfrm>
            <a:off x="6775906" y="196066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1" name="Прямоугольник 220"/>
          <p:cNvSpPr/>
          <p:nvPr/>
        </p:nvSpPr>
        <p:spPr>
          <a:xfrm>
            <a:off x="6776720" y="1815899"/>
            <a:ext cx="788731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Прямоугольник 221"/>
          <p:cNvSpPr/>
          <p:nvPr/>
        </p:nvSpPr>
        <p:spPr>
          <a:xfrm>
            <a:off x="6777899" y="253645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3" name="Прямоугольник 222"/>
          <p:cNvSpPr/>
          <p:nvPr/>
        </p:nvSpPr>
        <p:spPr>
          <a:xfrm>
            <a:off x="6776359" y="23936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Прямоугольник 223"/>
          <p:cNvSpPr/>
          <p:nvPr/>
        </p:nvSpPr>
        <p:spPr>
          <a:xfrm>
            <a:off x="6777237" y="210743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Прямоугольник 224"/>
          <p:cNvSpPr/>
          <p:nvPr/>
        </p:nvSpPr>
        <p:spPr>
          <a:xfrm>
            <a:off x="6777899" y="284488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6" name="Прямоугольник 225"/>
          <p:cNvSpPr/>
          <p:nvPr/>
        </p:nvSpPr>
        <p:spPr>
          <a:xfrm>
            <a:off x="6774150" y="269249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рямоугольник 226"/>
          <p:cNvSpPr/>
          <p:nvPr/>
        </p:nvSpPr>
        <p:spPr>
          <a:xfrm>
            <a:off x="6777021" y="2991647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8" name="Прямоугольник 227"/>
          <p:cNvSpPr/>
          <p:nvPr/>
        </p:nvSpPr>
        <p:spPr>
          <a:xfrm>
            <a:off x="6774150" y="314969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Прямоугольник 228"/>
          <p:cNvSpPr/>
          <p:nvPr/>
        </p:nvSpPr>
        <p:spPr>
          <a:xfrm>
            <a:off x="6777899" y="354229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0" name="Прямоугольник 229"/>
          <p:cNvSpPr/>
          <p:nvPr/>
        </p:nvSpPr>
        <p:spPr>
          <a:xfrm>
            <a:off x="6776359" y="341475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Прямоугольник 230"/>
          <p:cNvSpPr/>
          <p:nvPr/>
        </p:nvSpPr>
        <p:spPr>
          <a:xfrm>
            <a:off x="6777899" y="383548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Прямоугольник 231"/>
          <p:cNvSpPr/>
          <p:nvPr/>
        </p:nvSpPr>
        <p:spPr>
          <a:xfrm>
            <a:off x="6774150" y="369071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Прямоугольник 232"/>
          <p:cNvSpPr/>
          <p:nvPr/>
        </p:nvSpPr>
        <p:spPr>
          <a:xfrm>
            <a:off x="6777899" y="415189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4" name="Прямоугольник 233"/>
          <p:cNvSpPr/>
          <p:nvPr/>
        </p:nvSpPr>
        <p:spPr>
          <a:xfrm>
            <a:off x="6777899" y="444508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5" name="Прямоугольник 234"/>
          <p:cNvSpPr/>
          <p:nvPr/>
        </p:nvSpPr>
        <p:spPr>
          <a:xfrm>
            <a:off x="6774150" y="4300315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6" name="Прямоугольник 235"/>
          <p:cNvSpPr/>
          <p:nvPr/>
        </p:nvSpPr>
        <p:spPr>
          <a:xfrm>
            <a:off x="6777899" y="505867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Прямоугольник 236"/>
          <p:cNvSpPr/>
          <p:nvPr/>
        </p:nvSpPr>
        <p:spPr>
          <a:xfrm>
            <a:off x="6777899" y="531376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Прямоугольник 237"/>
          <p:cNvSpPr/>
          <p:nvPr/>
        </p:nvSpPr>
        <p:spPr>
          <a:xfrm>
            <a:off x="6774150" y="517661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9" name="Прямоугольник 238"/>
          <p:cNvSpPr/>
          <p:nvPr/>
        </p:nvSpPr>
        <p:spPr>
          <a:xfrm>
            <a:off x="6777899" y="477274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0" name="Прямоугольник 239"/>
          <p:cNvSpPr/>
          <p:nvPr/>
        </p:nvSpPr>
        <p:spPr>
          <a:xfrm>
            <a:off x="6777899" y="571762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1" name="Прямоугольник 240"/>
          <p:cNvSpPr/>
          <p:nvPr/>
        </p:nvSpPr>
        <p:spPr>
          <a:xfrm>
            <a:off x="6777899" y="6045281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2" name="Прямоугольник 241"/>
          <p:cNvSpPr/>
          <p:nvPr/>
        </p:nvSpPr>
        <p:spPr>
          <a:xfrm>
            <a:off x="7652206" y="196828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3" name="Прямоугольник 242"/>
          <p:cNvSpPr/>
          <p:nvPr/>
        </p:nvSpPr>
        <p:spPr>
          <a:xfrm>
            <a:off x="7653020" y="1823519"/>
            <a:ext cx="788731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4" name="Прямоугольник 243"/>
          <p:cNvSpPr/>
          <p:nvPr/>
        </p:nvSpPr>
        <p:spPr>
          <a:xfrm>
            <a:off x="7654199" y="25440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5" name="Прямоугольник 244"/>
          <p:cNvSpPr/>
          <p:nvPr/>
        </p:nvSpPr>
        <p:spPr>
          <a:xfrm>
            <a:off x="7652659" y="240129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6" name="Прямоугольник 245"/>
          <p:cNvSpPr/>
          <p:nvPr/>
        </p:nvSpPr>
        <p:spPr>
          <a:xfrm>
            <a:off x="7653537" y="211505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7" name="Прямоугольник 246"/>
          <p:cNvSpPr/>
          <p:nvPr/>
        </p:nvSpPr>
        <p:spPr>
          <a:xfrm>
            <a:off x="7654199" y="285250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8" name="Прямоугольник 247"/>
          <p:cNvSpPr/>
          <p:nvPr/>
        </p:nvSpPr>
        <p:spPr>
          <a:xfrm>
            <a:off x="7650450" y="270011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9" name="Прямоугольник 248"/>
          <p:cNvSpPr/>
          <p:nvPr/>
        </p:nvSpPr>
        <p:spPr>
          <a:xfrm>
            <a:off x="7653321" y="2999267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0" name="Прямоугольник 249"/>
          <p:cNvSpPr/>
          <p:nvPr/>
        </p:nvSpPr>
        <p:spPr>
          <a:xfrm>
            <a:off x="7650450" y="3157315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1" name="Прямоугольник 250"/>
          <p:cNvSpPr/>
          <p:nvPr/>
        </p:nvSpPr>
        <p:spPr>
          <a:xfrm>
            <a:off x="7654199" y="3549914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2" name="Прямоугольник 251"/>
          <p:cNvSpPr/>
          <p:nvPr/>
        </p:nvSpPr>
        <p:spPr>
          <a:xfrm>
            <a:off x="7652659" y="342237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3" name="Прямоугольник 252"/>
          <p:cNvSpPr/>
          <p:nvPr/>
        </p:nvSpPr>
        <p:spPr>
          <a:xfrm>
            <a:off x="7654199" y="384310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4" name="Прямоугольник 253"/>
          <p:cNvSpPr/>
          <p:nvPr/>
        </p:nvSpPr>
        <p:spPr>
          <a:xfrm>
            <a:off x="7650450" y="369833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5" name="Прямоугольник 254"/>
          <p:cNvSpPr/>
          <p:nvPr/>
        </p:nvSpPr>
        <p:spPr>
          <a:xfrm>
            <a:off x="7654199" y="415951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6" name="Прямоугольник 255"/>
          <p:cNvSpPr/>
          <p:nvPr/>
        </p:nvSpPr>
        <p:spPr>
          <a:xfrm>
            <a:off x="7654199" y="445270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7" name="Прямоугольник 256"/>
          <p:cNvSpPr/>
          <p:nvPr/>
        </p:nvSpPr>
        <p:spPr>
          <a:xfrm>
            <a:off x="7650450" y="430793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8" name="Прямоугольник 257"/>
          <p:cNvSpPr/>
          <p:nvPr/>
        </p:nvSpPr>
        <p:spPr>
          <a:xfrm>
            <a:off x="7654199" y="5066294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9" name="Прямоугольник 258"/>
          <p:cNvSpPr/>
          <p:nvPr/>
        </p:nvSpPr>
        <p:spPr>
          <a:xfrm>
            <a:off x="7654199" y="532138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0" name="Прямоугольник 259"/>
          <p:cNvSpPr/>
          <p:nvPr/>
        </p:nvSpPr>
        <p:spPr>
          <a:xfrm>
            <a:off x="7650450" y="5184235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1" name="Прямоугольник 260"/>
          <p:cNvSpPr/>
          <p:nvPr/>
        </p:nvSpPr>
        <p:spPr>
          <a:xfrm>
            <a:off x="7654199" y="478036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2" name="Прямоугольник 261"/>
          <p:cNvSpPr/>
          <p:nvPr/>
        </p:nvSpPr>
        <p:spPr>
          <a:xfrm>
            <a:off x="7654199" y="5725241"/>
            <a:ext cx="791085" cy="45719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Прямоугольник 262"/>
          <p:cNvSpPr/>
          <p:nvPr/>
        </p:nvSpPr>
        <p:spPr>
          <a:xfrm>
            <a:off x="7654199" y="6052901"/>
            <a:ext cx="791085" cy="45719"/>
          </a:xfrm>
          <a:prstGeom prst="rect">
            <a:avLst/>
          </a:prstGeom>
          <a:solidFill>
            <a:srgbClr val="7DB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4" name="Прямоугольник 263"/>
          <p:cNvSpPr/>
          <p:nvPr/>
        </p:nvSpPr>
        <p:spPr>
          <a:xfrm>
            <a:off x="4142853" y="5162296"/>
            <a:ext cx="791085" cy="45719"/>
          </a:xfrm>
          <a:prstGeom prst="rect">
            <a:avLst/>
          </a:prstGeom>
          <a:solidFill>
            <a:srgbClr val="223A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9400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09800" y="740849"/>
            <a:ext cx="6934201" cy="47841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</a:t>
            </a:r>
            <a:r>
              <a:rPr lang="ru-RU" dirty="0"/>
              <a:t>Внедрение </a:t>
            </a:r>
            <a:r>
              <a:rPr lang="ru-RU" dirty="0" smtClean="0"/>
              <a:t>инструментов </a:t>
            </a:r>
            <a:r>
              <a:rPr lang="en-US" dirty="0" smtClean="0"/>
              <a:t>II</a:t>
            </a:r>
            <a:r>
              <a:rPr lang="ru-RU" dirty="0" smtClean="0"/>
              <a:t> уровня в «пилотах»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754379" y="1246584"/>
            <a:ext cx="2339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Представительства / торговые дома за рубежом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85261" y="1316206"/>
            <a:ext cx="1805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Визиты руководства региона за рубеж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87540" y="1291828"/>
            <a:ext cx="2171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Дни международного бизнеса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6720" y="3273028"/>
            <a:ext cx="2804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83E6E"/>
                </a:solidFill>
              </a:rPr>
              <a:t>Региональный бренд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21395" y="5102925"/>
            <a:ext cx="21259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Информационный ресурс в «Интернет»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47160" y="3265408"/>
            <a:ext cx="20040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Обучение начинающих экспортер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68679" y="5056107"/>
            <a:ext cx="22250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Реестр экспортер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03272" y="3289355"/>
            <a:ext cx="20192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Клуб экспортер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57436" y="5067774"/>
            <a:ext cx="22468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83E6E"/>
                </a:solidFill>
              </a:rPr>
              <a:t>Финансовые инструменты для региональных банков</a:t>
            </a:r>
            <a:endParaRPr lang="ru-RU" sz="1400" b="1" dirty="0">
              <a:solidFill>
                <a:srgbClr val="283E6E"/>
              </a:solidFill>
            </a:endParaRPr>
          </a:p>
        </p:txBody>
      </p:sp>
      <p:pic>
        <p:nvPicPr>
          <p:cNvPr id="12" name="Picture 2" descr="C:\Users\kosmin\Desktop\training_filled16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706" y="3265408"/>
            <a:ext cx="626123" cy="66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minaeva\Desktop\значки для презы\104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42" y="1272927"/>
            <a:ext cx="700653" cy="70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kosmin\Desktop\avion-autour-de-la-terre_318-61627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2376" y="1262530"/>
            <a:ext cx="645995" cy="645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3108960" y="1315164"/>
            <a:ext cx="0" cy="5542836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6019801" y="1331862"/>
            <a:ext cx="0" cy="5526138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167640" y="3208020"/>
            <a:ext cx="8808720" cy="762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167640" y="5018007"/>
            <a:ext cx="8808720" cy="762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6" descr="C:\Users\kosmin\Desktop\trademark16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1" y="3135867"/>
            <a:ext cx="725050" cy="72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inaeva\Desktop\значки для презы\sit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958" y="5095305"/>
            <a:ext cx="570547" cy="603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inaeva\Desktop\значки для презы\staff-people-group-in-a-circular-arrow_318-52415.jpg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355" y="3272686"/>
            <a:ext cx="611505" cy="611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inaeva\Desktop\значки для презы\sign_ruble-512.png"/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8349" y="499455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7" descr="C:\Users\kosmin\Desktop\w512h5121390727886addlist51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18" y="5092124"/>
            <a:ext cx="593961" cy="593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167640" y="2242392"/>
            <a:ext cx="2867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A40000"/>
                </a:solidFill>
              </a:rPr>
              <a:t>4</a:t>
            </a:r>
            <a:r>
              <a:rPr lang="ru-RU" sz="1400" b="1" dirty="0" smtClean="0">
                <a:solidFill>
                  <a:srgbClr val="C00000"/>
                </a:solidFill>
              </a:rPr>
              <a:t> </a:t>
            </a:r>
            <a:r>
              <a:rPr lang="ru-RU" sz="1400" b="1" dirty="0" smtClean="0">
                <a:solidFill>
                  <a:srgbClr val="283E6E"/>
                </a:solidFill>
              </a:rPr>
              <a:t>формата</a:t>
            </a:r>
            <a:endParaRPr lang="ru-RU" sz="1400" b="1" dirty="0">
              <a:solidFill>
                <a:srgbClr val="283E6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136858" y="2017317"/>
            <a:ext cx="2867702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В 2017 года проведено </a:t>
            </a:r>
            <a:r>
              <a:rPr lang="ru-RU" sz="1200" b="1" dirty="0">
                <a:solidFill>
                  <a:srgbClr val="A40000"/>
                </a:solidFill>
              </a:rPr>
              <a:t>46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визитов руководства </a:t>
            </a:r>
            <a:r>
              <a:rPr lang="ru-RU" sz="1200" b="1" dirty="0">
                <a:solidFill>
                  <a:srgbClr val="A40000"/>
                </a:solidFill>
              </a:rPr>
              <a:t>17 </a:t>
            </a:r>
            <a:r>
              <a:rPr lang="ru-RU" sz="1200" b="1" dirty="0" smtClean="0">
                <a:solidFill>
                  <a:srgbClr val="283E6E"/>
                </a:solidFill>
              </a:rPr>
              <a:t>«пилотов»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rgbClr val="A40000"/>
                </a:solidFill>
              </a:rPr>
              <a:t>27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стран </a:t>
            </a:r>
            <a:r>
              <a:rPr lang="ru-RU" sz="1100" b="1" i="1" dirty="0" smtClean="0">
                <a:solidFill>
                  <a:srgbClr val="283E6E"/>
                </a:solidFill>
              </a:rPr>
              <a:t>(выставки, МПК, собственные)</a:t>
            </a:r>
          </a:p>
          <a:p>
            <a:pPr algn="ctr"/>
            <a:endParaRPr lang="ru-RU" sz="700" b="1" dirty="0">
              <a:solidFill>
                <a:srgbClr val="283E6E"/>
              </a:solidFill>
            </a:endParaRP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Необходимо повысить экспортную эффективность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236543" y="2128715"/>
            <a:ext cx="2867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Проведены в </a:t>
            </a:r>
            <a:r>
              <a:rPr lang="ru-RU" sz="1200" b="1" dirty="0">
                <a:solidFill>
                  <a:srgbClr val="A40000"/>
                </a:solidFill>
              </a:rPr>
              <a:t>4 </a:t>
            </a:r>
            <a:r>
              <a:rPr lang="ru-RU" sz="1200" b="1" dirty="0" smtClean="0">
                <a:solidFill>
                  <a:srgbClr val="283E6E"/>
                </a:solidFill>
              </a:rPr>
              <a:t>«пилотах»</a:t>
            </a:r>
          </a:p>
          <a:p>
            <a:pPr algn="ctr"/>
            <a:endParaRPr lang="ru-RU" sz="1200" b="1" dirty="0">
              <a:solidFill>
                <a:srgbClr val="283E6E"/>
              </a:solidFill>
            </a:endParaRP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«пилотами» предложены другие форматы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37160" y="3778585"/>
            <a:ext cx="28677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Создан в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rgbClr val="A40000"/>
                </a:solidFill>
              </a:rPr>
              <a:t>7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«пилотах»</a:t>
            </a:r>
          </a:p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В разработке в </a:t>
            </a:r>
            <a:r>
              <a:rPr lang="ru-RU" sz="1200" b="1" dirty="0">
                <a:solidFill>
                  <a:srgbClr val="A40000"/>
                </a:solidFill>
              </a:rPr>
              <a:t>6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«пилотах»</a:t>
            </a: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9</a:t>
            </a:r>
            <a:r>
              <a:rPr lang="ru-RU" sz="1200" b="1" dirty="0" smtClean="0">
                <a:solidFill>
                  <a:srgbClr val="283E6E"/>
                </a:solidFill>
              </a:rPr>
              <a:t> «пилотов» не планируют</a:t>
            </a:r>
          </a:p>
          <a:p>
            <a:pPr algn="ctr"/>
            <a:endParaRPr lang="ru-RU" sz="1200" b="1" dirty="0">
              <a:solidFill>
                <a:srgbClr val="283E6E"/>
              </a:solidFill>
            </a:endParaRP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«пилотами» предложены другие форматы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126781" y="5675168"/>
            <a:ext cx="286770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Создан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rgbClr val="A40000"/>
                </a:solidFill>
              </a:rPr>
              <a:t>18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«пилотах»</a:t>
            </a:r>
          </a:p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сайты </a:t>
            </a:r>
            <a:r>
              <a:rPr lang="ru-RU" sz="1200" b="1" dirty="0">
                <a:solidFill>
                  <a:srgbClr val="A40000"/>
                </a:solidFill>
              </a:rPr>
              <a:t>15</a:t>
            </a:r>
            <a:r>
              <a:rPr lang="ru-RU" sz="1200" b="1" dirty="0" smtClean="0">
                <a:solidFill>
                  <a:srgbClr val="283E6E"/>
                </a:solidFill>
              </a:rPr>
              <a:t> «пилотов» ведут ЦПЭ</a:t>
            </a:r>
          </a:p>
          <a:p>
            <a:pPr algn="ctr"/>
            <a:endParaRPr lang="ru-RU" sz="2000" b="1" dirty="0" smtClean="0">
              <a:solidFill>
                <a:srgbClr val="283E6E"/>
              </a:solidFill>
            </a:endParaRP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«пилотами» предложены другие форматы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99865" y="4029342"/>
            <a:ext cx="28677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Проводит</a:t>
            </a:r>
            <a:r>
              <a:rPr lang="ru-RU" sz="1200" b="1" dirty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rgbClr val="A40000"/>
                </a:solidFill>
              </a:rPr>
              <a:t>17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«пилотов» </a:t>
            </a:r>
            <a:br>
              <a:rPr lang="ru-RU" sz="1200" b="1" dirty="0" smtClean="0">
                <a:solidFill>
                  <a:srgbClr val="283E6E"/>
                </a:solidFill>
              </a:rPr>
            </a:br>
            <a:r>
              <a:rPr lang="ru-RU" sz="1200" b="1" dirty="0" smtClean="0">
                <a:solidFill>
                  <a:srgbClr val="283E6E"/>
                </a:solidFill>
              </a:rPr>
              <a:t>в 2017 году выдано </a:t>
            </a:r>
            <a:r>
              <a:rPr lang="ru-RU" sz="1200" b="1" dirty="0" smtClean="0">
                <a:solidFill>
                  <a:srgbClr val="A40000"/>
                </a:solidFill>
              </a:rPr>
              <a:t>1173 </a:t>
            </a:r>
            <a:r>
              <a:rPr lang="ru-RU" sz="1200" b="1" dirty="0" smtClean="0">
                <a:solidFill>
                  <a:srgbClr val="283E6E"/>
                </a:solidFill>
              </a:rPr>
              <a:t>удостоверений</a:t>
            </a:r>
            <a:endParaRPr lang="ru-RU" sz="1200" b="1" dirty="0">
              <a:solidFill>
                <a:srgbClr val="283E6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1258" y="5934342"/>
            <a:ext cx="28677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A40000"/>
                </a:solidFill>
              </a:rPr>
              <a:t>Необходим единый реестр по стране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108658" y="3975631"/>
            <a:ext cx="2867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83E6E"/>
                </a:solidFill>
              </a:rPr>
              <a:t>Создан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rgbClr val="A40000"/>
                </a:solidFill>
              </a:rPr>
              <a:t>4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 smtClean="0">
                <a:solidFill>
                  <a:srgbClr val="283E6E"/>
                </a:solidFill>
              </a:rPr>
              <a:t>«пилотах»</a:t>
            </a:r>
          </a:p>
          <a:p>
            <a:pPr algn="ctr"/>
            <a:endParaRPr lang="ru-RU" sz="1200" b="1" dirty="0">
              <a:solidFill>
                <a:srgbClr val="283E6E"/>
              </a:solidFill>
            </a:endParaRP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«пилотами» предложены другие форматы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194226" y="5626145"/>
            <a:ext cx="28677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A40000"/>
                </a:solidFill>
              </a:rPr>
              <a:t>Не созданы</a:t>
            </a:r>
          </a:p>
          <a:p>
            <a:pPr algn="ctr"/>
            <a:endParaRPr lang="ru-RU" sz="1200" b="1" dirty="0">
              <a:solidFill>
                <a:srgbClr val="A40000"/>
              </a:solidFill>
            </a:endParaRPr>
          </a:p>
          <a:p>
            <a:pPr algn="ctr"/>
            <a:r>
              <a:rPr lang="ru-RU" sz="1200" b="1" dirty="0">
                <a:solidFill>
                  <a:srgbClr val="A40000"/>
                </a:solidFill>
              </a:rPr>
              <a:t>Необходимо научить региональные компании использовать существующие финансовые меры поддержки</a:t>
            </a:r>
          </a:p>
        </p:txBody>
      </p:sp>
      <p:pic>
        <p:nvPicPr>
          <p:cNvPr id="13" name="Picture 2" descr="C:\Users\minaeva\Desktop\значки для презы\id-badge_318-47612.jpg"/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697" y="1219261"/>
            <a:ext cx="685739" cy="685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5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53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09800" y="725610"/>
            <a:ext cx="6934201" cy="71457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</a:t>
            </a:r>
            <a:r>
              <a:rPr lang="ru-RU" dirty="0"/>
              <a:t>создания экспортной </a:t>
            </a:r>
            <a:r>
              <a:rPr lang="ru-RU" dirty="0" smtClean="0"/>
              <a:t>экосистемы</a:t>
            </a:r>
            <a:endParaRPr lang="ru-RU" dirty="0"/>
          </a:p>
          <a:p>
            <a:r>
              <a:rPr lang="ru-RU" dirty="0" smtClean="0"/>
              <a:t>Международное присутствие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6058894" y="1903946"/>
            <a:ext cx="302944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endParaRPr lang="ru-RU" sz="1200" i="1" dirty="0">
              <a:solidFill>
                <a:srgbClr val="283E6E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i="1" dirty="0" smtClean="0">
                <a:solidFill>
                  <a:srgbClr val="283E6E"/>
                </a:solidFill>
              </a:rPr>
              <a:t>Направление кадров в торгпредства на работу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ru-RU" sz="1200" i="1" dirty="0">
              <a:solidFill>
                <a:srgbClr val="283E6E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i="1" dirty="0" smtClean="0">
                <a:solidFill>
                  <a:srgbClr val="283E6E"/>
                </a:solidFill>
              </a:rPr>
              <a:t>Стажировки сотрудников РОИВ и инфраструктуры в торгпредствах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ru-RU" sz="1200" i="1" dirty="0">
              <a:solidFill>
                <a:srgbClr val="283E6E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i="1" dirty="0" smtClean="0">
                <a:solidFill>
                  <a:srgbClr val="283E6E"/>
                </a:solidFill>
              </a:rPr>
              <a:t>Использование торговых домов РЭЦ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ru-RU" sz="1200" i="1" dirty="0">
              <a:solidFill>
                <a:srgbClr val="283E6E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i="1" dirty="0" smtClean="0">
                <a:solidFill>
                  <a:srgbClr val="283E6E"/>
                </a:solidFill>
              </a:rPr>
              <a:t>Использование </a:t>
            </a:r>
            <a:r>
              <a:rPr lang="ru-RU" sz="1200" i="1" dirty="0" err="1" smtClean="0">
                <a:solidFill>
                  <a:srgbClr val="283E6E"/>
                </a:solidFill>
              </a:rPr>
              <a:t>загранаппарата</a:t>
            </a:r>
            <a:r>
              <a:rPr lang="ru-RU" sz="1200" i="1" dirty="0" smtClean="0">
                <a:solidFill>
                  <a:srgbClr val="283E6E"/>
                </a:solidFill>
              </a:rPr>
              <a:t> </a:t>
            </a:r>
            <a:r>
              <a:rPr lang="ru-RU" sz="1200" i="1" dirty="0" err="1" smtClean="0">
                <a:solidFill>
                  <a:srgbClr val="283E6E"/>
                </a:solidFill>
              </a:rPr>
              <a:t>Россотрудничества</a:t>
            </a:r>
            <a:endParaRPr lang="ru-RU" sz="1200" i="1" dirty="0">
              <a:solidFill>
                <a:srgbClr val="283E6E"/>
              </a:solidFill>
            </a:endParaRPr>
          </a:p>
        </p:txBody>
      </p:sp>
      <p:pic>
        <p:nvPicPr>
          <p:cNvPr id="5122" name="Picture 2" descr="C:\Users\minaeva\Desktop\значки для презы\Гербы регионов\Татарстан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632" y="4310187"/>
            <a:ext cx="854929" cy="854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Users\minaeva\Desktop\значки для презы\Гербы регионов\Ульяновская область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42" y="1683643"/>
            <a:ext cx="920310" cy="869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C:\Users\minaeva\Desktop\значки для презы\Гербы регионов\Новосибирская область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04" y="2930929"/>
            <a:ext cx="730986" cy="853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C:\Users\minaeva\Desktop\значки для презы\Гербы регионов\ЮФО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6306" y="5478974"/>
            <a:ext cx="2385779" cy="1192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360913" y="4368760"/>
            <a:ext cx="76479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283E6E"/>
                </a:solidFill>
              </a:rPr>
              <a:t>15 представительств за рубежом - </a:t>
            </a:r>
            <a:r>
              <a:rPr lang="ru-RU" sz="1600" dirty="0">
                <a:solidFill>
                  <a:srgbClr val="A40000"/>
                </a:solidFill>
              </a:rPr>
              <a:t>Казахстан, Франция, Турция, Туркменистан, Азербайджан, Узбекистан, США, Чехия, Швейцария, Финляндия, ОАЭ, Китай, Куба, Украин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60913" y="2879557"/>
            <a:ext cx="47933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283E6E"/>
                </a:solidFill>
              </a:rPr>
              <a:t>Представительство </a:t>
            </a:r>
            <a:r>
              <a:rPr lang="ru-RU" sz="1600" dirty="0" smtClean="0">
                <a:solidFill>
                  <a:srgbClr val="283E6E"/>
                </a:solidFill>
              </a:rPr>
              <a:t>АО «Агентство </a:t>
            </a:r>
            <a:r>
              <a:rPr lang="ru-RU" sz="1600" dirty="0">
                <a:solidFill>
                  <a:srgbClr val="283E6E"/>
                </a:solidFill>
              </a:rPr>
              <a:t>инвестиционного развития Новосибирской области» в странах </a:t>
            </a:r>
            <a:r>
              <a:rPr lang="ru-RU" sz="1600" dirty="0" smtClean="0">
                <a:solidFill>
                  <a:srgbClr val="283E6E"/>
                </a:solidFill>
              </a:rPr>
              <a:t>ЕС (</a:t>
            </a:r>
            <a:r>
              <a:rPr lang="ru-RU" sz="1600" dirty="0" smtClean="0">
                <a:solidFill>
                  <a:srgbClr val="A40000"/>
                </a:solidFill>
              </a:rPr>
              <a:t>Германия</a:t>
            </a:r>
            <a:r>
              <a:rPr lang="ru-RU" sz="1600" dirty="0" smtClean="0">
                <a:solidFill>
                  <a:srgbClr val="283E6E"/>
                </a:solidFill>
              </a:rPr>
              <a:t>)</a:t>
            </a:r>
            <a:endParaRPr lang="ru-RU" sz="1600" dirty="0">
              <a:solidFill>
                <a:srgbClr val="283E6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60912" y="1711841"/>
            <a:ext cx="46423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283E6E"/>
                </a:solidFill>
              </a:rPr>
              <a:t>Представительство в </a:t>
            </a:r>
            <a:r>
              <a:rPr lang="ru-RU" sz="1600" dirty="0">
                <a:solidFill>
                  <a:srgbClr val="A40000"/>
                </a:solidFill>
              </a:rPr>
              <a:t>Иране </a:t>
            </a:r>
            <a:r>
              <a:rPr lang="ru-RU" sz="1600" dirty="0">
                <a:solidFill>
                  <a:srgbClr val="283E6E"/>
                </a:solidFill>
              </a:rPr>
              <a:t>– ГЧП </a:t>
            </a:r>
            <a:r>
              <a:rPr lang="ru-RU" sz="1600" dirty="0" smtClean="0">
                <a:solidFill>
                  <a:srgbClr val="283E6E"/>
                </a:solidFill>
              </a:rPr>
              <a:t>(ООО «СПК»), планируется открыть представительство в </a:t>
            </a:r>
            <a:r>
              <a:rPr lang="ru-RU" sz="1600" dirty="0" smtClean="0">
                <a:solidFill>
                  <a:srgbClr val="A40000"/>
                </a:solidFill>
              </a:rPr>
              <a:t>Канаде</a:t>
            </a:r>
            <a:r>
              <a:rPr lang="ru-RU" sz="1600" dirty="0" smtClean="0">
                <a:solidFill>
                  <a:srgbClr val="283E6E"/>
                </a:solidFill>
              </a:rPr>
              <a:t> (г. Торонто</a:t>
            </a:r>
            <a:r>
              <a:rPr lang="ru-RU" sz="1600" dirty="0">
                <a:solidFill>
                  <a:srgbClr val="283E6E"/>
                </a:solidFill>
              </a:rPr>
              <a:t>) до конца 2017 год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60911" y="5712695"/>
            <a:ext cx="75525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283E6E"/>
                </a:solidFill>
              </a:rPr>
              <a:t>Ассоциация экономического взаимодействия субъектов Российской Федерации южного федерального округа «ЮГ», представительство </a:t>
            </a:r>
            <a:r>
              <a:rPr lang="ru-RU" sz="1600" dirty="0" smtClean="0">
                <a:solidFill>
                  <a:srgbClr val="283E6E"/>
                </a:solidFill>
              </a:rPr>
              <a:t> в </a:t>
            </a:r>
            <a:r>
              <a:rPr lang="ru-RU" sz="1600" dirty="0">
                <a:solidFill>
                  <a:srgbClr val="283E6E"/>
                </a:solidFill>
              </a:rPr>
              <a:t>г. </a:t>
            </a:r>
            <a:r>
              <a:rPr lang="ru-RU" sz="1600" dirty="0" err="1">
                <a:solidFill>
                  <a:srgbClr val="283E6E"/>
                </a:solidFill>
              </a:rPr>
              <a:t>Шеньчжень</a:t>
            </a:r>
            <a:r>
              <a:rPr lang="ru-RU" sz="1600" dirty="0">
                <a:solidFill>
                  <a:srgbClr val="283E6E"/>
                </a:solidFill>
              </a:rPr>
              <a:t>, </a:t>
            </a:r>
            <a:r>
              <a:rPr lang="ru-RU" sz="1600" dirty="0">
                <a:solidFill>
                  <a:srgbClr val="A40000"/>
                </a:solidFill>
              </a:rPr>
              <a:t>Китай</a:t>
            </a:r>
            <a:r>
              <a:rPr lang="ru-RU" sz="1600" dirty="0">
                <a:solidFill>
                  <a:srgbClr val="283E6E"/>
                </a:solidFill>
              </a:rPr>
              <a:t>.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6082745" y="1840042"/>
            <a:ext cx="0" cy="2238979"/>
          </a:xfrm>
          <a:prstGeom prst="line">
            <a:avLst/>
          </a:prstGeom>
          <a:ln cmpd="sng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265625" y="1772116"/>
            <a:ext cx="2743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83E6E"/>
                </a:solidFill>
              </a:rPr>
              <a:t>Дополнительные возможности</a:t>
            </a:r>
            <a:endParaRPr lang="ru-RU" sz="1400" b="1" dirty="0">
              <a:solidFill>
                <a:srgbClr val="283E6E"/>
              </a:solidFill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4310" y="4103776"/>
            <a:ext cx="2854518" cy="0"/>
          </a:xfrm>
          <a:prstGeom prst="line">
            <a:avLst/>
          </a:prstGeom>
          <a:ln cmpd="sng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6</a:t>
            </a:r>
            <a:endParaRPr lang="ru-RU" b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74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Picture 2" descr="C:\Users\minaeva\Desktop\значки для презы\800x600_94397232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04428"/>
            <a:ext cx="1062537" cy="79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9"/>
          <p:cNvGrpSpPr/>
          <p:nvPr/>
        </p:nvGrpSpPr>
        <p:grpSpPr>
          <a:xfrm>
            <a:off x="251460" y="1522441"/>
            <a:ext cx="8618220" cy="5236499"/>
            <a:chOff x="121444" y="677228"/>
            <a:chExt cx="8908256" cy="565689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" name="Freeform: Shape 10"/>
            <p:cNvSpPr/>
            <p:nvPr/>
          </p:nvSpPr>
          <p:spPr bwMode="auto">
            <a:xfrm>
              <a:off x="2486025" y="677228"/>
              <a:ext cx="1485900" cy="2154555"/>
            </a:xfrm>
            <a:custGeom>
              <a:avLst/>
              <a:gdLst>
                <a:gd name="connsiteX0" fmla="*/ 0 w 1485900"/>
                <a:gd name="connsiteY0" fmla="*/ 785812 h 2154555"/>
                <a:gd name="connsiteX1" fmla="*/ 45720 w 1485900"/>
                <a:gd name="connsiteY1" fmla="*/ 751522 h 2154555"/>
                <a:gd name="connsiteX2" fmla="*/ 68580 w 1485900"/>
                <a:gd name="connsiteY2" fmla="*/ 742950 h 2154555"/>
                <a:gd name="connsiteX3" fmla="*/ 80010 w 1485900"/>
                <a:gd name="connsiteY3" fmla="*/ 731520 h 2154555"/>
                <a:gd name="connsiteX4" fmla="*/ 97155 w 1485900"/>
                <a:gd name="connsiteY4" fmla="*/ 722947 h 2154555"/>
                <a:gd name="connsiteX5" fmla="*/ 88583 w 1485900"/>
                <a:gd name="connsiteY5" fmla="*/ 708660 h 2154555"/>
                <a:gd name="connsiteX6" fmla="*/ 100013 w 1485900"/>
                <a:gd name="connsiteY6" fmla="*/ 702945 h 2154555"/>
                <a:gd name="connsiteX7" fmla="*/ 117158 w 1485900"/>
                <a:gd name="connsiteY7" fmla="*/ 714375 h 2154555"/>
                <a:gd name="connsiteX8" fmla="*/ 134303 w 1485900"/>
                <a:gd name="connsiteY8" fmla="*/ 705802 h 2154555"/>
                <a:gd name="connsiteX9" fmla="*/ 131445 w 1485900"/>
                <a:gd name="connsiteY9" fmla="*/ 694372 h 2154555"/>
                <a:gd name="connsiteX10" fmla="*/ 145733 w 1485900"/>
                <a:gd name="connsiteY10" fmla="*/ 697230 h 2154555"/>
                <a:gd name="connsiteX11" fmla="*/ 165735 w 1485900"/>
                <a:gd name="connsiteY11" fmla="*/ 688657 h 2154555"/>
                <a:gd name="connsiteX12" fmla="*/ 188595 w 1485900"/>
                <a:gd name="connsiteY12" fmla="*/ 671512 h 2154555"/>
                <a:gd name="connsiteX13" fmla="*/ 197168 w 1485900"/>
                <a:gd name="connsiteY13" fmla="*/ 642937 h 2154555"/>
                <a:gd name="connsiteX14" fmla="*/ 191453 w 1485900"/>
                <a:gd name="connsiteY14" fmla="*/ 614362 h 2154555"/>
                <a:gd name="connsiteX15" fmla="*/ 185738 w 1485900"/>
                <a:gd name="connsiteY15" fmla="*/ 597217 h 2154555"/>
                <a:gd name="connsiteX16" fmla="*/ 202883 w 1485900"/>
                <a:gd name="connsiteY16" fmla="*/ 600075 h 2154555"/>
                <a:gd name="connsiteX17" fmla="*/ 200025 w 1485900"/>
                <a:gd name="connsiteY17" fmla="*/ 577215 h 2154555"/>
                <a:gd name="connsiteX18" fmla="*/ 211455 w 1485900"/>
                <a:gd name="connsiteY18" fmla="*/ 557212 h 2154555"/>
                <a:gd name="connsiteX19" fmla="*/ 200025 w 1485900"/>
                <a:gd name="connsiteY19" fmla="*/ 551497 h 2154555"/>
                <a:gd name="connsiteX20" fmla="*/ 177165 w 1485900"/>
                <a:gd name="connsiteY20" fmla="*/ 560070 h 2154555"/>
                <a:gd name="connsiteX21" fmla="*/ 154305 w 1485900"/>
                <a:gd name="connsiteY21" fmla="*/ 562927 h 2154555"/>
                <a:gd name="connsiteX22" fmla="*/ 128588 w 1485900"/>
                <a:gd name="connsiteY22" fmla="*/ 531495 h 2154555"/>
                <a:gd name="connsiteX23" fmla="*/ 145733 w 1485900"/>
                <a:gd name="connsiteY23" fmla="*/ 500062 h 2154555"/>
                <a:gd name="connsiteX24" fmla="*/ 174308 w 1485900"/>
                <a:gd name="connsiteY24" fmla="*/ 460057 h 2154555"/>
                <a:gd name="connsiteX25" fmla="*/ 200025 w 1485900"/>
                <a:gd name="connsiteY25" fmla="*/ 440055 h 2154555"/>
                <a:gd name="connsiteX26" fmla="*/ 222885 w 1485900"/>
                <a:gd name="connsiteY26" fmla="*/ 408622 h 2154555"/>
                <a:gd name="connsiteX27" fmla="*/ 231458 w 1485900"/>
                <a:gd name="connsiteY27" fmla="*/ 388620 h 2154555"/>
                <a:gd name="connsiteX28" fmla="*/ 262890 w 1485900"/>
                <a:gd name="connsiteY28" fmla="*/ 417195 h 2154555"/>
                <a:gd name="connsiteX29" fmla="*/ 285750 w 1485900"/>
                <a:gd name="connsiteY29" fmla="*/ 420052 h 2154555"/>
                <a:gd name="connsiteX30" fmla="*/ 294323 w 1485900"/>
                <a:gd name="connsiteY30" fmla="*/ 377190 h 2154555"/>
                <a:gd name="connsiteX31" fmla="*/ 294323 w 1485900"/>
                <a:gd name="connsiteY31" fmla="*/ 334327 h 2154555"/>
                <a:gd name="connsiteX32" fmla="*/ 274320 w 1485900"/>
                <a:gd name="connsiteY32" fmla="*/ 305752 h 2154555"/>
                <a:gd name="connsiteX33" fmla="*/ 291465 w 1485900"/>
                <a:gd name="connsiteY33" fmla="*/ 285750 h 2154555"/>
                <a:gd name="connsiteX34" fmla="*/ 308610 w 1485900"/>
                <a:gd name="connsiteY34" fmla="*/ 271462 h 2154555"/>
                <a:gd name="connsiteX35" fmla="*/ 328613 w 1485900"/>
                <a:gd name="connsiteY35" fmla="*/ 288607 h 2154555"/>
                <a:gd name="connsiteX36" fmla="*/ 337185 w 1485900"/>
                <a:gd name="connsiteY36" fmla="*/ 322897 h 2154555"/>
                <a:gd name="connsiteX37" fmla="*/ 351473 w 1485900"/>
                <a:gd name="connsiteY37" fmla="*/ 331470 h 2154555"/>
                <a:gd name="connsiteX38" fmla="*/ 385763 w 1485900"/>
                <a:gd name="connsiteY38" fmla="*/ 368617 h 2154555"/>
                <a:gd name="connsiteX39" fmla="*/ 397193 w 1485900"/>
                <a:gd name="connsiteY39" fmla="*/ 371475 h 2154555"/>
                <a:gd name="connsiteX40" fmla="*/ 405765 w 1485900"/>
                <a:gd name="connsiteY40" fmla="*/ 371475 h 2154555"/>
                <a:gd name="connsiteX41" fmla="*/ 397193 w 1485900"/>
                <a:gd name="connsiteY41" fmla="*/ 345757 h 2154555"/>
                <a:gd name="connsiteX42" fmla="*/ 380048 w 1485900"/>
                <a:gd name="connsiteY42" fmla="*/ 311467 h 2154555"/>
                <a:gd name="connsiteX43" fmla="*/ 368618 w 1485900"/>
                <a:gd name="connsiteY43" fmla="*/ 305752 h 2154555"/>
                <a:gd name="connsiteX44" fmla="*/ 357188 w 1485900"/>
                <a:gd name="connsiteY44" fmla="*/ 300037 h 2154555"/>
                <a:gd name="connsiteX45" fmla="*/ 348615 w 1485900"/>
                <a:gd name="connsiteY45" fmla="*/ 254317 h 2154555"/>
                <a:gd name="connsiteX46" fmla="*/ 331470 w 1485900"/>
                <a:gd name="connsiteY46" fmla="*/ 245745 h 2154555"/>
                <a:gd name="connsiteX47" fmla="*/ 345758 w 1485900"/>
                <a:gd name="connsiteY47" fmla="*/ 234315 h 2154555"/>
                <a:gd name="connsiteX48" fmla="*/ 397193 w 1485900"/>
                <a:gd name="connsiteY48" fmla="*/ 214312 h 2154555"/>
                <a:gd name="connsiteX49" fmla="*/ 428625 w 1485900"/>
                <a:gd name="connsiteY49" fmla="*/ 220027 h 2154555"/>
                <a:gd name="connsiteX50" fmla="*/ 442913 w 1485900"/>
                <a:gd name="connsiteY50" fmla="*/ 220027 h 2154555"/>
                <a:gd name="connsiteX51" fmla="*/ 434340 w 1485900"/>
                <a:gd name="connsiteY51" fmla="*/ 191452 h 2154555"/>
                <a:gd name="connsiteX52" fmla="*/ 445770 w 1485900"/>
                <a:gd name="connsiteY52" fmla="*/ 182880 h 2154555"/>
                <a:gd name="connsiteX53" fmla="*/ 471488 w 1485900"/>
                <a:gd name="connsiteY53" fmla="*/ 234315 h 2154555"/>
                <a:gd name="connsiteX54" fmla="*/ 460058 w 1485900"/>
                <a:gd name="connsiteY54" fmla="*/ 294322 h 2154555"/>
                <a:gd name="connsiteX55" fmla="*/ 454343 w 1485900"/>
                <a:gd name="connsiteY55" fmla="*/ 317182 h 2154555"/>
                <a:gd name="connsiteX56" fmla="*/ 462915 w 1485900"/>
                <a:gd name="connsiteY56" fmla="*/ 337185 h 2154555"/>
                <a:gd name="connsiteX57" fmla="*/ 480060 w 1485900"/>
                <a:gd name="connsiteY57" fmla="*/ 337185 h 2154555"/>
                <a:gd name="connsiteX58" fmla="*/ 480060 w 1485900"/>
                <a:gd name="connsiteY58" fmla="*/ 314325 h 2154555"/>
                <a:gd name="connsiteX59" fmla="*/ 477203 w 1485900"/>
                <a:gd name="connsiteY59" fmla="*/ 288607 h 2154555"/>
                <a:gd name="connsiteX60" fmla="*/ 494348 w 1485900"/>
                <a:gd name="connsiteY60" fmla="*/ 257175 h 2154555"/>
                <a:gd name="connsiteX61" fmla="*/ 514350 w 1485900"/>
                <a:gd name="connsiteY61" fmla="*/ 277177 h 2154555"/>
                <a:gd name="connsiteX62" fmla="*/ 534353 w 1485900"/>
                <a:gd name="connsiteY62" fmla="*/ 300037 h 2154555"/>
                <a:gd name="connsiteX63" fmla="*/ 554355 w 1485900"/>
                <a:gd name="connsiteY63" fmla="*/ 314325 h 2154555"/>
                <a:gd name="connsiteX64" fmla="*/ 574358 w 1485900"/>
                <a:gd name="connsiteY64" fmla="*/ 320040 h 2154555"/>
                <a:gd name="connsiteX65" fmla="*/ 574358 w 1485900"/>
                <a:gd name="connsiteY65" fmla="*/ 302895 h 2154555"/>
                <a:gd name="connsiteX66" fmla="*/ 545783 w 1485900"/>
                <a:gd name="connsiteY66" fmla="*/ 271462 h 2154555"/>
                <a:gd name="connsiteX67" fmla="*/ 571500 w 1485900"/>
                <a:gd name="connsiteY67" fmla="*/ 268605 h 2154555"/>
                <a:gd name="connsiteX68" fmla="*/ 565785 w 1485900"/>
                <a:gd name="connsiteY68" fmla="*/ 242887 h 2154555"/>
                <a:gd name="connsiteX69" fmla="*/ 554355 w 1485900"/>
                <a:gd name="connsiteY69" fmla="*/ 234315 h 2154555"/>
                <a:gd name="connsiteX70" fmla="*/ 548640 w 1485900"/>
                <a:gd name="connsiteY70" fmla="*/ 194310 h 2154555"/>
                <a:gd name="connsiteX71" fmla="*/ 540068 w 1485900"/>
                <a:gd name="connsiteY71" fmla="*/ 171450 h 2154555"/>
                <a:gd name="connsiteX72" fmla="*/ 540068 w 1485900"/>
                <a:gd name="connsiteY72" fmla="*/ 157162 h 2154555"/>
                <a:gd name="connsiteX73" fmla="*/ 554355 w 1485900"/>
                <a:gd name="connsiteY73" fmla="*/ 160020 h 2154555"/>
                <a:gd name="connsiteX74" fmla="*/ 608648 w 1485900"/>
                <a:gd name="connsiteY74" fmla="*/ 208597 h 2154555"/>
                <a:gd name="connsiteX75" fmla="*/ 631508 w 1485900"/>
                <a:gd name="connsiteY75" fmla="*/ 242887 h 2154555"/>
                <a:gd name="connsiteX76" fmla="*/ 651510 w 1485900"/>
                <a:gd name="connsiteY76" fmla="*/ 245745 h 2154555"/>
                <a:gd name="connsiteX77" fmla="*/ 665798 w 1485900"/>
                <a:gd name="connsiteY77" fmla="*/ 282892 h 2154555"/>
                <a:gd name="connsiteX78" fmla="*/ 682943 w 1485900"/>
                <a:gd name="connsiteY78" fmla="*/ 297180 h 2154555"/>
                <a:gd name="connsiteX79" fmla="*/ 700088 w 1485900"/>
                <a:gd name="connsiteY79" fmla="*/ 291465 h 2154555"/>
                <a:gd name="connsiteX80" fmla="*/ 705803 w 1485900"/>
                <a:gd name="connsiteY80" fmla="*/ 285750 h 2154555"/>
                <a:gd name="connsiteX81" fmla="*/ 688658 w 1485900"/>
                <a:gd name="connsiteY81" fmla="*/ 262890 h 2154555"/>
                <a:gd name="connsiteX82" fmla="*/ 688658 w 1485900"/>
                <a:gd name="connsiteY82" fmla="*/ 222885 h 2154555"/>
                <a:gd name="connsiteX83" fmla="*/ 660083 w 1485900"/>
                <a:gd name="connsiteY83" fmla="*/ 205740 h 2154555"/>
                <a:gd name="connsiteX84" fmla="*/ 622935 w 1485900"/>
                <a:gd name="connsiteY84" fmla="*/ 151447 h 2154555"/>
                <a:gd name="connsiteX85" fmla="*/ 622935 w 1485900"/>
                <a:gd name="connsiteY85" fmla="*/ 151447 h 2154555"/>
                <a:gd name="connsiteX86" fmla="*/ 617220 w 1485900"/>
                <a:gd name="connsiteY86" fmla="*/ 137160 h 2154555"/>
                <a:gd name="connsiteX87" fmla="*/ 651510 w 1485900"/>
                <a:gd name="connsiteY87" fmla="*/ 137160 h 2154555"/>
                <a:gd name="connsiteX88" fmla="*/ 688658 w 1485900"/>
                <a:gd name="connsiteY88" fmla="*/ 174307 h 2154555"/>
                <a:gd name="connsiteX89" fmla="*/ 688658 w 1485900"/>
                <a:gd name="connsiteY89" fmla="*/ 194310 h 2154555"/>
                <a:gd name="connsiteX90" fmla="*/ 685800 w 1485900"/>
                <a:gd name="connsiteY90" fmla="*/ 205740 h 2154555"/>
                <a:gd name="connsiteX91" fmla="*/ 697230 w 1485900"/>
                <a:gd name="connsiteY91" fmla="*/ 208597 h 2154555"/>
                <a:gd name="connsiteX92" fmla="*/ 705803 w 1485900"/>
                <a:gd name="connsiteY92" fmla="*/ 205740 h 2154555"/>
                <a:gd name="connsiteX93" fmla="*/ 748665 w 1485900"/>
                <a:gd name="connsiteY93" fmla="*/ 220027 h 2154555"/>
                <a:gd name="connsiteX94" fmla="*/ 748665 w 1485900"/>
                <a:gd name="connsiteY94" fmla="*/ 202882 h 2154555"/>
                <a:gd name="connsiteX95" fmla="*/ 725805 w 1485900"/>
                <a:gd name="connsiteY95" fmla="*/ 180022 h 2154555"/>
                <a:gd name="connsiteX96" fmla="*/ 682943 w 1485900"/>
                <a:gd name="connsiteY96" fmla="*/ 111442 h 2154555"/>
                <a:gd name="connsiteX97" fmla="*/ 711518 w 1485900"/>
                <a:gd name="connsiteY97" fmla="*/ 117157 h 2154555"/>
                <a:gd name="connsiteX98" fmla="*/ 742950 w 1485900"/>
                <a:gd name="connsiteY98" fmla="*/ 108585 h 2154555"/>
                <a:gd name="connsiteX99" fmla="*/ 777240 w 1485900"/>
                <a:gd name="connsiteY99" fmla="*/ 140017 h 2154555"/>
                <a:gd name="connsiteX100" fmla="*/ 788670 w 1485900"/>
                <a:gd name="connsiteY100" fmla="*/ 160020 h 2154555"/>
                <a:gd name="connsiteX101" fmla="*/ 797243 w 1485900"/>
                <a:gd name="connsiteY101" fmla="*/ 180022 h 2154555"/>
                <a:gd name="connsiteX102" fmla="*/ 808673 w 1485900"/>
                <a:gd name="connsiteY102" fmla="*/ 182880 h 2154555"/>
                <a:gd name="connsiteX103" fmla="*/ 822960 w 1485900"/>
                <a:gd name="connsiteY103" fmla="*/ 162877 h 2154555"/>
                <a:gd name="connsiteX104" fmla="*/ 814388 w 1485900"/>
                <a:gd name="connsiteY104" fmla="*/ 120015 h 2154555"/>
                <a:gd name="connsiteX105" fmla="*/ 760095 w 1485900"/>
                <a:gd name="connsiteY105" fmla="*/ 82867 h 2154555"/>
                <a:gd name="connsiteX106" fmla="*/ 674370 w 1485900"/>
                <a:gd name="connsiteY106" fmla="*/ 88582 h 2154555"/>
                <a:gd name="connsiteX107" fmla="*/ 654368 w 1485900"/>
                <a:gd name="connsiteY107" fmla="*/ 85725 h 2154555"/>
                <a:gd name="connsiteX108" fmla="*/ 645795 w 1485900"/>
                <a:gd name="connsiteY108" fmla="*/ 77152 h 2154555"/>
                <a:gd name="connsiteX109" fmla="*/ 642938 w 1485900"/>
                <a:gd name="connsiteY109" fmla="*/ 54292 h 2154555"/>
                <a:gd name="connsiteX110" fmla="*/ 685800 w 1485900"/>
                <a:gd name="connsiteY110" fmla="*/ 54292 h 2154555"/>
                <a:gd name="connsiteX111" fmla="*/ 694373 w 1485900"/>
                <a:gd name="connsiteY111" fmla="*/ 48577 h 2154555"/>
                <a:gd name="connsiteX112" fmla="*/ 657225 w 1485900"/>
                <a:gd name="connsiteY112" fmla="*/ 8572 h 2154555"/>
                <a:gd name="connsiteX113" fmla="*/ 682943 w 1485900"/>
                <a:gd name="connsiteY113" fmla="*/ 8572 h 2154555"/>
                <a:gd name="connsiteX114" fmla="*/ 731520 w 1485900"/>
                <a:gd name="connsiteY114" fmla="*/ 14287 h 2154555"/>
                <a:gd name="connsiteX115" fmla="*/ 762953 w 1485900"/>
                <a:gd name="connsiteY115" fmla="*/ 25717 h 2154555"/>
                <a:gd name="connsiteX116" fmla="*/ 774383 w 1485900"/>
                <a:gd name="connsiteY116" fmla="*/ 34290 h 2154555"/>
                <a:gd name="connsiteX117" fmla="*/ 774383 w 1485900"/>
                <a:gd name="connsiteY117" fmla="*/ 51435 h 2154555"/>
                <a:gd name="connsiteX118" fmla="*/ 808673 w 1485900"/>
                <a:gd name="connsiteY118" fmla="*/ 77152 h 2154555"/>
                <a:gd name="connsiteX119" fmla="*/ 822960 w 1485900"/>
                <a:gd name="connsiteY119" fmla="*/ 85725 h 2154555"/>
                <a:gd name="connsiteX120" fmla="*/ 831533 w 1485900"/>
                <a:gd name="connsiteY120" fmla="*/ 82867 h 2154555"/>
                <a:gd name="connsiteX121" fmla="*/ 834390 w 1485900"/>
                <a:gd name="connsiteY121" fmla="*/ 57150 h 2154555"/>
                <a:gd name="connsiteX122" fmla="*/ 860108 w 1485900"/>
                <a:gd name="connsiteY122" fmla="*/ 0 h 2154555"/>
                <a:gd name="connsiteX123" fmla="*/ 882968 w 1485900"/>
                <a:gd name="connsiteY123" fmla="*/ 8572 h 2154555"/>
                <a:gd name="connsiteX124" fmla="*/ 942975 w 1485900"/>
                <a:gd name="connsiteY124" fmla="*/ 25717 h 2154555"/>
                <a:gd name="connsiteX125" fmla="*/ 954405 w 1485900"/>
                <a:gd name="connsiteY125" fmla="*/ 25717 h 2154555"/>
                <a:gd name="connsiteX126" fmla="*/ 962978 w 1485900"/>
                <a:gd name="connsiteY126" fmla="*/ 17145 h 2154555"/>
                <a:gd name="connsiteX127" fmla="*/ 974408 w 1485900"/>
                <a:gd name="connsiteY127" fmla="*/ 34290 h 2154555"/>
                <a:gd name="connsiteX128" fmla="*/ 968693 w 1485900"/>
                <a:gd name="connsiteY128" fmla="*/ 65722 h 2154555"/>
                <a:gd name="connsiteX129" fmla="*/ 971550 w 1485900"/>
                <a:gd name="connsiteY129" fmla="*/ 74295 h 2154555"/>
                <a:gd name="connsiteX130" fmla="*/ 994410 w 1485900"/>
                <a:gd name="connsiteY130" fmla="*/ 62865 h 2154555"/>
                <a:gd name="connsiteX131" fmla="*/ 1020128 w 1485900"/>
                <a:gd name="connsiteY131" fmla="*/ 57150 h 2154555"/>
                <a:gd name="connsiteX132" fmla="*/ 1054418 w 1485900"/>
                <a:gd name="connsiteY132" fmla="*/ 20002 h 2154555"/>
                <a:gd name="connsiteX133" fmla="*/ 1088708 w 1485900"/>
                <a:gd name="connsiteY133" fmla="*/ 28575 h 2154555"/>
                <a:gd name="connsiteX134" fmla="*/ 1102995 w 1485900"/>
                <a:gd name="connsiteY134" fmla="*/ 45720 h 2154555"/>
                <a:gd name="connsiteX135" fmla="*/ 1117283 w 1485900"/>
                <a:gd name="connsiteY135" fmla="*/ 51435 h 2154555"/>
                <a:gd name="connsiteX136" fmla="*/ 1160145 w 1485900"/>
                <a:gd name="connsiteY136" fmla="*/ 22860 h 2154555"/>
                <a:gd name="connsiteX137" fmla="*/ 1174433 w 1485900"/>
                <a:gd name="connsiteY137" fmla="*/ 40005 h 2154555"/>
                <a:gd name="connsiteX138" fmla="*/ 1174433 w 1485900"/>
                <a:gd name="connsiteY138" fmla="*/ 40005 h 2154555"/>
                <a:gd name="connsiteX139" fmla="*/ 1151573 w 1485900"/>
                <a:gd name="connsiteY139" fmla="*/ 88582 h 2154555"/>
                <a:gd name="connsiteX140" fmla="*/ 1151573 w 1485900"/>
                <a:gd name="connsiteY140" fmla="*/ 111442 h 2154555"/>
                <a:gd name="connsiteX141" fmla="*/ 1145858 w 1485900"/>
                <a:gd name="connsiteY141" fmla="*/ 117157 h 2154555"/>
                <a:gd name="connsiteX142" fmla="*/ 1171575 w 1485900"/>
                <a:gd name="connsiteY142" fmla="*/ 102870 h 2154555"/>
                <a:gd name="connsiteX143" fmla="*/ 1194435 w 1485900"/>
                <a:gd name="connsiteY143" fmla="*/ 82867 h 2154555"/>
                <a:gd name="connsiteX144" fmla="*/ 1203008 w 1485900"/>
                <a:gd name="connsiteY144" fmla="*/ 100012 h 2154555"/>
                <a:gd name="connsiteX145" fmla="*/ 1228725 w 1485900"/>
                <a:gd name="connsiteY145" fmla="*/ 105727 h 2154555"/>
                <a:gd name="connsiteX146" fmla="*/ 1243013 w 1485900"/>
                <a:gd name="connsiteY146" fmla="*/ 125730 h 2154555"/>
                <a:gd name="connsiteX147" fmla="*/ 1263015 w 1485900"/>
                <a:gd name="connsiteY147" fmla="*/ 142875 h 2154555"/>
                <a:gd name="connsiteX148" fmla="*/ 1263015 w 1485900"/>
                <a:gd name="connsiteY148" fmla="*/ 142875 h 2154555"/>
                <a:gd name="connsiteX149" fmla="*/ 1234440 w 1485900"/>
                <a:gd name="connsiteY149" fmla="*/ 200025 h 2154555"/>
                <a:gd name="connsiteX150" fmla="*/ 1214438 w 1485900"/>
                <a:gd name="connsiteY150" fmla="*/ 205740 h 2154555"/>
                <a:gd name="connsiteX151" fmla="*/ 1191578 w 1485900"/>
                <a:gd name="connsiteY151" fmla="*/ 202882 h 2154555"/>
                <a:gd name="connsiteX152" fmla="*/ 1174433 w 1485900"/>
                <a:gd name="connsiteY152" fmla="*/ 220027 h 2154555"/>
                <a:gd name="connsiteX153" fmla="*/ 1148715 w 1485900"/>
                <a:gd name="connsiteY153" fmla="*/ 217170 h 2154555"/>
                <a:gd name="connsiteX154" fmla="*/ 1111568 w 1485900"/>
                <a:gd name="connsiteY154" fmla="*/ 200025 h 2154555"/>
                <a:gd name="connsiteX155" fmla="*/ 1068705 w 1485900"/>
                <a:gd name="connsiteY155" fmla="*/ 217170 h 2154555"/>
                <a:gd name="connsiteX156" fmla="*/ 1025843 w 1485900"/>
                <a:gd name="connsiteY156" fmla="*/ 211455 h 2154555"/>
                <a:gd name="connsiteX157" fmla="*/ 1011555 w 1485900"/>
                <a:gd name="connsiteY157" fmla="*/ 214312 h 2154555"/>
                <a:gd name="connsiteX158" fmla="*/ 1042988 w 1485900"/>
                <a:gd name="connsiteY158" fmla="*/ 240030 h 2154555"/>
                <a:gd name="connsiteX159" fmla="*/ 1005840 w 1485900"/>
                <a:gd name="connsiteY159" fmla="*/ 262890 h 2154555"/>
                <a:gd name="connsiteX160" fmla="*/ 980123 w 1485900"/>
                <a:gd name="connsiteY160" fmla="*/ 274320 h 2154555"/>
                <a:gd name="connsiteX161" fmla="*/ 980123 w 1485900"/>
                <a:gd name="connsiteY161" fmla="*/ 288607 h 2154555"/>
                <a:gd name="connsiteX162" fmla="*/ 982980 w 1485900"/>
                <a:gd name="connsiteY162" fmla="*/ 308610 h 2154555"/>
                <a:gd name="connsiteX163" fmla="*/ 997268 w 1485900"/>
                <a:gd name="connsiteY163" fmla="*/ 305752 h 2154555"/>
                <a:gd name="connsiteX164" fmla="*/ 1020128 w 1485900"/>
                <a:gd name="connsiteY164" fmla="*/ 285750 h 2154555"/>
                <a:gd name="connsiteX165" fmla="*/ 1068705 w 1485900"/>
                <a:gd name="connsiteY165" fmla="*/ 257175 h 2154555"/>
                <a:gd name="connsiteX166" fmla="*/ 1120140 w 1485900"/>
                <a:gd name="connsiteY166" fmla="*/ 257175 h 2154555"/>
                <a:gd name="connsiteX167" fmla="*/ 1154430 w 1485900"/>
                <a:gd name="connsiteY167" fmla="*/ 254317 h 2154555"/>
                <a:gd name="connsiteX168" fmla="*/ 1168718 w 1485900"/>
                <a:gd name="connsiteY168" fmla="*/ 274320 h 2154555"/>
                <a:gd name="connsiteX169" fmla="*/ 1157288 w 1485900"/>
                <a:gd name="connsiteY169" fmla="*/ 291465 h 2154555"/>
                <a:gd name="connsiteX170" fmla="*/ 1134428 w 1485900"/>
                <a:gd name="connsiteY170" fmla="*/ 314325 h 2154555"/>
                <a:gd name="connsiteX171" fmla="*/ 1114425 w 1485900"/>
                <a:gd name="connsiteY171" fmla="*/ 334327 h 2154555"/>
                <a:gd name="connsiteX172" fmla="*/ 1120140 w 1485900"/>
                <a:gd name="connsiteY172" fmla="*/ 360045 h 2154555"/>
                <a:gd name="connsiteX173" fmla="*/ 1148715 w 1485900"/>
                <a:gd name="connsiteY173" fmla="*/ 342900 h 2154555"/>
                <a:gd name="connsiteX174" fmla="*/ 1174433 w 1485900"/>
                <a:gd name="connsiteY174" fmla="*/ 311467 h 2154555"/>
                <a:gd name="connsiteX175" fmla="*/ 1208723 w 1485900"/>
                <a:gd name="connsiteY175" fmla="*/ 262890 h 2154555"/>
                <a:gd name="connsiteX176" fmla="*/ 1217295 w 1485900"/>
                <a:gd name="connsiteY176" fmla="*/ 242887 h 2154555"/>
                <a:gd name="connsiteX177" fmla="*/ 1237298 w 1485900"/>
                <a:gd name="connsiteY177" fmla="*/ 242887 h 2154555"/>
                <a:gd name="connsiteX178" fmla="*/ 1248728 w 1485900"/>
                <a:gd name="connsiteY178" fmla="*/ 268605 h 2154555"/>
                <a:gd name="connsiteX179" fmla="*/ 1240155 w 1485900"/>
                <a:gd name="connsiteY179" fmla="*/ 334327 h 2154555"/>
                <a:gd name="connsiteX180" fmla="*/ 1231583 w 1485900"/>
                <a:gd name="connsiteY180" fmla="*/ 365760 h 2154555"/>
                <a:gd name="connsiteX181" fmla="*/ 1191578 w 1485900"/>
                <a:gd name="connsiteY181" fmla="*/ 440055 h 2154555"/>
                <a:gd name="connsiteX182" fmla="*/ 1183005 w 1485900"/>
                <a:gd name="connsiteY182" fmla="*/ 474345 h 2154555"/>
                <a:gd name="connsiteX183" fmla="*/ 1177290 w 1485900"/>
                <a:gd name="connsiteY183" fmla="*/ 497205 h 2154555"/>
                <a:gd name="connsiteX184" fmla="*/ 1208723 w 1485900"/>
                <a:gd name="connsiteY184" fmla="*/ 468630 h 2154555"/>
                <a:gd name="connsiteX185" fmla="*/ 1245870 w 1485900"/>
                <a:gd name="connsiteY185" fmla="*/ 400050 h 2154555"/>
                <a:gd name="connsiteX186" fmla="*/ 1260158 w 1485900"/>
                <a:gd name="connsiteY186" fmla="*/ 377190 h 2154555"/>
                <a:gd name="connsiteX187" fmla="*/ 1291590 w 1485900"/>
                <a:gd name="connsiteY187" fmla="*/ 317182 h 2154555"/>
                <a:gd name="connsiteX188" fmla="*/ 1300163 w 1485900"/>
                <a:gd name="connsiteY188" fmla="*/ 342900 h 2154555"/>
                <a:gd name="connsiteX189" fmla="*/ 1311593 w 1485900"/>
                <a:gd name="connsiteY189" fmla="*/ 348615 h 2154555"/>
                <a:gd name="connsiteX190" fmla="*/ 1323023 w 1485900"/>
                <a:gd name="connsiteY190" fmla="*/ 328612 h 2154555"/>
                <a:gd name="connsiteX191" fmla="*/ 1343025 w 1485900"/>
                <a:gd name="connsiteY191" fmla="*/ 345757 h 2154555"/>
                <a:gd name="connsiteX192" fmla="*/ 1357313 w 1485900"/>
                <a:gd name="connsiteY192" fmla="*/ 348615 h 2154555"/>
                <a:gd name="connsiteX193" fmla="*/ 1363028 w 1485900"/>
                <a:gd name="connsiteY193" fmla="*/ 322897 h 2154555"/>
                <a:gd name="connsiteX194" fmla="*/ 1368743 w 1485900"/>
                <a:gd name="connsiteY194" fmla="*/ 280035 h 2154555"/>
                <a:gd name="connsiteX195" fmla="*/ 1394460 w 1485900"/>
                <a:gd name="connsiteY195" fmla="*/ 268605 h 2154555"/>
                <a:gd name="connsiteX196" fmla="*/ 1434465 w 1485900"/>
                <a:gd name="connsiteY196" fmla="*/ 282892 h 2154555"/>
                <a:gd name="connsiteX197" fmla="*/ 1434465 w 1485900"/>
                <a:gd name="connsiteY197" fmla="*/ 282892 h 2154555"/>
                <a:gd name="connsiteX198" fmla="*/ 1485900 w 1485900"/>
                <a:gd name="connsiteY198" fmla="*/ 320040 h 2154555"/>
                <a:gd name="connsiteX199" fmla="*/ 1480185 w 1485900"/>
                <a:gd name="connsiteY199" fmla="*/ 351472 h 2154555"/>
                <a:gd name="connsiteX200" fmla="*/ 1468755 w 1485900"/>
                <a:gd name="connsiteY200" fmla="*/ 377190 h 2154555"/>
                <a:gd name="connsiteX201" fmla="*/ 1437323 w 1485900"/>
                <a:gd name="connsiteY201" fmla="*/ 400050 h 2154555"/>
                <a:gd name="connsiteX202" fmla="*/ 1414463 w 1485900"/>
                <a:gd name="connsiteY202" fmla="*/ 408622 h 2154555"/>
                <a:gd name="connsiteX203" fmla="*/ 1428750 w 1485900"/>
                <a:gd name="connsiteY203" fmla="*/ 437197 h 2154555"/>
                <a:gd name="connsiteX204" fmla="*/ 1385888 w 1485900"/>
                <a:gd name="connsiteY204" fmla="*/ 462915 h 2154555"/>
                <a:gd name="connsiteX205" fmla="*/ 1354455 w 1485900"/>
                <a:gd name="connsiteY205" fmla="*/ 454342 h 2154555"/>
                <a:gd name="connsiteX206" fmla="*/ 1345883 w 1485900"/>
                <a:gd name="connsiteY206" fmla="*/ 468630 h 2154555"/>
                <a:gd name="connsiteX207" fmla="*/ 1320165 w 1485900"/>
                <a:gd name="connsiteY207" fmla="*/ 474345 h 2154555"/>
                <a:gd name="connsiteX208" fmla="*/ 1294448 w 1485900"/>
                <a:gd name="connsiteY208" fmla="*/ 471487 h 2154555"/>
                <a:gd name="connsiteX209" fmla="*/ 1271588 w 1485900"/>
                <a:gd name="connsiteY209" fmla="*/ 477202 h 2154555"/>
                <a:gd name="connsiteX210" fmla="*/ 1271588 w 1485900"/>
                <a:gd name="connsiteY210" fmla="*/ 497205 h 2154555"/>
                <a:gd name="connsiteX211" fmla="*/ 1288733 w 1485900"/>
                <a:gd name="connsiteY211" fmla="*/ 505777 h 2154555"/>
                <a:gd name="connsiteX212" fmla="*/ 1314450 w 1485900"/>
                <a:gd name="connsiteY212" fmla="*/ 485775 h 2154555"/>
                <a:gd name="connsiteX213" fmla="*/ 1343025 w 1485900"/>
                <a:gd name="connsiteY213" fmla="*/ 500062 h 2154555"/>
                <a:gd name="connsiteX214" fmla="*/ 1403033 w 1485900"/>
                <a:gd name="connsiteY214" fmla="*/ 488632 h 2154555"/>
                <a:gd name="connsiteX215" fmla="*/ 1383030 w 1485900"/>
                <a:gd name="connsiteY215" fmla="*/ 517207 h 2154555"/>
                <a:gd name="connsiteX216" fmla="*/ 1348740 w 1485900"/>
                <a:gd name="connsiteY216" fmla="*/ 534352 h 2154555"/>
                <a:gd name="connsiteX217" fmla="*/ 1314450 w 1485900"/>
                <a:gd name="connsiteY217" fmla="*/ 534352 h 2154555"/>
                <a:gd name="connsiteX218" fmla="*/ 1300163 w 1485900"/>
                <a:gd name="connsiteY218" fmla="*/ 531495 h 2154555"/>
                <a:gd name="connsiteX219" fmla="*/ 1288733 w 1485900"/>
                <a:gd name="connsiteY219" fmla="*/ 577215 h 2154555"/>
                <a:gd name="connsiteX220" fmla="*/ 1288733 w 1485900"/>
                <a:gd name="connsiteY220" fmla="*/ 600075 h 2154555"/>
                <a:gd name="connsiteX221" fmla="*/ 1311593 w 1485900"/>
                <a:gd name="connsiteY221" fmla="*/ 594360 h 2154555"/>
                <a:gd name="connsiteX222" fmla="*/ 1305878 w 1485900"/>
                <a:gd name="connsiteY222" fmla="*/ 577215 h 2154555"/>
                <a:gd name="connsiteX223" fmla="*/ 1340168 w 1485900"/>
                <a:gd name="connsiteY223" fmla="*/ 557212 h 2154555"/>
                <a:gd name="connsiteX224" fmla="*/ 1340168 w 1485900"/>
                <a:gd name="connsiteY224" fmla="*/ 557212 h 2154555"/>
                <a:gd name="connsiteX225" fmla="*/ 1354455 w 1485900"/>
                <a:gd name="connsiteY225" fmla="*/ 582930 h 2154555"/>
                <a:gd name="connsiteX226" fmla="*/ 1343025 w 1485900"/>
                <a:gd name="connsiteY226" fmla="*/ 608647 h 2154555"/>
                <a:gd name="connsiteX227" fmla="*/ 1328738 w 1485900"/>
                <a:gd name="connsiteY227" fmla="*/ 594360 h 2154555"/>
                <a:gd name="connsiteX228" fmla="*/ 1311593 w 1485900"/>
                <a:gd name="connsiteY228" fmla="*/ 622935 h 2154555"/>
                <a:gd name="connsiteX229" fmla="*/ 1311593 w 1485900"/>
                <a:gd name="connsiteY229" fmla="*/ 674370 h 2154555"/>
                <a:gd name="connsiteX230" fmla="*/ 1300163 w 1485900"/>
                <a:gd name="connsiteY230" fmla="*/ 691515 h 2154555"/>
                <a:gd name="connsiteX231" fmla="*/ 1297305 w 1485900"/>
                <a:gd name="connsiteY231" fmla="*/ 714375 h 2154555"/>
                <a:gd name="connsiteX232" fmla="*/ 1268730 w 1485900"/>
                <a:gd name="connsiteY232" fmla="*/ 737235 h 2154555"/>
                <a:gd name="connsiteX233" fmla="*/ 1277303 w 1485900"/>
                <a:gd name="connsiteY233" fmla="*/ 748665 h 2154555"/>
                <a:gd name="connsiteX234" fmla="*/ 1260158 w 1485900"/>
                <a:gd name="connsiteY234" fmla="*/ 857250 h 2154555"/>
                <a:gd name="connsiteX235" fmla="*/ 1257300 w 1485900"/>
                <a:gd name="connsiteY235" fmla="*/ 880110 h 2154555"/>
                <a:gd name="connsiteX236" fmla="*/ 1280160 w 1485900"/>
                <a:gd name="connsiteY236" fmla="*/ 848677 h 2154555"/>
                <a:gd name="connsiteX237" fmla="*/ 1320165 w 1485900"/>
                <a:gd name="connsiteY237" fmla="*/ 874395 h 2154555"/>
                <a:gd name="connsiteX238" fmla="*/ 1291590 w 1485900"/>
                <a:gd name="connsiteY238" fmla="*/ 871537 h 2154555"/>
                <a:gd name="connsiteX239" fmla="*/ 1283018 w 1485900"/>
                <a:gd name="connsiteY239" fmla="*/ 897255 h 2154555"/>
                <a:gd name="connsiteX240" fmla="*/ 1288733 w 1485900"/>
                <a:gd name="connsiteY240" fmla="*/ 917257 h 2154555"/>
                <a:gd name="connsiteX241" fmla="*/ 1308735 w 1485900"/>
                <a:gd name="connsiteY241" fmla="*/ 902970 h 2154555"/>
                <a:gd name="connsiteX242" fmla="*/ 1320165 w 1485900"/>
                <a:gd name="connsiteY242" fmla="*/ 920115 h 2154555"/>
                <a:gd name="connsiteX243" fmla="*/ 1343025 w 1485900"/>
                <a:gd name="connsiteY243" fmla="*/ 920115 h 2154555"/>
                <a:gd name="connsiteX244" fmla="*/ 1343025 w 1485900"/>
                <a:gd name="connsiteY244" fmla="*/ 954405 h 2154555"/>
                <a:gd name="connsiteX245" fmla="*/ 1328738 w 1485900"/>
                <a:gd name="connsiteY245" fmla="*/ 962977 h 2154555"/>
                <a:gd name="connsiteX246" fmla="*/ 1305878 w 1485900"/>
                <a:gd name="connsiteY246" fmla="*/ 957262 h 2154555"/>
                <a:gd name="connsiteX247" fmla="*/ 1271588 w 1485900"/>
                <a:gd name="connsiteY247" fmla="*/ 954405 h 2154555"/>
                <a:gd name="connsiteX248" fmla="*/ 1268730 w 1485900"/>
                <a:gd name="connsiteY248" fmla="*/ 980122 h 2154555"/>
                <a:gd name="connsiteX249" fmla="*/ 1245870 w 1485900"/>
                <a:gd name="connsiteY249" fmla="*/ 968692 h 2154555"/>
                <a:gd name="connsiteX250" fmla="*/ 1234440 w 1485900"/>
                <a:gd name="connsiteY250" fmla="*/ 977265 h 2154555"/>
                <a:gd name="connsiteX251" fmla="*/ 1234440 w 1485900"/>
                <a:gd name="connsiteY251" fmla="*/ 1000125 h 2154555"/>
                <a:gd name="connsiteX252" fmla="*/ 1265873 w 1485900"/>
                <a:gd name="connsiteY252" fmla="*/ 1040130 h 2154555"/>
                <a:gd name="connsiteX253" fmla="*/ 1297305 w 1485900"/>
                <a:gd name="connsiteY253" fmla="*/ 1028700 h 2154555"/>
                <a:gd name="connsiteX254" fmla="*/ 1280160 w 1485900"/>
                <a:gd name="connsiteY254" fmla="*/ 1054417 h 2154555"/>
                <a:gd name="connsiteX255" fmla="*/ 1297305 w 1485900"/>
                <a:gd name="connsiteY255" fmla="*/ 1071562 h 2154555"/>
                <a:gd name="connsiteX256" fmla="*/ 1308735 w 1485900"/>
                <a:gd name="connsiteY256" fmla="*/ 1100137 h 2154555"/>
                <a:gd name="connsiteX257" fmla="*/ 1311593 w 1485900"/>
                <a:gd name="connsiteY257" fmla="*/ 1131570 h 2154555"/>
                <a:gd name="connsiteX258" fmla="*/ 1288733 w 1485900"/>
                <a:gd name="connsiteY258" fmla="*/ 1114425 h 2154555"/>
                <a:gd name="connsiteX259" fmla="*/ 1265873 w 1485900"/>
                <a:gd name="connsiteY259" fmla="*/ 1105852 h 2154555"/>
                <a:gd name="connsiteX260" fmla="*/ 1240155 w 1485900"/>
                <a:gd name="connsiteY260" fmla="*/ 1117282 h 2154555"/>
                <a:gd name="connsiteX261" fmla="*/ 1263015 w 1485900"/>
                <a:gd name="connsiteY261" fmla="*/ 1128712 h 2154555"/>
                <a:gd name="connsiteX262" fmla="*/ 1251585 w 1485900"/>
                <a:gd name="connsiteY262" fmla="*/ 1157287 h 2154555"/>
                <a:gd name="connsiteX263" fmla="*/ 1283018 w 1485900"/>
                <a:gd name="connsiteY263" fmla="*/ 1145857 h 2154555"/>
                <a:gd name="connsiteX264" fmla="*/ 1263015 w 1485900"/>
                <a:gd name="connsiteY264" fmla="*/ 1185862 h 2154555"/>
                <a:gd name="connsiteX265" fmla="*/ 1294448 w 1485900"/>
                <a:gd name="connsiteY265" fmla="*/ 1194435 h 2154555"/>
                <a:gd name="connsiteX266" fmla="*/ 1308735 w 1485900"/>
                <a:gd name="connsiteY266" fmla="*/ 1183005 h 2154555"/>
                <a:gd name="connsiteX267" fmla="*/ 1308735 w 1485900"/>
                <a:gd name="connsiteY267" fmla="*/ 1205865 h 2154555"/>
                <a:gd name="connsiteX268" fmla="*/ 1317308 w 1485900"/>
                <a:gd name="connsiteY268" fmla="*/ 1225867 h 2154555"/>
                <a:gd name="connsiteX269" fmla="*/ 1300163 w 1485900"/>
                <a:gd name="connsiteY269" fmla="*/ 1208722 h 2154555"/>
                <a:gd name="connsiteX270" fmla="*/ 1260158 w 1485900"/>
                <a:gd name="connsiteY270" fmla="*/ 1200150 h 2154555"/>
                <a:gd name="connsiteX271" fmla="*/ 1243013 w 1485900"/>
                <a:gd name="connsiteY271" fmla="*/ 1220152 h 2154555"/>
                <a:gd name="connsiteX272" fmla="*/ 1260158 w 1485900"/>
                <a:gd name="connsiteY272" fmla="*/ 1248727 h 2154555"/>
                <a:gd name="connsiteX273" fmla="*/ 1277303 w 1485900"/>
                <a:gd name="connsiteY273" fmla="*/ 1257300 h 2154555"/>
                <a:gd name="connsiteX274" fmla="*/ 1288733 w 1485900"/>
                <a:gd name="connsiteY274" fmla="*/ 1257300 h 2154555"/>
                <a:gd name="connsiteX275" fmla="*/ 1285875 w 1485900"/>
                <a:gd name="connsiteY275" fmla="*/ 1274445 h 2154555"/>
                <a:gd name="connsiteX276" fmla="*/ 1274445 w 1485900"/>
                <a:gd name="connsiteY276" fmla="*/ 1294447 h 2154555"/>
                <a:gd name="connsiteX277" fmla="*/ 1257300 w 1485900"/>
                <a:gd name="connsiteY277" fmla="*/ 1300162 h 2154555"/>
                <a:gd name="connsiteX278" fmla="*/ 1243013 w 1485900"/>
                <a:gd name="connsiteY278" fmla="*/ 1300162 h 2154555"/>
                <a:gd name="connsiteX279" fmla="*/ 1211580 w 1485900"/>
                <a:gd name="connsiteY279" fmla="*/ 1288732 h 2154555"/>
                <a:gd name="connsiteX280" fmla="*/ 1203008 w 1485900"/>
                <a:gd name="connsiteY280" fmla="*/ 1260157 h 2154555"/>
                <a:gd name="connsiteX281" fmla="*/ 1174433 w 1485900"/>
                <a:gd name="connsiteY281" fmla="*/ 1268730 h 2154555"/>
                <a:gd name="connsiteX282" fmla="*/ 1180148 w 1485900"/>
                <a:gd name="connsiteY282" fmla="*/ 1285875 h 2154555"/>
                <a:gd name="connsiteX283" fmla="*/ 1160145 w 1485900"/>
                <a:gd name="connsiteY283" fmla="*/ 1303020 h 2154555"/>
                <a:gd name="connsiteX284" fmla="*/ 1134428 w 1485900"/>
                <a:gd name="connsiteY284" fmla="*/ 1300162 h 2154555"/>
                <a:gd name="connsiteX285" fmla="*/ 1134428 w 1485900"/>
                <a:gd name="connsiteY285" fmla="*/ 1323022 h 2154555"/>
                <a:gd name="connsiteX286" fmla="*/ 1157288 w 1485900"/>
                <a:gd name="connsiteY286" fmla="*/ 1317307 h 2154555"/>
                <a:gd name="connsiteX287" fmla="*/ 1165860 w 1485900"/>
                <a:gd name="connsiteY287" fmla="*/ 1337310 h 2154555"/>
                <a:gd name="connsiteX288" fmla="*/ 1125855 w 1485900"/>
                <a:gd name="connsiteY288" fmla="*/ 1345882 h 2154555"/>
                <a:gd name="connsiteX289" fmla="*/ 1143000 w 1485900"/>
                <a:gd name="connsiteY289" fmla="*/ 1365885 h 2154555"/>
                <a:gd name="connsiteX290" fmla="*/ 1174433 w 1485900"/>
                <a:gd name="connsiteY290" fmla="*/ 1348740 h 2154555"/>
                <a:gd name="connsiteX291" fmla="*/ 1188720 w 1485900"/>
                <a:gd name="connsiteY291" fmla="*/ 1371600 h 2154555"/>
                <a:gd name="connsiteX292" fmla="*/ 1157288 w 1485900"/>
                <a:gd name="connsiteY292" fmla="*/ 1374457 h 2154555"/>
                <a:gd name="connsiteX293" fmla="*/ 1165860 w 1485900"/>
                <a:gd name="connsiteY293" fmla="*/ 1405890 h 2154555"/>
                <a:gd name="connsiteX294" fmla="*/ 1165860 w 1485900"/>
                <a:gd name="connsiteY294" fmla="*/ 1405890 h 2154555"/>
                <a:gd name="connsiteX295" fmla="*/ 1188720 w 1485900"/>
                <a:gd name="connsiteY295" fmla="*/ 1385887 h 2154555"/>
                <a:gd name="connsiteX296" fmla="*/ 1225868 w 1485900"/>
                <a:gd name="connsiteY296" fmla="*/ 1417320 h 2154555"/>
                <a:gd name="connsiteX297" fmla="*/ 1228725 w 1485900"/>
                <a:gd name="connsiteY297" fmla="*/ 1448752 h 2154555"/>
                <a:gd name="connsiteX298" fmla="*/ 1251585 w 1485900"/>
                <a:gd name="connsiteY298" fmla="*/ 1434465 h 2154555"/>
                <a:gd name="connsiteX299" fmla="*/ 1243013 w 1485900"/>
                <a:gd name="connsiteY299" fmla="*/ 1460182 h 2154555"/>
                <a:gd name="connsiteX300" fmla="*/ 1248728 w 1485900"/>
                <a:gd name="connsiteY300" fmla="*/ 1480185 h 2154555"/>
                <a:gd name="connsiteX301" fmla="*/ 1265873 w 1485900"/>
                <a:gd name="connsiteY301" fmla="*/ 1463040 h 2154555"/>
                <a:gd name="connsiteX302" fmla="*/ 1263015 w 1485900"/>
                <a:gd name="connsiteY302" fmla="*/ 1494472 h 2154555"/>
                <a:gd name="connsiteX303" fmla="*/ 1268730 w 1485900"/>
                <a:gd name="connsiteY303" fmla="*/ 1531620 h 2154555"/>
                <a:gd name="connsiteX304" fmla="*/ 1243013 w 1485900"/>
                <a:gd name="connsiteY304" fmla="*/ 1505902 h 2154555"/>
                <a:gd name="connsiteX305" fmla="*/ 1225868 w 1485900"/>
                <a:gd name="connsiteY305" fmla="*/ 1531620 h 2154555"/>
                <a:gd name="connsiteX306" fmla="*/ 1208723 w 1485900"/>
                <a:gd name="connsiteY306" fmla="*/ 1520190 h 2154555"/>
                <a:gd name="connsiteX307" fmla="*/ 1200150 w 1485900"/>
                <a:gd name="connsiteY307" fmla="*/ 1483042 h 2154555"/>
                <a:gd name="connsiteX308" fmla="*/ 1194435 w 1485900"/>
                <a:gd name="connsiteY308" fmla="*/ 1465897 h 2154555"/>
                <a:gd name="connsiteX309" fmla="*/ 1180148 w 1485900"/>
                <a:gd name="connsiteY309" fmla="*/ 1451610 h 2154555"/>
                <a:gd name="connsiteX310" fmla="*/ 1168718 w 1485900"/>
                <a:gd name="connsiteY310" fmla="*/ 1457325 h 2154555"/>
                <a:gd name="connsiteX311" fmla="*/ 1160145 w 1485900"/>
                <a:gd name="connsiteY311" fmla="*/ 1448752 h 2154555"/>
                <a:gd name="connsiteX312" fmla="*/ 1145858 w 1485900"/>
                <a:gd name="connsiteY312" fmla="*/ 1440180 h 2154555"/>
                <a:gd name="connsiteX313" fmla="*/ 1120140 w 1485900"/>
                <a:gd name="connsiteY313" fmla="*/ 1423035 h 2154555"/>
                <a:gd name="connsiteX314" fmla="*/ 1105853 w 1485900"/>
                <a:gd name="connsiteY314" fmla="*/ 1425892 h 2154555"/>
                <a:gd name="connsiteX315" fmla="*/ 1108710 w 1485900"/>
                <a:gd name="connsiteY315" fmla="*/ 1443037 h 2154555"/>
                <a:gd name="connsiteX316" fmla="*/ 1131570 w 1485900"/>
                <a:gd name="connsiteY316" fmla="*/ 1457325 h 2154555"/>
                <a:gd name="connsiteX317" fmla="*/ 1165860 w 1485900"/>
                <a:gd name="connsiteY317" fmla="*/ 1471612 h 2154555"/>
                <a:gd name="connsiteX318" fmla="*/ 1134428 w 1485900"/>
                <a:gd name="connsiteY318" fmla="*/ 1494472 h 2154555"/>
                <a:gd name="connsiteX319" fmla="*/ 1108710 w 1485900"/>
                <a:gd name="connsiteY319" fmla="*/ 1483042 h 2154555"/>
                <a:gd name="connsiteX320" fmla="*/ 1094423 w 1485900"/>
                <a:gd name="connsiteY320" fmla="*/ 1497330 h 2154555"/>
                <a:gd name="connsiteX321" fmla="*/ 1100138 w 1485900"/>
                <a:gd name="connsiteY321" fmla="*/ 1514475 h 2154555"/>
                <a:gd name="connsiteX322" fmla="*/ 1100138 w 1485900"/>
                <a:gd name="connsiteY322" fmla="*/ 1514475 h 2154555"/>
                <a:gd name="connsiteX323" fmla="*/ 1088708 w 1485900"/>
                <a:gd name="connsiteY323" fmla="*/ 1543050 h 2154555"/>
                <a:gd name="connsiteX324" fmla="*/ 1125855 w 1485900"/>
                <a:gd name="connsiteY324" fmla="*/ 1531620 h 2154555"/>
                <a:gd name="connsiteX325" fmla="*/ 1097280 w 1485900"/>
                <a:gd name="connsiteY325" fmla="*/ 1563052 h 2154555"/>
                <a:gd name="connsiteX326" fmla="*/ 1120140 w 1485900"/>
                <a:gd name="connsiteY326" fmla="*/ 1574482 h 2154555"/>
                <a:gd name="connsiteX327" fmla="*/ 1168718 w 1485900"/>
                <a:gd name="connsiteY327" fmla="*/ 1545907 h 2154555"/>
                <a:gd name="connsiteX328" fmla="*/ 1245870 w 1485900"/>
                <a:gd name="connsiteY328" fmla="*/ 1560195 h 2154555"/>
                <a:gd name="connsiteX329" fmla="*/ 1203008 w 1485900"/>
                <a:gd name="connsiteY329" fmla="*/ 1574482 h 2154555"/>
                <a:gd name="connsiteX330" fmla="*/ 1203008 w 1485900"/>
                <a:gd name="connsiteY330" fmla="*/ 1603057 h 2154555"/>
                <a:gd name="connsiteX331" fmla="*/ 1180148 w 1485900"/>
                <a:gd name="connsiteY331" fmla="*/ 1620202 h 2154555"/>
                <a:gd name="connsiteX332" fmla="*/ 1163003 w 1485900"/>
                <a:gd name="connsiteY332" fmla="*/ 1628775 h 2154555"/>
                <a:gd name="connsiteX333" fmla="*/ 1163003 w 1485900"/>
                <a:gd name="connsiteY333" fmla="*/ 1628775 h 2154555"/>
                <a:gd name="connsiteX334" fmla="*/ 1151573 w 1485900"/>
                <a:gd name="connsiteY334" fmla="*/ 1631632 h 2154555"/>
                <a:gd name="connsiteX335" fmla="*/ 1148715 w 1485900"/>
                <a:gd name="connsiteY335" fmla="*/ 1651635 h 2154555"/>
                <a:gd name="connsiteX336" fmla="*/ 1111568 w 1485900"/>
                <a:gd name="connsiteY336" fmla="*/ 1665922 h 2154555"/>
                <a:gd name="connsiteX337" fmla="*/ 1080135 w 1485900"/>
                <a:gd name="connsiteY337" fmla="*/ 1665922 h 2154555"/>
                <a:gd name="connsiteX338" fmla="*/ 1062990 w 1485900"/>
                <a:gd name="connsiteY338" fmla="*/ 1694497 h 2154555"/>
                <a:gd name="connsiteX339" fmla="*/ 1062990 w 1485900"/>
                <a:gd name="connsiteY339" fmla="*/ 1694497 h 2154555"/>
                <a:gd name="connsiteX340" fmla="*/ 1008698 w 1485900"/>
                <a:gd name="connsiteY340" fmla="*/ 1697355 h 2154555"/>
                <a:gd name="connsiteX341" fmla="*/ 994410 w 1485900"/>
                <a:gd name="connsiteY341" fmla="*/ 1645920 h 2154555"/>
                <a:gd name="connsiteX342" fmla="*/ 994410 w 1485900"/>
                <a:gd name="connsiteY342" fmla="*/ 1645920 h 2154555"/>
                <a:gd name="connsiteX343" fmla="*/ 997268 w 1485900"/>
                <a:gd name="connsiteY343" fmla="*/ 1705927 h 2154555"/>
                <a:gd name="connsiteX344" fmla="*/ 980123 w 1485900"/>
                <a:gd name="connsiteY344" fmla="*/ 1728787 h 2154555"/>
                <a:gd name="connsiteX345" fmla="*/ 962978 w 1485900"/>
                <a:gd name="connsiteY345" fmla="*/ 1737360 h 2154555"/>
                <a:gd name="connsiteX346" fmla="*/ 971550 w 1485900"/>
                <a:gd name="connsiteY346" fmla="*/ 1780222 h 2154555"/>
                <a:gd name="connsiteX347" fmla="*/ 942975 w 1485900"/>
                <a:gd name="connsiteY347" fmla="*/ 1780222 h 2154555"/>
                <a:gd name="connsiteX348" fmla="*/ 922973 w 1485900"/>
                <a:gd name="connsiteY348" fmla="*/ 1791652 h 2154555"/>
                <a:gd name="connsiteX349" fmla="*/ 902970 w 1485900"/>
                <a:gd name="connsiteY349" fmla="*/ 1811655 h 2154555"/>
                <a:gd name="connsiteX350" fmla="*/ 902970 w 1485900"/>
                <a:gd name="connsiteY350" fmla="*/ 1811655 h 2154555"/>
                <a:gd name="connsiteX351" fmla="*/ 877253 w 1485900"/>
                <a:gd name="connsiteY351" fmla="*/ 1823085 h 2154555"/>
                <a:gd name="connsiteX352" fmla="*/ 860108 w 1485900"/>
                <a:gd name="connsiteY352" fmla="*/ 1825942 h 2154555"/>
                <a:gd name="connsiteX353" fmla="*/ 865823 w 1485900"/>
                <a:gd name="connsiteY353" fmla="*/ 1797367 h 2154555"/>
                <a:gd name="connsiteX354" fmla="*/ 837248 w 1485900"/>
                <a:gd name="connsiteY354" fmla="*/ 1803082 h 2154555"/>
                <a:gd name="connsiteX355" fmla="*/ 845820 w 1485900"/>
                <a:gd name="connsiteY355" fmla="*/ 1831657 h 2154555"/>
                <a:gd name="connsiteX356" fmla="*/ 840105 w 1485900"/>
                <a:gd name="connsiteY356" fmla="*/ 1845945 h 2154555"/>
                <a:gd name="connsiteX357" fmla="*/ 825818 w 1485900"/>
                <a:gd name="connsiteY357" fmla="*/ 1848802 h 2154555"/>
                <a:gd name="connsiteX358" fmla="*/ 800100 w 1485900"/>
                <a:gd name="connsiteY358" fmla="*/ 1851660 h 2154555"/>
                <a:gd name="connsiteX359" fmla="*/ 800100 w 1485900"/>
                <a:gd name="connsiteY359" fmla="*/ 1868805 h 2154555"/>
                <a:gd name="connsiteX360" fmla="*/ 800100 w 1485900"/>
                <a:gd name="connsiteY360" fmla="*/ 1868805 h 2154555"/>
                <a:gd name="connsiteX361" fmla="*/ 774383 w 1485900"/>
                <a:gd name="connsiteY361" fmla="*/ 1880235 h 2154555"/>
                <a:gd name="connsiteX362" fmla="*/ 780098 w 1485900"/>
                <a:gd name="connsiteY362" fmla="*/ 1908810 h 2154555"/>
                <a:gd name="connsiteX363" fmla="*/ 788670 w 1485900"/>
                <a:gd name="connsiteY363" fmla="*/ 1917382 h 2154555"/>
                <a:gd name="connsiteX364" fmla="*/ 771525 w 1485900"/>
                <a:gd name="connsiteY364" fmla="*/ 1931670 h 2154555"/>
                <a:gd name="connsiteX365" fmla="*/ 774383 w 1485900"/>
                <a:gd name="connsiteY365" fmla="*/ 1948815 h 2154555"/>
                <a:gd name="connsiteX366" fmla="*/ 791528 w 1485900"/>
                <a:gd name="connsiteY366" fmla="*/ 1948815 h 2154555"/>
                <a:gd name="connsiteX367" fmla="*/ 782955 w 1485900"/>
                <a:gd name="connsiteY367" fmla="*/ 1971675 h 2154555"/>
                <a:gd name="connsiteX368" fmla="*/ 780098 w 1485900"/>
                <a:gd name="connsiteY368" fmla="*/ 1991677 h 2154555"/>
                <a:gd name="connsiteX369" fmla="*/ 768668 w 1485900"/>
                <a:gd name="connsiteY369" fmla="*/ 2003107 h 2154555"/>
                <a:gd name="connsiteX370" fmla="*/ 745808 w 1485900"/>
                <a:gd name="connsiteY370" fmla="*/ 2005965 h 2154555"/>
                <a:gd name="connsiteX371" fmla="*/ 745808 w 1485900"/>
                <a:gd name="connsiteY371" fmla="*/ 2005965 h 2154555"/>
                <a:gd name="connsiteX372" fmla="*/ 754380 w 1485900"/>
                <a:gd name="connsiteY372" fmla="*/ 2031682 h 2154555"/>
                <a:gd name="connsiteX373" fmla="*/ 754380 w 1485900"/>
                <a:gd name="connsiteY373" fmla="*/ 2063115 h 2154555"/>
                <a:gd name="connsiteX374" fmla="*/ 742950 w 1485900"/>
                <a:gd name="connsiteY374" fmla="*/ 2094547 h 2154555"/>
                <a:gd name="connsiteX375" fmla="*/ 734378 w 1485900"/>
                <a:gd name="connsiteY375" fmla="*/ 2114550 h 2154555"/>
                <a:gd name="connsiteX376" fmla="*/ 717233 w 1485900"/>
                <a:gd name="connsiteY376" fmla="*/ 2125980 h 2154555"/>
                <a:gd name="connsiteX377" fmla="*/ 728663 w 1485900"/>
                <a:gd name="connsiteY377" fmla="*/ 2148840 h 2154555"/>
                <a:gd name="connsiteX378" fmla="*/ 705803 w 1485900"/>
                <a:gd name="connsiteY378" fmla="*/ 2154555 h 2154555"/>
                <a:gd name="connsiteX379" fmla="*/ 694373 w 1485900"/>
                <a:gd name="connsiteY379" fmla="*/ 2151697 h 2154555"/>
                <a:gd name="connsiteX380" fmla="*/ 682943 w 1485900"/>
                <a:gd name="connsiteY380" fmla="*/ 2123122 h 2154555"/>
                <a:gd name="connsiteX381" fmla="*/ 671513 w 1485900"/>
                <a:gd name="connsiteY381" fmla="*/ 2103120 h 2154555"/>
                <a:gd name="connsiteX382" fmla="*/ 617220 w 1485900"/>
                <a:gd name="connsiteY382" fmla="*/ 2117407 h 2154555"/>
                <a:gd name="connsiteX383" fmla="*/ 608648 w 1485900"/>
                <a:gd name="connsiteY383" fmla="*/ 2097405 h 2154555"/>
                <a:gd name="connsiteX384" fmla="*/ 602933 w 1485900"/>
                <a:gd name="connsiteY384" fmla="*/ 2080260 h 2154555"/>
                <a:gd name="connsiteX385" fmla="*/ 597218 w 1485900"/>
                <a:gd name="connsiteY385" fmla="*/ 2083117 h 2154555"/>
                <a:gd name="connsiteX386" fmla="*/ 597218 w 1485900"/>
                <a:gd name="connsiteY386" fmla="*/ 2051685 h 2154555"/>
                <a:gd name="connsiteX387" fmla="*/ 585788 w 1485900"/>
                <a:gd name="connsiteY387" fmla="*/ 2065972 h 2154555"/>
                <a:gd name="connsiteX388" fmla="*/ 594360 w 1485900"/>
                <a:gd name="connsiteY388" fmla="*/ 2037397 h 2154555"/>
                <a:gd name="connsiteX389" fmla="*/ 577215 w 1485900"/>
                <a:gd name="connsiteY389" fmla="*/ 2045970 h 2154555"/>
                <a:gd name="connsiteX390" fmla="*/ 565785 w 1485900"/>
                <a:gd name="connsiteY390" fmla="*/ 2031682 h 2154555"/>
                <a:gd name="connsiteX391" fmla="*/ 565785 w 1485900"/>
                <a:gd name="connsiteY391" fmla="*/ 2011680 h 2154555"/>
                <a:gd name="connsiteX392" fmla="*/ 551498 w 1485900"/>
                <a:gd name="connsiteY392" fmla="*/ 2011680 h 2154555"/>
                <a:gd name="connsiteX393" fmla="*/ 545783 w 1485900"/>
                <a:gd name="connsiteY393" fmla="*/ 1997392 h 2154555"/>
                <a:gd name="connsiteX394" fmla="*/ 540068 w 1485900"/>
                <a:gd name="connsiteY394" fmla="*/ 1983105 h 2154555"/>
                <a:gd name="connsiteX395" fmla="*/ 534353 w 1485900"/>
                <a:gd name="connsiteY395" fmla="*/ 1951672 h 2154555"/>
                <a:gd name="connsiteX396" fmla="*/ 551498 w 1485900"/>
                <a:gd name="connsiteY396" fmla="*/ 1934527 h 2154555"/>
                <a:gd name="connsiteX397" fmla="*/ 557213 w 1485900"/>
                <a:gd name="connsiteY397" fmla="*/ 1914525 h 2154555"/>
                <a:gd name="connsiteX398" fmla="*/ 565785 w 1485900"/>
                <a:gd name="connsiteY398" fmla="*/ 1914525 h 2154555"/>
                <a:gd name="connsiteX399" fmla="*/ 565785 w 1485900"/>
                <a:gd name="connsiteY399" fmla="*/ 1905952 h 2154555"/>
                <a:gd name="connsiteX400" fmla="*/ 554355 w 1485900"/>
                <a:gd name="connsiteY400" fmla="*/ 1897380 h 2154555"/>
                <a:gd name="connsiteX401" fmla="*/ 528638 w 1485900"/>
                <a:gd name="connsiteY401" fmla="*/ 1908810 h 2154555"/>
                <a:gd name="connsiteX402" fmla="*/ 514350 w 1485900"/>
                <a:gd name="connsiteY402" fmla="*/ 1923097 h 2154555"/>
                <a:gd name="connsiteX403" fmla="*/ 514350 w 1485900"/>
                <a:gd name="connsiteY403" fmla="*/ 1891665 h 2154555"/>
                <a:gd name="connsiteX404" fmla="*/ 511493 w 1485900"/>
                <a:gd name="connsiteY404" fmla="*/ 1851660 h 2154555"/>
                <a:gd name="connsiteX405" fmla="*/ 491490 w 1485900"/>
                <a:gd name="connsiteY405" fmla="*/ 1828800 h 2154555"/>
                <a:gd name="connsiteX406" fmla="*/ 488633 w 1485900"/>
                <a:gd name="connsiteY406" fmla="*/ 1805940 h 2154555"/>
                <a:gd name="connsiteX407" fmla="*/ 491490 w 1485900"/>
                <a:gd name="connsiteY407" fmla="*/ 1774507 h 2154555"/>
                <a:gd name="connsiteX408" fmla="*/ 471488 w 1485900"/>
                <a:gd name="connsiteY408" fmla="*/ 1754505 h 2154555"/>
                <a:gd name="connsiteX409" fmla="*/ 477203 w 1485900"/>
                <a:gd name="connsiteY409" fmla="*/ 1734502 h 2154555"/>
                <a:gd name="connsiteX410" fmla="*/ 468630 w 1485900"/>
                <a:gd name="connsiteY410" fmla="*/ 1717357 h 2154555"/>
                <a:gd name="connsiteX411" fmla="*/ 488633 w 1485900"/>
                <a:gd name="connsiteY411" fmla="*/ 1694497 h 2154555"/>
                <a:gd name="connsiteX412" fmla="*/ 525780 w 1485900"/>
                <a:gd name="connsiteY412" fmla="*/ 1708785 h 2154555"/>
                <a:gd name="connsiteX413" fmla="*/ 537210 w 1485900"/>
                <a:gd name="connsiteY413" fmla="*/ 1677352 h 2154555"/>
                <a:gd name="connsiteX414" fmla="*/ 502920 w 1485900"/>
                <a:gd name="connsiteY414" fmla="*/ 1677352 h 2154555"/>
                <a:gd name="connsiteX415" fmla="*/ 497205 w 1485900"/>
                <a:gd name="connsiteY415" fmla="*/ 1665922 h 2154555"/>
                <a:gd name="connsiteX416" fmla="*/ 534353 w 1485900"/>
                <a:gd name="connsiteY416" fmla="*/ 1665922 h 2154555"/>
                <a:gd name="connsiteX417" fmla="*/ 534353 w 1485900"/>
                <a:gd name="connsiteY417" fmla="*/ 1637347 h 2154555"/>
                <a:gd name="connsiteX418" fmla="*/ 554355 w 1485900"/>
                <a:gd name="connsiteY418" fmla="*/ 1634490 h 2154555"/>
                <a:gd name="connsiteX419" fmla="*/ 557213 w 1485900"/>
                <a:gd name="connsiteY419" fmla="*/ 1620202 h 2154555"/>
                <a:gd name="connsiteX420" fmla="*/ 537210 w 1485900"/>
                <a:gd name="connsiteY420" fmla="*/ 1600200 h 2154555"/>
                <a:gd name="connsiteX421" fmla="*/ 560070 w 1485900"/>
                <a:gd name="connsiteY421" fmla="*/ 1580197 h 2154555"/>
                <a:gd name="connsiteX422" fmla="*/ 517208 w 1485900"/>
                <a:gd name="connsiteY422" fmla="*/ 1563052 h 2154555"/>
                <a:gd name="connsiteX423" fmla="*/ 500063 w 1485900"/>
                <a:gd name="connsiteY423" fmla="*/ 1565910 h 2154555"/>
                <a:gd name="connsiteX424" fmla="*/ 480060 w 1485900"/>
                <a:gd name="connsiteY424" fmla="*/ 1534477 h 2154555"/>
                <a:gd name="connsiteX425" fmla="*/ 457200 w 1485900"/>
                <a:gd name="connsiteY425" fmla="*/ 1517332 h 2154555"/>
                <a:gd name="connsiteX426" fmla="*/ 477203 w 1485900"/>
                <a:gd name="connsiteY426" fmla="*/ 1503045 h 2154555"/>
                <a:gd name="connsiteX427" fmla="*/ 520065 w 1485900"/>
                <a:gd name="connsiteY427" fmla="*/ 1540192 h 2154555"/>
                <a:gd name="connsiteX428" fmla="*/ 551498 w 1485900"/>
                <a:gd name="connsiteY428" fmla="*/ 1543050 h 2154555"/>
                <a:gd name="connsiteX429" fmla="*/ 537210 w 1485900"/>
                <a:gd name="connsiteY429" fmla="*/ 1525905 h 2154555"/>
                <a:gd name="connsiteX430" fmla="*/ 540068 w 1485900"/>
                <a:gd name="connsiteY430" fmla="*/ 1514475 h 2154555"/>
                <a:gd name="connsiteX431" fmla="*/ 525780 w 1485900"/>
                <a:gd name="connsiteY431" fmla="*/ 1494472 h 2154555"/>
                <a:gd name="connsiteX432" fmla="*/ 508635 w 1485900"/>
                <a:gd name="connsiteY432" fmla="*/ 1483042 h 2154555"/>
                <a:gd name="connsiteX433" fmla="*/ 508635 w 1485900"/>
                <a:gd name="connsiteY433" fmla="*/ 1465897 h 2154555"/>
                <a:gd name="connsiteX434" fmla="*/ 508635 w 1485900"/>
                <a:gd name="connsiteY434" fmla="*/ 1445895 h 2154555"/>
                <a:gd name="connsiteX435" fmla="*/ 471488 w 1485900"/>
                <a:gd name="connsiteY435" fmla="*/ 1405890 h 2154555"/>
                <a:gd name="connsiteX436" fmla="*/ 442913 w 1485900"/>
                <a:gd name="connsiteY436" fmla="*/ 1448752 h 2154555"/>
                <a:gd name="connsiteX437" fmla="*/ 411480 w 1485900"/>
                <a:gd name="connsiteY437" fmla="*/ 1443037 h 2154555"/>
                <a:gd name="connsiteX438" fmla="*/ 434340 w 1485900"/>
                <a:gd name="connsiteY438" fmla="*/ 1425892 h 2154555"/>
                <a:gd name="connsiteX439" fmla="*/ 428625 w 1485900"/>
                <a:gd name="connsiteY439" fmla="*/ 1414462 h 2154555"/>
                <a:gd name="connsiteX440" fmla="*/ 454343 w 1485900"/>
                <a:gd name="connsiteY440" fmla="*/ 1385887 h 2154555"/>
                <a:gd name="connsiteX441" fmla="*/ 445770 w 1485900"/>
                <a:gd name="connsiteY441" fmla="*/ 1334452 h 2154555"/>
                <a:gd name="connsiteX442" fmla="*/ 425768 w 1485900"/>
                <a:gd name="connsiteY442" fmla="*/ 1325880 h 2154555"/>
                <a:gd name="connsiteX443" fmla="*/ 428625 w 1485900"/>
                <a:gd name="connsiteY443" fmla="*/ 1300162 h 2154555"/>
                <a:gd name="connsiteX444" fmla="*/ 414338 w 1485900"/>
                <a:gd name="connsiteY444" fmla="*/ 1274445 h 2154555"/>
                <a:gd name="connsiteX445" fmla="*/ 414338 w 1485900"/>
                <a:gd name="connsiteY445" fmla="*/ 1248727 h 2154555"/>
                <a:gd name="connsiteX446" fmla="*/ 400050 w 1485900"/>
                <a:gd name="connsiteY446" fmla="*/ 1205865 h 2154555"/>
                <a:gd name="connsiteX447" fmla="*/ 397193 w 1485900"/>
                <a:gd name="connsiteY447" fmla="*/ 1174432 h 2154555"/>
                <a:gd name="connsiteX448" fmla="*/ 385763 w 1485900"/>
                <a:gd name="connsiteY448" fmla="*/ 1154430 h 2154555"/>
                <a:gd name="connsiteX449" fmla="*/ 374333 w 1485900"/>
                <a:gd name="connsiteY449" fmla="*/ 1143000 h 2154555"/>
                <a:gd name="connsiteX450" fmla="*/ 354330 w 1485900"/>
                <a:gd name="connsiteY450" fmla="*/ 1100137 h 2154555"/>
                <a:gd name="connsiteX451" fmla="*/ 348615 w 1485900"/>
                <a:gd name="connsiteY451" fmla="*/ 1082992 h 2154555"/>
                <a:gd name="connsiteX452" fmla="*/ 337185 w 1485900"/>
                <a:gd name="connsiteY452" fmla="*/ 1065847 h 2154555"/>
                <a:gd name="connsiteX453" fmla="*/ 314325 w 1485900"/>
                <a:gd name="connsiteY453" fmla="*/ 1071562 h 2154555"/>
                <a:gd name="connsiteX454" fmla="*/ 305753 w 1485900"/>
                <a:gd name="connsiteY454" fmla="*/ 1057275 h 2154555"/>
                <a:gd name="connsiteX455" fmla="*/ 297180 w 1485900"/>
                <a:gd name="connsiteY455" fmla="*/ 1057275 h 2154555"/>
                <a:gd name="connsiteX456" fmla="*/ 280035 w 1485900"/>
                <a:gd name="connsiteY456" fmla="*/ 1040130 h 2154555"/>
                <a:gd name="connsiteX457" fmla="*/ 260033 w 1485900"/>
                <a:gd name="connsiteY457" fmla="*/ 1040130 h 2154555"/>
                <a:gd name="connsiteX458" fmla="*/ 242888 w 1485900"/>
                <a:gd name="connsiteY458" fmla="*/ 1025842 h 2154555"/>
                <a:gd name="connsiteX459" fmla="*/ 222885 w 1485900"/>
                <a:gd name="connsiteY459" fmla="*/ 1034415 h 2154555"/>
                <a:gd name="connsiteX460" fmla="*/ 214313 w 1485900"/>
                <a:gd name="connsiteY460" fmla="*/ 1011555 h 2154555"/>
                <a:gd name="connsiteX461" fmla="*/ 177165 w 1485900"/>
                <a:gd name="connsiteY461" fmla="*/ 1051560 h 2154555"/>
                <a:gd name="connsiteX462" fmla="*/ 171450 w 1485900"/>
                <a:gd name="connsiteY462" fmla="*/ 1014412 h 2154555"/>
                <a:gd name="connsiteX463" fmla="*/ 151448 w 1485900"/>
                <a:gd name="connsiteY463" fmla="*/ 1034415 h 2154555"/>
                <a:gd name="connsiteX464" fmla="*/ 128588 w 1485900"/>
                <a:gd name="connsiteY464" fmla="*/ 1028700 h 2154555"/>
                <a:gd name="connsiteX465" fmla="*/ 117158 w 1485900"/>
                <a:gd name="connsiteY465" fmla="*/ 1034415 h 2154555"/>
                <a:gd name="connsiteX466" fmla="*/ 151448 w 1485900"/>
                <a:gd name="connsiteY466" fmla="*/ 1068705 h 2154555"/>
                <a:gd name="connsiteX467" fmla="*/ 105728 w 1485900"/>
                <a:gd name="connsiteY467" fmla="*/ 1048702 h 2154555"/>
                <a:gd name="connsiteX468" fmla="*/ 94298 w 1485900"/>
                <a:gd name="connsiteY468" fmla="*/ 1025842 h 2154555"/>
                <a:gd name="connsiteX469" fmla="*/ 100013 w 1485900"/>
                <a:gd name="connsiteY469" fmla="*/ 997267 h 2154555"/>
                <a:gd name="connsiteX470" fmla="*/ 111443 w 1485900"/>
                <a:gd name="connsiteY470" fmla="*/ 982980 h 2154555"/>
                <a:gd name="connsiteX471" fmla="*/ 100013 w 1485900"/>
                <a:gd name="connsiteY471" fmla="*/ 965835 h 2154555"/>
                <a:gd name="connsiteX472" fmla="*/ 85725 w 1485900"/>
                <a:gd name="connsiteY472" fmla="*/ 960120 h 2154555"/>
                <a:gd name="connsiteX473" fmla="*/ 80010 w 1485900"/>
                <a:gd name="connsiteY473" fmla="*/ 945832 h 2154555"/>
                <a:gd name="connsiteX474" fmla="*/ 57150 w 1485900"/>
                <a:gd name="connsiteY474" fmla="*/ 940117 h 2154555"/>
                <a:gd name="connsiteX475" fmla="*/ 71438 w 1485900"/>
                <a:gd name="connsiteY475" fmla="*/ 965835 h 2154555"/>
                <a:gd name="connsiteX476" fmla="*/ 37148 w 1485900"/>
                <a:gd name="connsiteY476" fmla="*/ 940117 h 2154555"/>
                <a:gd name="connsiteX477" fmla="*/ 51435 w 1485900"/>
                <a:gd name="connsiteY477" fmla="*/ 925830 h 2154555"/>
                <a:gd name="connsiteX478" fmla="*/ 74295 w 1485900"/>
                <a:gd name="connsiteY478" fmla="*/ 931545 h 2154555"/>
                <a:gd name="connsiteX479" fmla="*/ 100013 w 1485900"/>
                <a:gd name="connsiteY479" fmla="*/ 937260 h 2154555"/>
                <a:gd name="connsiteX480" fmla="*/ 111443 w 1485900"/>
                <a:gd name="connsiteY480" fmla="*/ 931545 h 2154555"/>
                <a:gd name="connsiteX481" fmla="*/ 128588 w 1485900"/>
                <a:gd name="connsiteY481" fmla="*/ 934402 h 2154555"/>
                <a:gd name="connsiteX482" fmla="*/ 148590 w 1485900"/>
                <a:gd name="connsiteY482" fmla="*/ 937260 h 2154555"/>
                <a:gd name="connsiteX483" fmla="*/ 160020 w 1485900"/>
                <a:gd name="connsiteY483" fmla="*/ 934402 h 2154555"/>
                <a:gd name="connsiteX484" fmla="*/ 168593 w 1485900"/>
                <a:gd name="connsiteY484" fmla="*/ 920115 h 2154555"/>
                <a:gd name="connsiteX485" fmla="*/ 165735 w 1485900"/>
                <a:gd name="connsiteY485" fmla="*/ 891540 h 2154555"/>
                <a:gd name="connsiteX486" fmla="*/ 151448 w 1485900"/>
                <a:gd name="connsiteY486" fmla="*/ 854392 h 2154555"/>
                <a:gd name="connsiteX487" fmla="*/ 120015 w 1485900"/>
                <a:gd name="connsiteY487" fmla="*/ 882967 h 2154555"/>
                <a:gd name="connsiteX488" fmla="*/ 100013 w 1485900"/>
                <a:gd name="connsiteY488" fmla="*/ 862965 h 2154555"/>
                <a:gd name="connsiteX489" fmla="*/ 91440 w 1485900"/>
                <a:gd name="connsiteY489" fmla="*/ 871537 h 2154555"/>
                <a:gd name="connsiteX490" fmla="*/ 88583 w 1485900"/>
                <a:gd name="connsiteY490" fmla="*/ 885825 h 2154555"/>
                <a:gd name="connsiteX491" fmla="*/ 77153 w 1485900"/>
                <a:gd name="connsiteY491" fmla="*/ 882967 h 2154555"/>
                <a:gd name="connsiteX492" fmla="*/ 71438 w 1485900"/>
                <a:gd name="connsiteY492" fmla="*/ 865822 h 2154555"/>
                <a:gd name="connsiteX493" fmla="*/ 62865 w 1485900"/>
                <a:gd name="connsiteY493" fmla="*/ 857250 h 2154555"/>
                <a:gd name="connsiteX494" fmla="*/ 48578 w 1485900"/>
                <a:gd name="connsiteY494" fmla="*/ 845820 h 2154555"/>
                <a:gd name="connsiteX495" fmla="*/ 22860 w 1485900"/>
                <a:gd name="connsiteY495" fmla="*/ 840105 h 2154555"/>
                <a:gd name="connsiteX496" fmla="*/ 0 w 1485900"/>
                <a:gd name="connsiteY496" fmla="*/ 785812 h 2154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</a:cxnLst>
              <a:rect l="l" t="t" r="r" b="b"/>
              <a:pathLst>
                <a:path w="1485900" h="2154555">
                  <a:moveTo>
                    <a:pt x="0" y="785812"/>
                  </a:moveTo>
                  <a:lnTo>
                    <a:pt x="45720" y="751522"/>
                  </a:lnTo>
                  <a:lnTo>
                    <a:pt x="68580" y="742950"/>
                  </a:lnTo>
                  <a:lnTo>
                    <a:pt x="80010" y="731520"/>
                  </a:lnTo>
                  <a:lnTo>
                    <a:pt x="97155" y="722947"/>
                  </a:lnTo>
                  <a:lnTo>
                    <a:pt x="88583" y="708660"/>
                  </a:lnTo>
                  <a:lnTo>
                    <a:pt x="100013" y="702945"/>
                  </a:lnTo>
                  <a:lnTo>
                    <a:pt x="117158" y="714375"/>
                  </a:lnTo>
                  <a:lnTo>
                    <a:pt x="134303" y="705802"/>
                  </a:lnTo>
                  <a:lnTo>
                    <a:pt x="131445" y="694372"/>
                  </a:lnTo>
                  <a:lnTo>
                    <a:pt x="145733" y="697230"/>
                  </a:lnTo>
                  <a:lnTo>
                    <a:pt x="165735" y="688657"/>
                  </a:lnTo>
                  <a:lnTo>
                    <a:pt x="188595" y="671512"/>
                  </a:lnTo>
                  <a:lnTo>
                    <a:pt x="197168" y="642937"/>
                  </a:lnTo>
                  <a:lnTo>
                    <a:pt x="191453" y="614362"/>
                  </a:lnTo>
                  <a:lnTo>
                    <a:pt x="185738" y="597217"/>
                  </a:lnTo>
                  <a:lnTo>
                    <a:pt x="202883" y="600075"/>
                  </a:lnTo>
                  <a:lnTo>
                    <a:pt x="200025" y="577215"/>
                  </a:lnTo>
                  <a:lnTo>
                    <a:pt x="211455" y="557212"/>
                  </a:lnTo>
                  <a:lnTo>
                    <a:pt x="200025" y="551497"/>
                  </a:lnTo>
                  <a:lnTo>
                    <a:pt x="177165" y="560070"/>
                  </a:lnTo>
                  <a:lnTo>
                    <a:pt x="154305" y="562927"/>
                  </a:lnTo>
                  <a:lnTo>
                    <a:pt x="128588" y="531495"/>
                  </a:lnTo>
                  <a:lnTo>
                    <a:pt x="145733" y="500062"/>
                  </a:lnTo>
                  <a:lnTo>
                    <a:pt x="174308" y="460057"/>
                  </a:lnTo>
                  <a:lnTo>
                    <a:pt x="200025" y="440055"/>
                  </a:lnTo>
                  <a:lnTo>
                    <a:pt x="222885" y="408622"/>
                  </a:lnTo>
                  <a:lnTo>
                    <a:pt x="231458" y="388620"/>
                  </a:lnTo>
                  <a:lnTo>
                    <a:pt x="262890" y="417195"/>
                  </a:lnTo>
                  <a:lnTo>
                    <a:pt x="285750" y="420052"/>
                  </a:lnTo>
                  <a:lnTo>
                    <a:pt x="294323" y="377190"/>
                  </a:lnTo>
                  <a:lnTo>
                    <a:pt x="294323" y="334327"/>
                  </a:lnTo>
                  <a:lnTo>
                    <a:pt x="274320" y="305752"/>
                  </a:lnTo>
                  <a:lnTo>
                    <a:pt x="291465" y="285750"/>
                  </a:lnTo>
                  <a:lnTo>
                    <a:pt x="308610" y="271462"/>
                  </a:lnTo>
                  <a:lnTo>
                    <a:pt x="328613" y="288607"/>
                  </a:lnTo>
                  <a:lnTo>
                    <a:pt x="337185" y="322897"/>
                  </a:lnTo>
                  <a:lnTo>
                    <a:pt x="351473" y="331470"/>
                  </a:lnTo>
                  <a:lnTo>
                    <a:pt x="385763" y="368617"/>
                  </a:lnTo>
                  <a:lnTo>
                    <a:pt x="397193" y="371475"/>
                  </a:lnTo>
                  <a:lnTo>
                    <a:pt x="405765" y="371475"/>
                  </a:lnTo>
                  <a:lnTo>
                    <a:pt x="397193" y="345757"/>
                  </a:lnTo>
                  <a:lnTo>
                    <a:pt x="380048" y="311467"/>
                  </a:lnTo>
                  <a:lnTo>
                    <a:pt x="368618" y="305752"/>
                  </a:lnTo>
                  <a:lnTo>
                    <a:pt x="357188" y="300037"/>
                  </a:lnTo>
                  <a:lnTo>
                    <a:pt x="348615" y="254317"/>
                  </a:lnTo>
                  <a:lnTo>
                    <a:pt x="331470" y="245745"/>
                  </a:lnTo>
                  <a:lnTo>
                    <a:pt x="345758" y="234315"/>
                  </a:lnTo>
                  <a:lnTo>
                    <a:pt x="397193" y="214312"/>
                  </a:lnTo>
                  <a:lnTo>
                    <a:pt x="428625" y="220027"/>
                  </a:lnTo>
                  <a:lnTo>
                    <a:pt x="442913" y="220027"/>
                  </a:lnTo>
                  <a:lnTo>
                    <a:pt x="434340" y="191452"/>
                  </a:lnTo>
                  <a:lnTo>
                    <a:pt x="445770" y="182880"/>
                  </a:lnTo>
                  <a:lnTo>
                    <a:pt x="471488" y="234315"/>
                  </a:lnTo>
                  <a:lnTo>
                    <a:pt x="460058" y="294322"/>
                  </a:lnTo>
                  <a:lnTo>
                    <a:pt x="454343" y="317182"/>
                  </a:lnTo>
                  <a:lnTo>
                    <a:pt x="462915" y="337185"/>
                  </a:lnTo>
                  <a:lnTo>
                    <a:pt x="480060" y="337185"/>
                  </a:lnTo>
                  <a:lnTo>
                    <a:pt x="480060" y="314325"/>
                  </a:lnTo>
                  <a:lnTo>
                    <a:pt x="477203" y="288607"/>
                  </a:lnTo>
                  <a:lnTo>
                    <a:pt x="494348" y="257175"/>
                  </a:lnTo>
                  <a:lnTo>
                    <a:pt x="514350" y="277177"/>
                  </a:lnTo>
                  <a:lnTo>
                    <a:pt x="534353" y="300037"/>
                  </a:lnTo>
                  <a:lnTo>
                    <a:pt x="554355" y="314325"/>
                  </a:lnTo>
                  <a:lnTo>
                    <a:pt x="574358" y="320040"/>
                  </a:lnTo>
                  <a:lnTo>
                    <a:pt x="574358" y="302895"/>
                  </a:lnTo>
                  <a:lnTo>
                    <a:pt x="545783" y="271462"/>
                  </a:lnTo>
                  <a:lnTo>
                    <a:pt x="571500" y="268605"/>
                  </a:lnTo>
                  <a:lnTo>
                    <a:pt x="565785" y="242887"/>
                  </a:lnTo>
                  <a:lnTo>
                    <a:pt x="554355" y="234315"/>
                  </a:lnTo>
                  <a:lnTo>
                    <a:pt x="548640" y="194310"/>
                  </a:lnTo>
                  <a:lnTo>
                    <a:pt x="540068" y="171450"/>
                  </a:lnTo>
                  <a:lnTo>
                    <a:pt x="540068" y="157162"/>
                  </a:lnTo>
                  <a:lnTo>
                    <a:pt x="554355" y="160020"/>
                  </a:lnTo>
                  <a:lnTo>
                    <a:pt x="608648" y="208597"/>
                  </a:lnTo>
                  <a:lnTo>
                    <a:pt x="631508" y="242887"/>
                  </a:lnTo>
                  <a:lnTo>
                    <a:pt x="651510" y="245745"/>
                  </a:lnTo>
                  <a:lnTo>
                    <a:pt x="665798" y="282892"/>
                  </a:lnTo>
                  <a:lnTo>
                    <a:pt x="682943" y="297180"/>
                  </a:lnTo>
                  <a:lnTo>
                    <a:pt x="700088" y="291465"/>
                  </a:lnTo>
                  <a:lnTo>
                    <a:pt x="705803" y="285750"/>
                  </a:lnTo>
                  <a:lnTo>
                    <a:pt x="688658" y="262890"/>
                  </a:lnTo>
                  <a:lnTo>
                    <a:pt x="688658" y="222885"/>
                  </a:lnTo>
                  <a:lnTo>
                    <a:pt x="660083" y="205740"/>
                  </a:lnTo>
                  <a:lnTo>
                    <a:pt x="622935" y="151447"/>
                  </a:lnTo>
                  <a:lnTo>
                    <a:pt x="622935" y="151447"/>
                  </a:lnTo>
                  <a:lnTo>
                    <a:pt x="617220" y="137160"/>
                  </a:lnTo>
                  <a:lnTo>
                    <a:pt x="651510" y="137160"/>
                  </a:lnTo>
                  <a:lnTo>
                    <a:pt x="688658" y="174307"/>
                  </a:lnTo>
                  <a:lnTo>
                    <a:pt x="688658" y="194310"/>
                  </a:lnTo>
                  <a:lnTo>
                    <a:pt x="685800" y="205740"/>
                  </a:lnTo>
                  <a:lnTo>
                    <a:pt x="697230" y="208597"/>
                  </a:lnTo>
                  <a:lnTo>
                    <a:pt x="705803" y="205740"/>
                  </a:lnTo>
                  <a:lnTo>
                    <a:pt x="748665" y="220027"/>
                  </a:lnTo>
                  <a:lnTo>
                    <a:pt x="748665" y="202882"/>
                  </a:lnTo>
                  <a:lnTo>
                    <a:pt x="725805" y="180022"/>
                  </a:lnTo>
                  <a:lnTo>
                    <a:pt x="682943" y="111442"/>
                  </a:lnTo>
                  <a:lnTo>
                    <a:pt x="711518" y="117157"/>
                  </a:lnTo>
                  <a:lnTo>
                    <a:pt x="742950" y="108585"/>
                  </a:lnTo>
                  <a:lnTo>
                    <a:pt x="777240" y="140017"/>
                  </a:lnTo>
                  <a:lnTo>
                    <a:pt x="788670" y="160020"/>
                  </a:lnTo>
                  <a:lnTo>
                    <a:pt x="797243" y="180022"/>
                  </a:lnTo>
                  <a:lnTo>
                    <a:pt x="808673" y="182880"/>
                  </a:lnTo>
                  <a:lnTo>
                    <a:pt x="822960" y="162877"/>
                  </a:lnTo>
                  <a:lnTo>
                    <a:pt x="814388" y="120015"/>
                  </a:lnTo>
                  <a:lnTo>
                    <a:pt x="760095" y="82867"/>
                  </a:lnTo>
                  <a:lnTo>
                    <a:pt x="674370" y="88582"/>
                  </a:lnTo>
                  <a:lnTo>
                    <a:pt x="654368" y="85725"/>
                  </a:lnTo>
                  <a:lnTo>
                    <a:pt x="645795" y="77152"/>
                  </a:lnTo>
                  <a:lnTo>
                    <a:pt x="642938" y="54292"/>
                  </a:lnTo>
                  <a:lnTo>
                    <a:pt x="685800" y="54292"/>
                  </a:lnTo>
                  <a:lnTo>
                    <a:pt x="694373" y="48577"/>
                  </a:lnTo>
                  <a:lnTo>
                    <a:pt x="657225" y="8572"/>
                  </a:lnTo>
                  <a:lnTo>
                    <a:pt x="682943" y="8572"/>
                  </a:lnTo>
                  <a:lnTo>
                    <a:pt x="731520" y="14287"/>
                  </a:lnTo>
                  <a:lnTo>
                    <a:pt x="762953" y="25717"/>
                  </a:lnTo>
                  <a:lnTo>
                    <a:pt x="774383" y="34290"/>
                  </a:lnTo>
                  <a:lnTo>
                    <a:pt x="774383" y="51435"/>
                  </a:lnTo>
                  <a:lnTo>
                    <a:pt x="808673" y="77152"/>
                  </a:lnTo>
                  <a:lnTo>
                    <a:pt x="822960" y="85725"/>
                  </a:lnTo>
                  <a:lnTo>
                    <a:pt x="831533" y="82867"/>
                  </a:lnTo>
                  <a:lnTo>
                    <a:pt x="834390" y="57150"/>
                  </a:lnTo>
                  <a:lnTo>
                    <a:pt x="860108" y="0"/>
                  </a:lnTo>
                  <a:lnTo>
                    <a:pt x="882968" y="8572"/>
                  </a:lnTo>
                  <a:lnTo>
                    <a:pt x="942975" y="25717"/>
                  </a:lnTo>
                  <a:lnTo>
                    <a:pt x="954405" y="25717"/>
                  </a:lnTo>
                  <a:lnTo>
                    <a:pt x="962978" y="17145"/>
                  </a:lnTo>
                  <a:lnTo>
                    <a:pt x="974408" y="34290"/>
                  </a:lnTo>
                  <a:lnTo>
                    <a:pt x="968693" y="65722"/>
                  </a:lnTo>
                  <a:lnTo>
                    <a:pt x="971550" y="74295"/>
                  </a:lnTo>
                  <a:lnTo>
                    <a:pt x="994410" y="62865"/>
                  </a:lnTo>
                  <a:lnTo>
                    <a:pt x="1020128" y="57150"/>
                  </a:lnTo>
                  <a:lnTo>
                    <a:pt x="1054418" y="20002"/>
                  </a:lnTo>
                  <a:lnTo>
                    <a:pt x="1088708" y="28575"/>
                  </a:lnTo>
                  <a:lnTo>
                    <a:pt x="1102995" y="45720"/>
                  </a:lnTo>
                  <a:lnTo>
                    <a:pt x="1117283" y="51435"/>
                  </a:lnTo>
                  <a:lnTo>
                    <a:pt x="1160145" y="22860"/>
                  </a:lnTo>
                  <a:lnTo>
                    <a:pt x="1174433" y="40005"/>
                  </a:lnTo>
                  <a:lnTo>
                    <a:pt x="1174433" y="40005"/>
                  </a:lnTo>
                  <a:lnTo>
                    <a:pt x="1151573" y="88582"/>
                  </a:lnTo>
                  <a:lnTo>
                    <a:pt x="1151573" y="111442"/>
                  </a:lnTo>
                  <a:lnTo>
                    <a:pt x="1145858" y="117157"/>
                  </a:lnTo>
                  <a:lnTo>
                    <a:pt x="1171575" y="102870"/>
                  </a:lnTo>
                  <a:lnTo>
                    <a:pt x="1194435" y="82867"/>
                  </a:lnTo>
                  <a:lnTo>
                    <a:pt x="1203008" y="100012"/>
                  </a:lnTo>
                  <a:lnTo>
                    <a:pt x="1228725" y="105727"/>
                  </a:lnTo>
                  <a:lnTo>
                    <a:pt x="1243013" y="125730"/>
                  </a:lnTo>
                  <a:lnTo>
                    <a:pt x="1263015" y="142875"/>
                  </a:lnTo>
                  <a:lnTo>
                    <a:pt x="1263015" y="142875"/>
                  </a:lnTo>
                  <a:lnTo>
                    <a:pt x="1234440" y="200025"/>
                  </a:lnTo>
                  <a:lnTo>
                    <a:pt x="1214438" y="205740"/>
                  </a:lnTo>
                  <a:lnTo>
                    <a:pt x="1191578" y="202882"/>
                  </a:lnTo>
                  <a:lnTo>
                    <a:pt x="1174433" y="220027"/>
                  </a:lnTo>
                  <a:lnTo>
                    <a:pt x="1148715" y="217170"/>
                  </a:lnTo>
                  <a:lnTo>
                    <a:pt x="1111568" y="200025"/>
                  </a:lnTo>
                  <a:lnTo>
                    <a:pt x="1068705" y="217170"/>
                  </a:lnTo>
                  <a:lnTo>
                    <a:pt x="1025843" y="211455"/>
                  </a:lnTo>
                  <a:lnTo>
                    <a:pt x="1011555" y="214312"/>
                  </a:lnTo>
                  <a:lnTo>
                    <a:pt x="1042988" y="240030"/>
                  </a:lnTo>
                  <a:lnTo>
                    <a:pt x="1005840" y="262890"/>
                  </a:lnTo>
                  <a:lnTo>
                    <a:pt x="980123" y="274320"/>
                  </a:lnTo>
                  <a:lnTo>
                    <a:pt x="980123" y="288607"/>
                  </a:lnTo>
                  <a:lnTo>
                    <a:pt x="982980" y="308610"/>
                  </a:lnTo>
                  <a:lnTo>
                    <a:pt x="997268" y="305752"/>
                  </a:lnTo>
                  <a:lnTo>
                    <a:pt x="1020128" y="285750"/>
                  </a:lnTo>
                  <a:lnTo>
                    <a:pt x="1068705" y="257175"/>
                  </a:lnTo>
                  <a:lnTo>
                    <a:pt x="1120140" y="257175"/>
                  </a:lnTo>
                  <a:lnTo>
                    <a:pt x="1154430" y="254317"/>
                  </a:lnTo>
                  <a:lnTo>
                    <a:pt x="1168718" y="274320"/>
                  </a:lnTo>
                  <a:lnTo>
                    <a:pt x="1157288" y="291465"/>
                  </a:lnTo>
                  <a:lnTo>
                    <a:pt x="1134428" y="314325"/>
                  </a:lnTo>
                  <a:lnTo>
                    <a:pt x="1114425" y="334327"/>
                  </a:lnTo>
                  <a:lnTo>
                    <a:pt x="1120140" y="360045"/>
                  </a:lnTo>
                  <a:lnTo>
                    <a:pt x="1148715" y="342900"/>
                  </a:lnTo>
                  <a:lnTo>
                    <a:pt x="1174433" y="311467"/>
                  </a:lnTo>
                  <a:lnTo>
                    <a:pt x="1208723" y="262890"/>
                  </a:lnTo>
                  <a:lnTo>
                    <a:pt x="1217295" y="242887"/>
                  </a:lnTo>
                  <a:lnTo>
                    <a:pt x="1237298" y="242887"/>
                  </a:lnTo>
                  <a:lnTo>
                    <a:pt x="1248728" y="268605"/>
                  </a:lnTo>
                  <a:lnTo>
                    <a:pt x="1240155" y="334327"/>
                  </a:lnTo>
                  <a:lnTo>
                    <a:pt x="1231583" y="365760"/>
                  </a:lnTo>
                  <a:lnTo>
                    <a:pt x="1191578" y="440055"/>
                  </a:lnTo>
                  <a:lnTo>
                    <a:pt x="1183005" y="474345"/>
                  </a:lnTo>
                  <a:lnTo>
                    <a:pt x="1177290" y="497205"/>
                  </a:lnTo>
                  <a:lnTo>
                    <a:pt x="1208723" y="468630"/>
                  </a:lnTo>
                  <a:lnTo>
                    <a:pt x="1245870" y="400050"/>
                  </a:lnTo>
                  <a:lnTo>
                    <a:pt x="1260158" y="377190"/>
                  </a:lnTo>
                  <a:lnTo>
                    <a:pt x="1291590" y="317182"/>
                  </a:lnTo>
                  <a:lnTo>
                    <a:pt x="1300163" y="342900"/>
                  </a:lnTo>
                  <a:lnTo>
                    <a:pt x="1311593" y="348615"/>
                  </a:lnTo>
                  <a:lnTo>
                    <a:pt x="1323023" y="328612"/>
                  </a:lnTo>
                  <a:lnTo>
                    <a:pt x="1343025" y="345757"/>
                  </a:lnTo>
                  <a:lnTo>
                    <a:pt x="1357313" y="348615"/>
                  </a:lnTo>
                  <a:lnTo>
                    <a:pt x="1363028" y="322897"/>
                  </a:lnTo>
                  <a:lnTo>
                    <a:pt x="1368743" y="280035"/>
                  </a:lnTo>
                  <a:lnTo>
                    <a:pt x="1394460" y="268605"/>
                  </a:lnTo>
                  <a:lnTo>
                    <a:pt x="1434465" y="282892"/>
                  </a:lnTo>
                  <a:lnTo>
                    <a:pt x="1434465" y="282892"/>
                  </a:lnTo>
                  <a:lnTo>
                    <a:pt x="1485900" y="320040"/>
                  </a:lnTo>
                  <a:lnTo>
                    <a:pt x="1480185" y="351472"/>
                  </a:lnTo>
                  <a:lnTo>
                    <a:pt x="1468755" y="377190"/>
                  </a:lnTo>
                  <a:lnTo>
                    <a:pt x="1437323" y="400050"/>
                  </a:lnTo>
                  <a:lnTo>
                    <a:pt x="1414463" y="408622"/>
                  </a:lnTo>
                  <a:lnTo>
                    <a:pt x="1428750" y="437197"/>
                  </a:lnTo>
                  <a:lnTo>
                    <a:pt x="1385888" y="462915"/>
                  </a:lnTo>
                  <a:lnTo>
                    <a:pt x="1354455" y="454342"/>
                  </a:lnTo>
                  <a:lnTo>
                    <a:pt x="1345883" y="468630"/>
                  </a:lnTo>
                  <a:lnTo>
                    <a:pt x="1320165" y="474345"/>
                  </a:lnTo>
                  <a:lnTo>
                    <a:pt x="1294448" y="471487"/>
                  </a:lnTo>
                  <a:lnTo>
                    <a:pt x="1271588" y="477202"/>
                  </a:lnTo>
                  <a:lnTo>
                    <a:pt x="1271588" y="497205"/>
                  </a:lnTo>
                  <a:lnTo>
                    <a:pt x="1288733" y="505777"/>
                  </a:lnTo>
                  <a:lnTo>
                    <a:pt x="1314450" y="485775"/>
                  </a:lnTo>
                  <a:lnTo>
                    <a:pt x="1343025" y="500062"/>
                  </a:lnTo>
                  <a:lnTo>
                    <a:pt x="1403033" y="488632"/>
                  </a:lnTo>
                  <a:lnTo>
                    <a:pt x="1383030" y="517207"/>
                  </a:lnTo>
                  <a:lnTo>
                    <a:pt x="1348740" y="534352"/>
                  </a:lnTo>
                  <a:lnTo>
                    <a:pt x="1314450" y="534352"/>
                  </a:lnTo>
                  <a:lnTo>
                    <a:pt x="1300163" y="531495"/>
                  </a:lnTo>
                  <a:lnTo>
                    <a:pt x="1288733" y="577215"/>
                  </a:lnTo>
                  <a:lnTo>
                    <a:pt x="1288733" y="600075"/>
                  </a:lnTo>
                  <a:lnTo>
                    <a:pt x="1311593" y="594360"/>
                  </a:lnTo>
                  <a:lnTo>
                    <a:pt x="1305878" y="577215"/>
                  </a:lnTo>
                  <a:lnTo>
                    <a:pt x="1340168" y="557212"/>
                  </a:lnTo>
                  <a:lnTo>
                    <a:pt x="1340168" y="557212"/>
                  </a:lnTo>
                  <a:lnTo>
                    <a:pt x="1354455" y="582930"/>
                  </a:lnTo>
                  <a:lnTo>
                    <a:pt x="1343025" y="608647"/>
                  </a:lnTo>
                  <a:lnTo>
                    <a:pt x="1328738" y="594360"/>
                  </a:lnTo>
                  <a:lnTo>
                    <a:pt x="1311593" y="622935"/>
                  </a:lnTo>
                  <a:lnTo>
                    <a:pt x="1311593" y="674370"/>
                  </a:lnTo>
                  <a:lnTo>
                    <a:pt x="1300163" y="691515"/>
                  </a:lnTo>
                  <a:lnTo>
                    <a:pt x="1297305" y="714375"/>
                  </a:lnTo>
                  <a:lnTo>
                    <a:pt x="1268730" y="737235"/>
                  </a:lnTo>
                  <a:lnTo>
                    <a:pt x="1277303" y="748665"/>
                  </a:lnTo>
                  <a:lnTo>
                    <a:pt x="1260158" y="857250"/>
                  </a:lnTo>
                  <a:lnTo>
                    <a:pt x="1257300" y="880110"/>
                  </a:lnTo>
                  <a:lnTo>
                    <a:pt x="1280160" y="848677"/>
                  </a:lnTo>
                  <a:lnTo>
                    <a:pt x="1320165" y="874395"/>
                  </a:lnTo>
                  <a:lnTo>
                    <a:pt x="1291590" y="871537"/>
                  </a:lnTo>
                  <a:lnTo>
                    <a:pt x="1283018" y="897255"/>
                  </a:lnTo>
                  <a:lnTo>
                    <a:pt x="1288733" y="917257"/>
                  </a:lnTo>
                  <a:lnTo>
                    <a:pt x="1308735" y="902970"/>
                  </a:lnTo>
                  <a:lnTo>
                    <a:pt x="1320165" y="920115"/>
                  </a:lnTo>
                  <a:lnTo>
                    <a:pt x="1343025" y="920115"/>
                  </a:lnTo>
                  <a:lnTo>
                    <a:pt x="1343025" y="954405"/>
                  </a:lnTo>
                  <a:lnTo>
                    <a:pt x="1328738" y="962977"/>
                  </a:lnTo>
                  <a:lnTo>
                    <a:pt x="1305878" y="957262"/>
                  </a:lnTo>
                  <a:lnTo>
                    <a:pt x="1271588" y="954405"/>
                  </a:lnTo>
                  <a:lnTo>
                    <a:pt x="1268730" y="980122"/>
                  </a:lnTo>
                  <a:lnTo>
                    <a:pt x="1245870" y="968692"/>
                  </a:lnTo>
                  <a:lnTo>
                    <a:pt x="1234440" y="977265"/>
                  </a:lnTo>
                  <a:lnTo>
                    <a:pt x="1234440" y="1000125"/>
                  </a:lnTo>
                  <a:lnTo>
                    <a:pt x="1265873" y="1040130"/>
                  </a:lnTo>
                  <a:lnTo>
                    <a:pt x="1297305" y="1028700"/>
                  </a:lnTo>
                  <a:lnTo>
                    <a:pt x="1280160" y="1054417"/>
                  </a:lnTo>
                  <a:lnTo>
                    <a:pt x="1297305" y="1071562"/>
                  </a:lnTo>
                  <a:lnTo>
                    <a:pt x="1308735" y="1100137"/>
                  </a:lnTo>
                  <a:lnTo>
                    <a:pt x="1311593" y="1131570"/>
                  </a:lnTo>
                  <a:lnTo>
                    <a:pt x="1288733" y="1114425"/>
                  </a:lnTo>
                  <a:lnTo>
                    <a:pt x="1265873" y="1105852"/>
                  </a:lnTo>
                  <a:lnTo>
                    <a:pt x="1240155" y="1117282"/>
                  </a:lnTo>
                  <a:lnTo>
                    <a:pt x="1263015" y="1128712"/>
                  </a:lnTo>
                  <a:lnTo>
                    <a:pt x="1251585" y="1157287"/>
                  </a:lnTo>
                  <a:lnTo>
                    <a:pt x="1283018" y="1145857"/>
                  </a:lnTo>
                  <a:lnTo>
                    <a:pt x="1263015" y="1185862"/>
                  </a:lnTo>
                  <a:lnTo>
                    <a:pt x="1294448" y="1194435"/>
                  </a:lnTo>
                  <a:lnTo>
                    <a:pt x="1308735" y="1183005"/>
                  </a:lnTo>
                  <a:lnTo>
                    <a:pt x="1308735" y="1205865"/>
                  </a:lnTo>
                  <a:lnTo>
                    <a:pt x="1317308" y="1225867"/>
                  </a:lnTo>
                  <a:lnTo>
                    <a:pt x="1300163" y="1208722"/>
                  </a:lnTo>
                  <a:lnTo>
                    <a:pt x="1260158" y="1200150"/>
                  </a:lnTo>
                  <a:lnTo>
                    <a:pt x="1243013" y="1220152"/>
                  </a:lnTo>
                  <a:lnTo>
                    <a:pt x="1260158" y="1248727"/>
                  </a:lnTo>
                  <a:lnTo>
                    <a:pt x="1277303" y="1257300"/>
                  </a:lnTo>
                  <a:lnTo>
                    <a:pt x="1288733" y="1257300"/>
                  </a:lnTo>
                  <a:lnTo>
                    <a:pt x="1285875" y="1274445"/>
                  </a:lnTo>
                  <a:lnTo>
                    <a:pt x="1274445" y="1294447"/>
                  </a:lnTo>
                  <a:lnTo>
                    <a:pt x="1257300" y="1300162"/>
                  </a:lnTo>
                  <a:lnTo>
                    <a:pt x="1243013" y="1300162"/>
                  </a:lnTo>
                  <a:lnTo>
                    <a:pt x="1211580" y="1288732"/>
                  </a:lnTo>
                  <a:lnTo>
                    <a:pt x="1203008" y="1260157"/>
                  </a:lnTo>
                  <a:lnTo>
                    <a:pt x="1174433" y="1268730"/>
                  </a:lnTo>
                  <a:lnTo>
                    <a:pt x="1180148" y="1285875"/>
                  </a:lnTo>
                  <a:lnTo>
                    <a:pt x="1160145" y="1303020"/>
                  </a:lnTo>
                  <a:lnTo>
                    <a:pt x="1134428" y="1300162"/>
                  </a:lnTo>
                  <a:lnTo>
                    <a:pt x="1134428" y="1323022"/>
                  </a:lnTo>
                  <a:lnTo>
                    <a:pt x="1157288" y="1317307"/>
                  </a:lnTo>
                  <a:lnTo>
                    <a:pt x="1165860" y="1337310"/>
                  </a:lnTo>
                  <a:lnTo>
                    <a:pt x="1125855" y="1345882"/>
                  </a:lnTo>
                  <a:lnTo>
                    <a:pt x="1143000" y="1365885"/>
                  </a:lnTo>
                  <a:lnTo>
                    <a:pt x="1174433" y="1348740"/>
                  </a:lnTo>
                  <a:lnTo>
                    <a:pt x="1188720" y="1371600"/>
                  </a:lnTo>
                  <a:lnTo>
                    <a:pt x="1157288" y="1374457"/>
                  </a:lnTo>
                  <a:lnTo>
                    <a:pt x="1165860" y="1405890"/>
                  </a:lnTo>
                  <a:lnTo>
                    <a:pt x="1165860" y="1405890"/>
                  </a:lnTo>
                  <a:lnTo>
                    <a:pt x="1188720" y="1385887"/>
                  </a:lnTo>
                  <a:lnTo>
                    <a:pt x="1225868" y="1417320"/>
                  </a:lnTo>
                  <a:lnTo>
                    <a:pt x="1228725" y="1448752"/>
                  </a:lnTo>
                  <a:lnTo>
                    <a:pt x="1251585" y="1434465"/>
                  </a:lnTo>
                  <a:lnTo>
                    <a:pt x="1243013" y="1460182"/>
                  </a:lnTo>
                  <a:lnTo>
                    <a:pt x="1248728" y="1480185"/>
                  </a:lnTo>
                  <a:lnTo>
                    <a:pt x="1265873" y="1463040"/>
                  </a:lnTo>
                  <a:lnTo>
                    <a:pt x="1263015" y="1494472"/>
                  </a:lnTo>
                  <a:lnTo>
                    <a:pt x="1268730" y="1531620"/>
                  </a:lnTo>
                  <a:lnTo>
                    <a:pt x="1243013" y="1505902"/>
                  </a:lnTo>
                  <a:lnTo>
                    <a:pt x="1225868" y="1531620"/>
                  </a:lnTo>
                  <a:lnTo>
                    <a:pt x="1208723" y="1520190"/>
                  </a:lnTo>
                  <a:lnTo>
                    <a:pt x="1200150" y="1483042"/>
                  </a:lnTo>
                  <a:lnTo>
                    <a:pt x="1194435" y="1465897"/>
                  </a:lnTo>
                  <a:lnTo>
                    <a:pt x="1180148" y="1451610"/>
                  </a:lnTo>
                  <a:lnTo>
                    <a:pt x="1168718" y="1457325"/>
                  </a:lnTo>
                  <a:lnTo>
                    <a:pt x="1160145" y="1448752"/>
                  </a:lnTo>
                  <a:lnTo>
                    <a:pt x="1145858" y="1440180"/>
                  </a:lnTo>
                  <a:lnTo>
                    <a:pt x="1120140" y="1423035"/>
                  </a:lnTo>
                  <a:lnTo>
                    <a:pt x="1105853" y="1425892"/>
                  </a:lnTo>
                  <a:lnTo>
                    <a:pt x="1108710" y="1443037"/>
                  </a:lnTo>
                  <a:lnTo>
                    <a:pt x="1131570" y="1457325"/>
                  </a:lnTo>
                  <a:lnTo>
                    <a:pt x="1165860" y="1471612"/>
                  </a:lnTo>
                  <a:lnTo>
                    <a:pt x="1134428" y="1494472"/>
                  </a:lnTo>
                  <a:lnTo>
                    <a:pt x="1108710" y="1483042"/>
                  </a:lnTo>
                  <a:lnTo>
                    <a:pt x="1094423" y="1497330"/>
                  </a:lnTo>
                  <a:lnTo>
                    <a:pt x="1100138" y="1514475"/>
                  </a:lnTo>
                  <a:lnTo>
                    <a:pt x="1100138" y="1514475"/>
                  </a:lnTo>
                  <a:lnTo>
                    <a:pt x="1088708" y="1543050"/>
                  </a:lnTo>
                  <a:lnTo>
                    <a:pt x="1125855" y="1531620"/>
                  </a:lnTo>
                  <a:lnTo>
                    <a:pt x="1097280" y="1563052"/>
                  </a:lnTo>
                  <a:lnTo>
                    <a:pt x="1120140" y="1574482"/>
                  </a:lnTo>
                  <a:lnTo>
                    <a:pt x="1168718" y="1545907"/>
                  </a:lnTo>
                  <a:lnTo>
                    <a:pt x="1245870" y="1560195"/>
                  </a:lnTo>
                  <a:lnTo>
                    <a:pt x="1203008" y="1574482"/>
                  </a:lnTo>
                  <a:lnTo>
                    <a:pt x="1203008" y="1603057"/>
                  </a:lnTo>
                  <a:lnTo>
                    <a:pt x="1180148" y="1620202"/>
                  </a:lnTo>
                  <a:lnTo>
                    <a:pt x="1163003" y="1628775"/>
                  </a:lnTo>
                  <a:lnTo>
                    <a:pt x="1163003" y="1628775"/>
                  </a:lnTo>
                  <a:lnTo>
                    <a:pt x="1151573" y="1631632"/>
                  </a:lnTo>
                  <a:lnTo>
                    <a:pt x="1148715" y="1651635"/>
                  </a:lnTo>
                  <a:lnTo>
                    <a:pt x="1111568" y="1665922"/>
                  </a:lnTo>
                  <a:lnTo>
                    <a:pt x="1080135" y="1665922"/>
                  </a:lnTo>
                  <a:lnTo>
                    <a:pt x="1062990" y="1694497"/>
                  </a:lnTo>
                  <a:lnTo>
                    <a:pt x="1062990" y="1694497"/>
                  </a:lnTo>
                  <a:lnTo>
                    <a:pt x="1008698" y="1697355"/>
                  </a:lnTo>
                  <a:lnTo>
                    <a:pt x="994410" y="1645920"/>
                  </a:lnTo>
                  <a:lnTo>
                    <a:pt x="994410" y="1645920"/>
                  </a:lnTo>
                  <a:lnTo>
                    <a:pt x="997268" y="1705927"/>
                  </a:lnTo>
                  <a:lnTo>
                    <a:pt x="980123" y="1728787"/>
                  </a:lnTo>
                  <a:lnTo>
                    <a:pt x="962978" y="1737360"/>
                  </a:lnTo>
                  <a:lnTo>
                    <a:pt x="971550" y="1780222"/>
                  </a:lnTo>
                  <a:lnTo>
                    <a:pt x="942975" y="1780222"/>
                  </a:lnTo>
                  <a:lnTo>
                    <a:pt x="922973" y="1791652"/>
                  </a:lnTo>
                  <a:lnTo>
                    <a:pt x="902970" y="1811655"/>
                  </a:lnTo>
                  <a:lnTo>
                    <a:pt x="902970" y="1811655"/>
                  </a:lnTo>
                  <a:lnTo>
                    <a:pt x="877253" y="1823085"/>
                  </a:lnTo>
                  <a:lnTo>
                    <a:pt x="860108" y="1825942"/>
                  </a:lnTo>
                  <a:lnTo>
                    <a:pt x="865823" y="1797367"/>
                  </a:lnTo>
                  <a:lnTo>
                    <a:pt x="837248" y="1803082"/>
                  </a:lnTo>
                  <a:lnTo>
                    <a:pt x="845820" y="1831657"/>
                  </a:lnTo>
                  <a:lnTo>
                    <a:pt x="840105" y="1845945"/>
                  </a:lnTo>
                  <a:lnTo>
                    <a:pt x="825818" y="1848802"/>
                  </a:lnTo>
                  <a:lnTo>
                    <a:pt x="800100" y="1851660"/>
                  </a:lnTo>
                  <a:lnTo>
                    <a:pt x="800100" y="1868805"/>
                  </a:lnTo>
                  <a:lnTo>
                    <a:pt x="800100" y="1868805"/>
                  </a:lnTo>
                  <a:lnTo>
                    <a:pt x="774383" y="1880235"/>
                  </a:lnTo>
                  <a:lnTo>
                    <a:pt x="780098" y="1908810"/>
                  </a:lnTo>
                  <a:lnTo>
                    <a:pt x="788670" y="1917382"/>
                  </a:lnTo>
                  <a:lnTo>
                    <a:pt x="771525" y="1931670"/>
                  </a:lnTo>
                  <a:lnTo>
                    <a:pt x="774383" y="1948815"/>
                  </a:lnTo>
                  <a:lnTo>
                    <a:pt x="791528" y="1948815"/>
                  </a:lnTo>
                  <a:lnTo>
                    <a:pt x="782955" y="1971675"/>
                  </a:lnTo>
                  <a:lnTo>
                    <a:pt x="780098" y="1991677"/>
                  </a:lnTo>
                  <a:lnTo>
                    <a:pt x="768668" y="2003107"/>
                  </a:lnTo>
                  <a:lnTo>
                    <a:pt x="745808" y="2005965"/>
                  </a:lnTo>
                  <a:lnTo>
                    <a:pt x="745808" y="2005965"/>
                  </a:lnTo>
                  <a:lnTo>
                    <a:pt x="754380" y="2031682"/>
                  </a:lnTo>
                  <a:lnTo>
                    <a:pt x="754380" y="2063115"/>
                  </a:lnTo>
                  <a:lnTo>
                    <a:pt x="742950" y="2094547"/>
                  </a:lnTo>
                  <a:lnTo>
                    <a:pt x="734378" y="2114550"/>
                  </a:lnTo>
                  <a:lnTo>
                    <a:pt x="717233" y="2125980"/>
                  </a:lnTo>
                  <a:lnTo>
                    <a:pt x="728663" y="2148840"/>
                  </a:lnTo>
                  <a:lnTo>
                    <a:pt x="705803" y="2154555"/>
                  </a:lnTo>
                  <a:lnTo>
                    <a:pt x="694373" y="2151697"/>
                  </a:lnTo>
                  <a:lnTo>
                    <a:pt x="682943" y="2123122"/>
                  </a:lnTo>
                  <a:lnTo>
                    <a:pt x="671513" y="2103120"/>
                  </a:lnTo>
                  <a:lnTo>
                    <a:pt x="617220" y="2117407"/>
                  </a:lnTo>
                  <a:lnTo>
                    <a:pt x="608648" y="2097405"/>
                  </a:lnTo>
                  <a:lnTo>
                    <a:pt x="602933" y="2080260"/>
                  </a:lnTo>
                  <a:lnTo>
                    <a:pt x="597218" y="2083117"/>
                  </a:lnTo>
                  <a:lnTo>
                    <a:pt x="597218" y="2051685"/>
                  </a:lnTo>
                  <a:lnTo>
                    <a:pt x="585788" y="2065972"/>
                  </a:lnTo>
                  <a:lnTo>
                    <a:pt x="594360" y="2037397"/>
                  </a:lnTo>
                  <a:lnTo>
                    <a:pt x="577215" y="2045970"/>
                  </a:lnTo>
                  <a:lnTo>
                    <a:pt x="565785" y="2031682"/>
                  </a:lnTo>
                  <a:lnTo>
                    <a:pt x="565785" y="2011680"/>
                  </a:lnTo>
                  <a:lnTo>
                    <a:pt x="551498" y="2011680"/>
                  </a:lnTo>
                  <a:lnTo>
                    <a:pt x="545783" y="1997392"/>
                  </a:lnTo>
                  <a:lnTo>
                    <a:pt x="540068" y="1983105"/>
                  </a:lnTo>
                  <a:lnTo>
                    <a:pt x="534353" y="1951672"/>
                  </a:lnTo>
                  <a:lnTo>
                    <a:pt x="551498" y="1934527"/>
                  </a:lnTo>
                  <a:lnTo>
                    <a:pt x="557213" y="1914525"/>
                  </a:lnTo>
                  <a:lnTo>
                    <a:pt x="565785" y="1914525"/>
                  </a:lnTo>
                  <a:lnTo>
                    <a:pt x="565785" y="1905952"/>
                  </a:lnTo>
                  <a:lnTo>
                    <a:pt x="554355" y="1897380"/>
                  </a:lnTo>
                  <a:lnTo>
                    <a:pt x="528638" y="1908810"/>
                  </a:lnTo>
                  <a:lnTo>
                    <a:pt x="514350" y="1923097"/>
                  </a:lnTo>
                  <a:lnTo>
                    <a:pt x="514350" y="1891665"/>
                  </a:lnTo>
                  <a:lnTo>
                    <a:pt x="511493" y="1851660"/>
                  </a:lnTo>
                  <a:lnTo>
                    <a:pt x="491490" y="1828800"/>
                  </a:lnTo>
                  <a:lnTo>
                    <a:pt x="488633" y="1805940"/>
                  </a:lnTo>
                  <a:lnTo>
                    <a:pt x="491490" y="1774507"/>
                  </a:lnTo>
                  <a:lnTo>
                    <a:pt x="471488" y="1754505"/>
                  </a:lnTo>
                  <a:lnTo>
                    <a:pt x="477203" y="1734502"/>
                  </a:lnTo>
                  <a:lnTo>
                    <a:pt x="468630" y="1717357"/>
                  </a:lnTo>
                  <a:lnTo>
                    <a:pt x="488633" y="1694497"/>
                  </a:lnTo>
                  <a:lnTo>
                    <a:pt x="525780" y="1708785"/>
                  </a:lnTo>
                  <a:lnTo>
                    <a:pt x="537210" y="1677352"/>
                  </a:lnTo>
                  <a:lnTo>
                    <a:pt x="502920" y="1677352"/>
                  </a:lnTo>
                  <a:lnTo>
                    <a:pt x="497205" y="1665922"/>
                  </a:lnTo>
                  <a:lnTo>
                    <a:pt x="534353" y="1665922"/>
                  </a:lnTo>
                  <a:lnTo>
                    <a:pt x="534353" y="1637347"/>
                  </a:lnTo>
                  <a:lnTo>
                    <a:pt x="554355" y="1634490"/>
                  </a:lnTo>
                  <a:lnTo>
                    <a:pt x="557213" y="1620202"/>
                  </a:lnTo>
                  <a:lnTo>
                    <a:pt x="537210" y="1600200"/>
                  </a:lnTo>
                  <a:lnTo>
                    <a:pt x="560070" y="1580197"/>
                  </a:lnTo>
                  <a:lnTo>
                    <a:pt x="517208" y="1563052"/>
                  </a:lnTo>
                  <a:lnTo>
                    <a:pt x="500063" y="1565910"/>
                  </a:lnTo>
                  <a:lnTo>
                    <a:pt x="480060" y="1534477"/>
                  </a:lnTo>
                  <a:lnTo>
                    <a:pt x="457200" y="1517332"/>
                  </a:lnTo>
                  <a:lnTo>
                    <a:pt x="477203" y="1503045"/>
                  </a:lnTo>
                  <a:lnTo>
                    <a:pt x="520065" y="1540192"/>
                  </a:lnTo>
                  <a:lnTo>
                    <a:pt x="551498" y="1543050"/>
                  </a:lnTo>
                  <a:lnTo>
                    <a:pt x="537210" y="1525905"/>
                  </a:lnTo>
                  <a:lnTo>
                    <a:pt x="540068" y="1514475"/>
                  </a:lnTo>
                  <a:lnTo>
                    <a:pt x="525780" y="1494472"/>
                  </a:lnTo>
                  <a:lnTo>
                    <a:pt x="508635" y="1483042"/>
                  </a:lnTo>
                  <a:lnTo>
                    <a:pt x="508635" y="1465897"/>
                  </a:lnTo>
                  <a:lnTo>
                    <a:pt x="508635" y="1445895"/>
                  </a:lnTo>
                  <a:lnTo>
                    <a:pt x="471488" y="1405890"/>
                  </a:lnTo>
                  <a:lnTo>
                    <a:pt x="442913" y="1448752"/>
                  </a:lnTo>
                  <a:lnTo>
                    <a:pt x="411480" y="1443037"/>
                  </a:lnTo>
                  <a:lnTo>
                    <a:pt x="434340" y="1425892"/>
                  </a:lnTo>
                  <a:lnTo>
                    <a:pt x="428625" y="1414462"/>
                  </a:lnTo>
                  <a:lnTo>
                    <a:pt x="454343" y="1385887"/>
                  </a:lnTo>
                  <a:lnTo>
                    <a:pt x="445770" y="1334452"/>
                  </a:lnTo>
                  <a:lnTo>
                    <a:pt x="425768" y="1325880"/>
                  </a:lnTo>
                  <a:lnTo>
                    <a:pt x="428625" y="1300162"/>
                  </a:lnTo>
                  <a:lnTo>
                    <a:pt x="414338" y="1274445"/>
                  </a:lnTo>
                  <a:lnTo>
                    <a:pt x="414338" y="1248727"/>
                  </a:lnTo>
                  <a:lnTo>
                    <a:pt x="400050" y="1205865"/>
                  </a:lnTo>
                  <a:lnTo>
                    <a:pt x="397193" y="1174432"/>
                  </a:lnTo>
                  <a:lnTo>
                    <a:pt x="385763" y="1154430"/>
                  </a:lnTo>
                  <a:lnTo>
                    <a:pt x="374333" y="1143000"/>
                  </a:lnTo>
                  <a:lnTo>
                    <a:pt x="354330" y="1100137"/>
                  </a:lnTo>
                  <a:lnTo>
                    <a:pt x="348615" y="1082992"/>
                  </a:lnTo>
                  <a:lnTo>
                    <a:pt x="337185" y="1065847"/>
                  </a:lnTo>
                  <a:lnTo>
                    <a:pt x="314325" y="1071562"/>
                  </a:lnTo>
                  <a:lnTo>
                    <a:pt x="305753" y="1057275"/>
                  </a:lnTo>
                  <a:lnTo>
                    <a:pt x="297180" y="1057275"/>
                  </a:lnTo>
                  <a:lnTo>
                    <a:pt x="280035" y="1040130"/>
                  </a:lnTo>
                  <a:lnTo>
                    <a:pt x="260033" y="1040130"/>
                  </a:lnTo>
                  <a:lnTo>
                    <a:pt x="242888" y="1025842"/>
                  </a:lnTo>
                  <a:lnTo>
                    <a:pt x="222885" y="1034415"/>
                  </a:lnTo>
                  <a:lnTo>
                    <a:pt x="214313" y="1011555"/>
                  </a:lnTo>
                  <a:lnTo>
                    <a:pt x="177165" y="1051560"/>
                  </a:lnTo>
                  <a:lnTo>
                    <a:pt x="171450" y="1014412"/>
                  </a:lnTo>
                  <a:lnTo>
                    <a:pt x="151448" y="1034415"/>
                  </a:lnTo>
                  <a:lnTo>
                    <a:pt x="128588" y="1028700"/>
                  </a:lnTo>
                  <a:lnTo>
                    <a:pt x="117158" y="1034415"/>
                  </a:lnTo>
                  <a:lnTo>
                    <a:pt x="151448" y="1068705"/>
                  </a:lnTo>
                  <a:lnTo>
                    <a:pt x="105728" y="1048702"/>
                  </a:lnTo>
                  <a:lnTo>
                    <a:pt x="94298" y="1025842"/>
                  </a:lnTo>
                  <a:lnTo>
                    <a:pt x="100013" y="997267"/>
                  </a:lnTo>
                  <a:lnTo>
                    <a:pt x="111443" y="982980"/>
                  </a:lnTo>
                  <a:lnTo>
                    <a:pt x="100013" y="965835"/>
                  </a:lnTo>
                  <a:lnTo>
                    <a:pt x="85725" y="960120"/>
                  </a:lnTo>
                  <a:lnTo>
                    <a:pt x="80010" y="945832"/>
                  </a:lnTo>
                  <a:lnTo>
                    <a:pt x="57150" y="940117"/>
                  </a:lnTo>
                  <a:lnTo>
                    <a:pt x="71438" y="965835"/>
                  </a:lnTo>
                  <a:lnTo>
                    <a:pt x="37148" y="940117"/>
                  </a:lnTo>
                  <a:lnTo>
                    <a:pt x="51435" y="925830"/>
                  </a:lnTo>
                  <a:lnTo>
                    <a:pt x="74295" y="931545"/>
                  </a:lnTo>
                  <a:lnTo>
                    <a:pt x="100013" y="937260"/>
                  </a:lnTo>
                  <a:lnTo>
                    <a:pt x="111443" y="931545"/>
                  </a:lnTo>
                  <a:lnTo>
                    <a:pt x="128588" y="934402"/>
                  </a:lnTo>
                  <a:lnTo>
                    <a:pt x="148590" y="937260"/>
                  </a:lnTo>
                  <a:lnTo>
                    <a:pt x="160020" y="934402"/>
                  </a:lnTo>
                  <a:lnTo>
                    <a:pt x="168593" y="920115"/>
                  </a:lnTo>
                  <a:lnTo>
                    <a:pt x="165735" y="891540"/>
                  </a:lnTo>
                  <a:lnTo>
                    <a:pt x="151448" y="854392"/>
                  </a:lnTo>
                  <a:lnTo>
                    <a:pt x="120015" y="882967"/>
                  </a:lnTo>
                  <a:lnTo>
                    <a:pt x="100013" y="862965"/>
                  </a:lnTo>
                  <a:lnTo>
                    <a:pt x="91440" y="871537"/>
                  </a:lnTo>
                  <a:lnTo>
                    <a:pt x="88583" y="885825"/>
                  </a:lnTo>
                  <a:lnTo>
                    <a:pt x="77153" y="882967"/>
                  </a:lnTo>
                  <a:lnTo>
                    <a:pt x="71438" y="865822"/>
                  </a:lnTo>
                  <a:lnTo>
                    <a:pt x="62865" y="857250"/>
                  </a:lnTo>
                  <a:lnTo>
                    <a:pt x="48578" y="845820"/>
                  </a:lnTo>
                  <a:lnTo>
                    <a:pt x="22860" y="840105"/>
                  </a:lnTo>
                  <a:lnTo>
                    <a:pt x="0" y="78581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4" name="Freeform: Shape 11"/>
            <p:cNvSpPr/>
            <p:nvPr/>
          </p:nvSpPr>
          <p:spPr bwMode="auto">
            <a:xfrm>
              <a:off x="788194" y="2102644"/>
              <a:ext cx="2109787" cy="1443037"/>
            </a:xfrm>
            <a:custGeom>
              <a:avLst/>
              <a:gdLst>
                <a:gd name="connsiteX0" fmla="*/ 1574006 w 2109787"/>
                <a:gd name="connsiteY0" fmla="*/ 600075 h 1443037"/>
                <a:gd name="connsiteX1" fmla="*/ 1576387 w 2109787"/>
                <a:gd name="connsiteY1" fmla="*/ 652462 h 1443037"/>
                <a:gd name="connsiteX2" fmla="*/ 1562100 w 2109787"/>
                <a:gd name="connsiteY2" fmla="*/ 695325 h 1443037"/>
                <a:gd name="connsiteX3" fmla="*/ 1581150 w 2109787"/>
                <a:gd name="connsiteY3" fmla="*/ 704850 h 1443037"/>
                <a:gd name="connsiteX4" fmla="*/ 1583531 w 2109787"/>
                <a:gd name="connsiteY4" fmla="*/ 721519 h 1443037"/>
                <a:gd name="connsiteX5" fmla="*/ 1590675 w 2109787"/>
                <a:gd name="connsiteY5" fmla="*/ 754856 h 1443037"/>
                <a:gd name="connsiteX6" fmla="*/ 1552575 w 2109787"/>
                <a:gd name="connsiteY6" fmla="*/ 781050 h 1443037"/>
                <a:gd name="connsiteX7" fmla="*/ 1571625 w 2109787"/>
                <a:gd name="connsiteY7" fmla="*/ 814387 h 1443037"/>
                <a:gd name="connsiteX8" fmla="*/ 1585912 w 2109787"/>
                <a:gd name="connsiteY8" fmla="*/ 838200 h 1443037"/>
                <a:gd name="connsiteX9" fmla="*/ 1597819 w 2109787"/>
                <a:gd name="connsiteY9" fmla="*/ 892969 h 1443037"/>
                <a:gd name="connsiteX10" fmla="*/ 1602581 w 2109787"/>
                <a:gd name="connsiteY10" fmla="*/ 912019 h 1443037"/>
                <a:gd name="connsiteX11" fmla="*/ 1574006 w 2109787"/>
                <a:gd name="connsiteY11" fmla="*/ 954881 h 1443037"/>
                <a:gd name="connsiteX12" fmla="*/ 1531144 w 2109787"/>
                <a:gd name="connsiteY12" fmla="*/ 978694 h 1443037"/>
                <a:gd name="connsiteX13" fmla="*/ 1547812 w 2109787"/>
                <a:gd name="connsiteY13" fmla="*/ 1009650 h 1443037"/>
                <a:gd name="connsiteX14" fmla="*/ 1552575 w 2109787"/>
                <a:gd name="connsiteY14" fmla="*/ 1045369 h 1443037"/>
                <a:gd name="connsiteX15" fmla="*/ 1557337 w 2109787"/>
                <a:gd name="connsiteY15" fmla="*/ 1081087 h 1443037"/>
                <a:gd name="connsiteX16" fmla="*/ 1547812 w 2109787"/>
                <a:gd name="connsiteY16" fmla="*/ 1104900 h 1443037"/>
                <a:gd name="connsiteX17" fmla="*/ 1540669 w 2109787"/>
                <a:gd name="connsiteY17" fmla="*/ 1123950 h 1443037"/>
                <a:gd name="connsiteX18" fmla="*/ 1526381 w 2109787"/>
                <a:gd name="connsiteY18" fmla="*/ 1116806 h 1443037"/>
                <a:gd name="connsiteX19" fmla="*/ 1512094 w 2109787"/>
                <a:gd name="connsiteY19" fmla="*/ 1123950 h 1443037"/>
                <a:gd name="connsiteX20" fmla="*/ 1493044 w 2109787"/>
                <a:gd name="connsiteY20" fmla="*/ 1104900 h 1443037"/>
                <a:gd name="connsiteX21" fmla="*/ 1478756 w 2109787"/>
                <a:gd name="connsiteY21" fmla="*/ 1081087 h 1443037"/>
                <a:gd name="connsiteX22" fmla="*/ 1459706 w 2109787"/>
                <a:gd name="connsiteY22" fmla="*/ 1076325 h 1443037"/>
                <a:gd name="connsiteX23" fmla="*/ 1454944 w 2109787"/>
                <a:gd name="connsiteY23" fmla="*/ 1062037 h 1443037"/>
                <a:gd name="connsiteX24" fmla="*/ 1450181 w 2109787"/>
                <a:gd name="connsiteY24" fmla="*/ 1042987 h 1443037"/>
                <a:gd name="connsiteX25" fmla="*/ 1443037 w 2109787"/>
                <a:gd name="connsiteY25" fmla="*/ 1014412 h 1443037"/>
                <a:gd name="connsiteX26" fmla="*/ 1447800 w 2109787"/>
                <a:gd name="connsiteY26" fmla="*/ 990600 h 1443037"/>
                <a:gd name="connsiteX27" fmla="*/ 1447800 w 2109787"/>
                <a:gd name="connsiteY27" fmla="*/ 969169 h 1443037"/>
                <a:gd name="connsiteX28" fmla="*/ 1440656 w 2109787"/>
                <a:gd name="connsiteY28" fmla="*/ 957262 h 1443037"/>
                <a:gd name="connsiteX29" fmla="*/ 1421606 w 2109787"/>
                <a:gd name="connsiteY29" fmla="*/ 964406 h 1443037"/>
                <a:gd name="connsiteX30" fmla="*/ 1385887 w 2109787"/>
                <a:gd name="connsiteY30" fmla="*/ 954881 h 1443037"/>
                <a:gd name="connsiteX31" fmla="*/ 1340644 w 2109787"/>
                <a:gd name="connsiteY31" fmla="*/ 933450 h 1443037"/>
                <a:gd name="connsiteX32" fmla="*/ 1300162 w 2109787"/>
                <a:gd name="connsiteY32" fmla="*/ 900112 h 1443037"/>
                <a:gd name="connsiteX33" fmla="*/ 1231106 w 2109787"/>
                <a:gd name="connsiteY33" fmla="*/ 869156 h 1443037"/>
                <a:gd name="connsiteX34" fmla="*/ 1202531 w 2109787"/>
                <a:gd name="connsiteY34" fmla="*/ 881062 h 1443037"/>
                <a:gd name="connsiteX35" fmla="*/ 1181100 w 2109787"/>
                <a:gd name="connsiteY35" fmla="*/ 826294 h 1443037"/>
                <a:gd name="connsiteX36" fmla="*/ 1176337 w 2109787"/>
                <a:gd name="connsiteY36" fmla="*/ 797719 h 1443037"/>
                <a:gd name="connsiteX37" fmla="*/ 1150144 w 2109787"/>
                <a:gd name="connsiteY37" fmla="*/ 778669 h 1443037"/>
                <a:gd name="connsiteX38" fmla="*/ 1131094 w 2109787"/>
                <a:gd name="connsiteY38" fmla="*/ 723900 h 1443037"/>
                <a:gd name="connsiteX39" fmla="*/ 1150144 w 2109787"/>
                <a:gd name="connsiteY39" fmla="*/ 695325 h 1443037"/>
                <a:gd name="connsiteX40" fmla="*/ 1152525 w 2109787"/>
                <a:gd name="connsiteY40" fmla="*/ 681037 h 1443037"/>
                <a:gd name="connsiteX41" fmla="*/ 1140619 w 2109787"/>
                <a:gd name="connsiteY41" fmla="*/ 652462 h 1443037"/>
                <a:gd name="connsiteX42" fmla="*/ 1154906 w 2109787"/>
                <a:gd name="connsiteY42" fmla="*/ 650081 h 1443037"/>
                <a:gd name="connsiteX43" fmla="*/ 1176337 w 2109787"/>
                <a:gd name="connsiteY43" fmla="*/ 635794 h 1443037"/>
                <a:gd name="connsiteX44" fmla="*/ 1204912 w 2109787"/>
                <a:gd name="connsiteY44" fmla="*/ 604837 h 1443037"/>
                <a:gd name="connsiteX45" fmla="*/ 1204912 w 2109787"/>
                <a:gd name="connsiteY45" fmla="*/ 581025 h 1443037"/>
                <a:gd name="connsiteX46" fmla="*/ 1226344 w 2109787"/>
                <a:gd name="connsiteY46" fmla="*/ 581025 h 1443037"/>
                <a:gd name="connsiteX47" fmla="*/ 1252537 w 2109787"/>
                <a:gd name="connsiteY47" fmla="*/ 564356 h 1443037"/>
                <a:gd name="connsiteX48" fmla="*/ 1219200 w 2109787"/>
                <a:gd name="connsiteY48" fmla="*/ 528637 h 1443037"/>
                <a:gd name="connsiteX49" fmla="*/ 1219200 w 2109787"/>
                <a:gd name="connsiteY49" fmla="*/ 528637 h 1443037"/>
                <a:gd name="connsiteX50" fmla="*/ 1262062 w 2109787"/>
                <a:gd name="connsiteY50" fmla="*/ 540544 h 1443037"/>
                <a:gd name="connsiteX51" fmla="*/ 1257300 w 2109787"/>
                <a:gd name="connsiteY51" fmla="*/ 514350 h 1443037"/>
                <a:gd name="connsiteX52" fmla="*/ 1281112 w 2109787"/>
                <a:gd name="connsiteY52" fmla="*/ 516731 h 1443037"/>
                <a:gd name="connsiteX53" fmla="*/ 1297781 w 2109787"/>
                <a:gd name="connsiteY53" fmla="*/ 509587 h 1443037"/>
                <a:gd name="connsiteX54" fmla="*/ 1331119 w 2109787"/>
                <a:gd name="connsiteY54" fmla="*/ 464344 h 1443037"/>
                <a:gd name="connsiteX55" fmla="*/ 1290637 w 2109787"/>
                <a:gd name="connsiteY55" fmla="*/ 447675 h 1443037"/>
                <a:gd name="connsiteX56" fmla="*/ 1269206 w 2109787"/>
                <a:gd name="connsiteY56" fmla="*/ 419100 h 1443037"/>
                <a:gd name="connsiteX57" fmla="*/ 1281112 w 2109787"/>
                <a:gd name="connsiteY57" fmla="*/ 400050 h 1443037"/>
                <a:gd name="connsiteX58" fmla="*/ 1304925 w 2109787"/>
                <a:gd name="connsiteY58" fmla="*/ 419100 h 1443037"/>
                <a:gd name="connsiteX59" fmla="*/ 1335881 w 2109787"/>
                <a:gd name="connsiteY59" fmla="*/ 438150 h 1443037"/>
                <a:gd name="connsiteX60" fmla="*/ 1359694 w 2109787"/>
                <a:gd name="connsiteY60" fmla="*/ 392906 h 1443037"/>
                <a:gd name="connsiteX61" fmla="*/ 1340644 w 2109787"/>
                <a:gd name="connsiteY61" fmla="*/ 381000 h 1443037"/>
                <a:gd name="connsiteX62" fmla="*/ 1359694 w 2109787"/>
                <a:gd name="connsiteY62" fmla="*/ 364331 h 1443037"/>
                <a:gd name="connsiteX63" fmla="*/ 1390650 w 2109787"/>
                <a:gd name="connsiteY63" fmla="*/ 373856 h 1443037"/>
                <a:gd name="connsiteX64" fmla="*/ 1419225 w 2109787"/>
                <a:gd name="connsiteY64" fmla="*/ 364331 h 1443037"/>
                <a:gd name="connsiteX65" fmla="*/ 1440656 w 2109787"/>
                <a:gd name="connsiteY65" fmla="*/ 373856 h 1443037"/>
                <a:gd name="connsiteX66" fmla="*/ 1459706 w 2109787"/>
                <a:gd name="connsiteY66" fmla="*/ 350044 h 1443037"/>
                <a:gd name="connsiteX67" fmla="*/ 1464469 w 2109787"/>
                <a:gd name="connsiteY67" fmla="*/ 292894 h 1443037"/>
                <a:gd name="connsiteX68" fmla="*/ 1459706 w 2109787"/>
                <a:gd name="connsiteY68" fmla="*/ 269081 h 1443037"/>
                <a:gd name="connsiteX69" fmla="*/ 1450181 w 2109787"/>
                <a:gd name="connsiteY69" fmla="*/ 254794 h 1443037"/>
                <a:gd name="connsiteX70" fmla="*/ 1462087 w 2109787"/>
                <a:gd name="connsiteY70" fmla="*/ 230981 h 1443037"/>
                <a:gd name="connsiteX71" fmla="*/ 1476375 w 2109787"/>
                <a:gd name="connsiteY71" fmla="*/ 235744 h 1443037"/>
                <a:gd name="connsiteX72" fmla="*/ 1469231 w 2109787"/>
                <a:gd name="connsiteY72" fmla="*/ 216694 h 1443037"/>
                <a:gd name="connsiteX73" fmla="*/ 1469231 w 2109787"/>
                <a:gd name="connsiteY73" fmla="*/ 204787 h 1443037"/>
                <a:gd name="connsiteX74" fmla="*/ 1457325 w 2109787"/>
                <a:gd name="connsiteY74" fmla="*/ 188119 h 1443037"/>
                <a:gd name="connsiteX75" fmla="*/ 1447800 w 2109787"/>
                <a:gd name="connsiteY75" fmla="*/ 166687 h 1443037"/>
                <a:gd name="connsiteX76" fmla="*/ 1426369 w 2109787"/>
                <a:gd name="connsiteY76" fmla="*/ 166687 h 1443037"/>
                <a:gd name="connsiteX77" fmla="*/ 1390650 w 2109787"/>
                <a:gd name="connsiteY77" fmla="*/ 154781 h 1443037"/>
                <a:gd name="connsiteX78" fmla="*/ 1381125 w 2109787"/>
                <a:gd name="connsiteY78" fmla="*/ 159544 h 1443037"/>
                <a:gd name="connsiteX79" fmla="*/ 1383506 w 2109787"/>
                <a:gd name="connsiteY79" fmla="*/ 180975 h 1443037"/>
                <a:gd name="connsiteX80" fmla="*/ 1393031 w 2109787"/>
                <a:gd name="connsiteY80" fmla="*/ 192881 h 1443037"/>
                <a:gd name="connsiteX81" fmla="*/ 1393031 w 2109787"/>
                <a:gd name="connsiteY81" fmla="*/ 211931 h 1443037"/>
                <a:gd name="connsiteX82" fmla="*/ 1393031 w 2109787"/>
                <a:gd name="connsiteY82" fmla="*/ 230981 h 1443037"/>
                <a:gd name="connsiteX83" fmla="*/ 1371600 w 2109787"/>
                <a:gd name="connsiteY83" fmla="*/ 235744 h 1443037"/>
                <a:gd name="connsiteX84" fmla="*/ 1366837 w 2109787"/>
                <a:gd name="connsiteY84" fmla="*/ 273844 h 1443037"/>
                <a:gd name="connsiteX85" fmla="*/ 1354931 w 2109787"/>
                <a:gd name="connsiteY85" fmla="*/ 295275 h 1443037"/>
                <a:gd name="connsiteX86" fmla="*/ 1352550 w 2109787"/>
                <a:gd name="connsiteY86" fmla="*/ 309562 h 1443037"/>
                <a:gd name="connsiteX87" fmla="*/ 1338262 w 2109787"/>
                <a:gd name="connsiteY87" fmla="*/ 314325 h 1443037"/>
                <a:gd name="connsiteX88" fmla="*/ 1326356 w 2109787"/>
                <a:gd name="connsiteY88" fmla="*/ 307181 h 1443037"/>
                <a:gd name="connsiteX89" fmla="*/ 1302544 w 2109787"/>
                <a:gd name="connsiteY89" fmla="*/ 276225 h 1443037"/>
                <a:gd name="connsiteX90" fmla="*/ 1314450 w 2109787"/>
                <a:gd name="connsiteY90" fmla="*/ 257175 h 1443037"/>
                <a:gd name="connsiteX91" fmla="*/ 1285875 w 2109787"/>
                <a:gd name="connsiteY91" fmla="*/ 200025 h 1443037"/>
                <a:gd name="connsiteX92" fmla="*/ 1278731 w 2109787"/>
                <a:gd name="connsiteY92" fmla="*/ 200025 h 1443037"/>
                <a:gd name="connsiteX93" fmla="*/ 1278731 w 2109787"/>
                <a:gd name="connsiteY93" fmla="*/ 200025 h 1443037"/>
                <a:gd name="connsiteX94" fmla="*/ 1276350 w 2109787"/>
                <a:gd name="connsiteY94" fmla="*/ 242887 h 1443037"/>
                <a:gd name="connsiteX95" fmla="*/ 1276350 w 2109787"/>
                <a:gd name="connsiteY95" fmla="*/ 242887 h 1443037"/>
                <a:gd name="connsiteX96" fmla="*/ 1250156 w 2109787"/>
                <a:gd name="connsiteY96" fmla="*/ 219075 h 1443037"/>
                <a:gd name="connsiteX97" fmla="*/ 1238250 w 2109787"/>
                <a:gd name="connsiteY97" fmla="*/ 190500 h 1443037"/>
                <a:gd name="connsiteX98" fmla="*/ 1240631 w 2109787"/>
                <a:gd name="connsiteY98" fmla="*/ 171450 h 1443037"/>
                <a:gd name="connsiteX99" fmla="*/ 1226344 w 2109787"/>
                <a:gd name="connsiteY99" fmla="*/ 171450 h 1443037"/>
                <a:gd name="connsiteX100" fmla="*/ 1190625 w 2109787"/>
                <a:gd name="connsiteY100" fmla="*/ 152400 h 1443037"/>
                <a:gd name="connsiteX101" fmla="*/ 1219200 w 2109787"/>
                <a:gd name="connsiteY101" fmla="*/ 123825 h 1443037"/>
                <a:gd name="connsiteX102" fmla="*/ 1185862 w 2109787"/>
                <a:gd name="connsiteY102" fmla="*/ 76200 h 1443037"/>
                <a:gd name="connsiteX103" fmla="*/ 1183481 w 2109787"/>
                <a:gd name="connsiteY103" fmla="*/ 40481 h 1443037"/>
                <a:gd name="connsiteX104" fmla="*/ 1166812 w 2109787"/>
                <a:gd name="connsiteY104" fmla="*/ 11906 h 1443037"/>
                <a:gd name="connsiteX105" fmla="*/ 1143000 w 2109787"/>
                <a:gd name="connsiteY105" fmla="*/ 0 h 1443037"/>
                <a:gd name="connsiteX106" fmla="*/ 1126331 w 2109787"/>
                <a:gd name="connsiteY106" fmla="*/ 14287 h 1443037"/>
                <a:gd name="connsiteX107" fmla="*/ 1121569 w 2109787"/>
                <a:gd name="connsiteY107" fmla="*/ 42862 h 1443037"/>
                <a:gd name="connsiteX108" fmla="*/ 1107281 w 2109787"/>
                <a:gd name="connsiteY108" fmla="*/ 52387 h 1443037"/>
                <a:gd name="connsiteX109" fmla="*/ 1114425 w 2109787"/>
                <a:gd name="connsiteY109" fmla="*/ 71437 h 1443037"/>
                <a:gd name="connsiteX110" fmla="*/ 1116806 w 2109787"/>
                <a:gd name="connsiteY110" fmla="*/ 92869 h 1443037"/>
                <a:gd name="connsiteX111" fmla="*/ 1116806 w 2109787"/>
                <a:gd name="connsiteY111" fmla="*/ 92869 h 1443037"/>
                <a:gd name="connsiteX112" fmla="*/ 1112044 w 2109787"/>
                <a:gd name="connsiteY112" fmla="*/ 126206 h 1443037"/>
                <a:gd name="connsiteX113" fmla="*/ 1121569 w 2109787"/>
                <a:gd name="connsiteY113" fmla="*/ 152400 h 1443037"/>
                <a:gd name="connsiteX114" fmla="*/ 1152525 w 2109787"/>
                <a:gd name="connsiteY114" fmla="*/ 161925 h 1443037"/>
                <a:gd name="connsiteX115" fmla="*/ 1176337 w 2109787"/>
                <a:gd name="connsiteY115" fmla="*/ 183356 h 1443037"/>
                <a:gd name="connsiteX116" fmla="*/ 1185862 w 2109787"/>
                <a:gd name="connsiteY116" fmla="*/ 183356 h 1443037"/>
                <a:gd name="connsiteX117" fmla="*/ 1188244 w 2109787"/>
                <a:gd name="connsiteY117" fmla="*/ 202406 h 1443037"/>
                <a:gd name="connsiteX118" fmla="*/ 1157287 w 2109787"/>
                <a:gd name="connsiteY118" fmla="*/ 200025 h 1443037"/>
                <a:gd name="connsiteX119" fmla="*/ 1178719 w 2109787"/>
                <a:gd name="connsiteY119" fmla="*/ 219075 h 1443037"/>
                <a:gd name="connsiteX120" fmla="*/ 1176337 w 2109787"/>
                <a:gd name="connsiteY120" fmla="*/ 238125 h 1443037"/>
                <a:gd name="connsiteX121" fmla="*/ 1166812 w 2109787"/>
                <a:gd name="connsiteY121" fmla="*/ 257175 h 1443037"/>
                <a:gd name="connsiteX122" fmla="*/ 1133475 w 2109787"/>
                <a:gd name="connsiteY122" fmla="*/ 271462 h 1443037"/>
                <a:gd name="connsiteX123" fmla="*/ 1131094 w 2109787"/>
                <a:gd name="connsiteY123" fmla="*/ 300037 h 1443037"/>
                <a:gd name="connsiteX124" fmla="*/ 1133475 w 2109787"/>
                <a:gd name="connsiteY124" fmla="*/ 326231 h 1443037"/>
                <a:gd name="connsiteX125" fmla="*/ 1104900 w 2109787"/>
                <a:gd name="connsiteY125" fmla="*/ 314325 h 1443037"/>
                <a:gd name="connsiteX126" fmla="*/ 1114425 w 2109787"/>
                <a:gd name="connsiteY126" fmla="*/ 276225 h 1443037"/>
                <a:gd name="connsiteX127" fmla="*/ 1071562 w 2109787"/>
                <a:gd name="connsiteY127" fmla="*/ 250031 h 1443037"/>
                <a:gd name="connsiteX128" fmla="*/ 1071562 w 2109787"/>
                <a:gd name="connsiteY128" fmla="*/ 250031 h 1443037"/>
                <a:gd name="connsiteX129" fmla="*/ 1085850 w 2109787"/>
                <a:gd name="connsiteY129" fmla="*/ 288131 h 1443037"/>
                <a:gd name="connsiteX130" fmla="*/ 1071562 w 2109787"/>
                <a:gd name="connsiteY130" fmla="*/ 300037 h 1443037"/>
                <a:gd name="connsiteX131" fmla="*/ 1050131 w 2109787"/>
                <a:gd name="connsiteY131" fmla="*/ 292894 h 1443037"/>
                <a:gd name="connsiteX132" fmla="*/ 1035844 w 2109787"/>
                <a:gd name="connsiteY132" fmla="*/ 295275 h 1443037"/>
                <a:gd name="connsiteX133" fmla="*/ 988219 w 2109787"/>
                <a:gd name="connsiteY133" fmla="*/ 295275 h 1443037"/>
                <a:gd name="connsiteX134" fmla="*/ 964406 w 2109787"/>
                <a:gd name="connsiteY134" fmla="*/ 295275 h 1443037"/>
                <a:gd name="connsiteX135" fmla="*/ 926306 w 2109787"/>
                <a:gd name="connsiteY135" fmla="*/ 273844 h 1443037"/>
                <a:gd name="connsiteX136" fmla="*/ 902494 w 2109787"/>
                <a:gd name="connsiteY136" fmla="*/ 273844 h 1443037"/>
                <a:gd name="connsiteX137" fmla="*/ 881062 w 2109787"/>
                <a:gd name="connsiteY137" fmla="*/ 259556 h 1443037"/>
                <a:gd name="connsiteX138" fmla="*/ 871537 w 2109787"/>
                <a:gd name="connsiteY138" fmla="*/ 238125 h 1443037"/>
                <a:gd name="connsiteX139" fmla="*/ 852487 w 2109787"/>
                <a:gd name="connsiteY139" fmla="*/ 216694 h 1443037"/>
                <a:gd name="connsiteX140" fmla="*/ 807244 w 2109787"/>
                <a:gd name="connsiteY140" fmla="*/ 240506 h 1443037"/>
                <a:gd name="connsiteX141" fmla="*/ 823912 w 2109787"/>
                <a:gd name="connsiteY141" fmla="*/ 259556 h 1443037"/>
                <a:gd name="connsiteX142" fmla="*/ 840581 w 2109787"/>
                <a:gd name="connsiteY142" fmla="*/ 242887 h 1443037"/>
                <a:gd name="connsiteX143" fmla="*/ 850106 w 2109787"/>
                <a:gd name="connsiteY143" fmla="*/ 235744 h 1443037"/>
                <a:gd name="connsiteX144" fmla="*/ 862012 w 2109787"/>
                <a:gd name="connsiteY144" fmla="*/ 233362 h 1443037"/>
                <a:gd name="connsiteX145" fmla="*/ 869156 w 2109787"/>
                <a:gd name="connsiteY145" fmla="*/ 254794 h 1443037"/>
                <a:gd name="connsiteX146" fmla="*/ 831056 w 2109787"/>
                <a:gd name="connsiteY146" fmla="*/ 285750 h 1443037"/>
                <a:gd name="connsiteX147" fmla="*/ 842962 w 2109787"/>
                <a:gd name="connsiteY147" fmla="*/ 321469 h 1443037"/>
                <a:gd name="connsiteX148" fmla="*/ 835819 w 2109787"/>
                <a:gd name="connsiteY148" fmla="*/ 354806 h 1443037"/>
                <a:gd name="connsiteX149" fmla="*/ 807244 w 2109787"/>
                <a:gd name="connsiteY149" fmla="*/ 340519 h 1443037"/>
                <a:gd name="connsiteX150" fmla="*/ 800100 w 2109787"/>
                <a:gd name="connsiteY150" fmla="*/ 316706 h 1443037"/>
                <a:gd name="connsiteX151" fmla="*/ 762000 w 2109787"/>
                <a:gd name="connsiteY151" fmla="*/ 276225 h 1443037"/>
                <a:gd name="connsiteX152" fmla="*/ 735806 w 2109787"/>
                <a:gd name="connsiteY152" fmla="*/ 297656 h 1443037"/>
                <a:gd name="connsiteX153" fmla="*/ 688181 w 2109787"/>
                <a:gd name="connsiteY153" fmla="*/ 297656 h 1443037"/>
                <a:gd name="connsiteX154" fmla="*/ 640556 w 2109787"/>
                <a:gd name="connsiteY154" fmla="*/ 285750 h 1443037"/>
                <a:gd name="connsiteX155" fmla="*/ 616744 w 2109787"/>
                <a:gd name="connsiteY155" fmla="*/ 278606 h 1443037"/>
                <a:gd name="connsiteX156" fmla="*/ 645319 w 2109787"/>
                <a:gd name="connsiteY156" fmla="*/ 254794 h 1443037"/>
                <a:gd name="connsiteX157" fmla="*/ 650081 w 2109787"/>
                <a:gd name="connsiteY157" fmla="*/ 242887 h 1443037"/>
                <a:gd name="connsiteX158" fmla="*/ 628650 w 2109787"/>
                <a:gd name="connsiteY158" fmla="*/ 216694 h 1443037"/>
                <a:gd name="connsiteX159" fmla="*/ 609600 w 2109787"/>
                <a:gd name="connsiteY159" fmla="*/ 228600 h 1443037"/>
                <a:gd name="connsiteX160" fmla="*/ 557212 w 2109787"/>
                <a:gd name="connsiteY160" fmla="*/ 204787 h 1443037"/>
                <a:gd name="connsiteX161" fmla="*/ 516731 w 2109787"/>
                <a:gd name="connsiteY161" fmla="*/ 188119 h 1443037"/>
                <a:gd name="connsiteX162" fmla="*/ 481012 w 2109787"/>
                <a:gd name="connsiteY162" fmla="*/ 154781 h 1443037"/>
                <a:gd name="connsiteX163" fmla="*/ 442912 w 2109787"/>
                <a:gd name="connsiteY163" fmla="*/ 150019 h 1443037"/>
                <a:gd name="connsiteX164" fmla="*/ 442912 w 2109787"/>
                <a:gd name="connsiteY164" fmla="*/ 176212 h 1443037"/>
                <a:gd name="connsiteX165" fmla="*/ 423862 w 2109787"/>
                <a:gd name="connsiteY165" fmla="*/ 185737 h 1443037"/>
                <a:gd name="connsiteX166" fmla="*/ 409575 w 2109787"/>
                <a:gd name="connsiteY166" fmla="*/ 176212 h 1443037"/>
                <a:gd name="connsiteX167" fmla="*/ 404812 w 2109787"/>
                <a:gd name="connsiteY167" fmla="*/ 147637 h 1443037"/>
                <a:gd name="connsiteX168" fmla="*/ 392906 w 2109787"/>
                <a:gd name="connsiteY168" fmla="*/ 152400 h 1443037"/>
                <a:gd name="connsiteX169" fmla="*/ 392906 w 2109787"/>
                <a:gd name="connsiteY169" fmla="*/ 176212 h 1443037"/>
                <a:gd name="connsiteX170" fmla="*/ 373856 w 2109787"/>
                <a:gd name="connsiteY170" fmla="*/ 178594 h 1443037"/>
                <a:gd name="connsiteX171" fmla="*/ 323850 w 2109787"/>
                <a:gd name="connsiteY171" fmla="*/ 102394 h 1443037"/>
                <a:gd name="connsiteX172" fmla="*/ 321469 w 2109787"/>
                <a:gd name="connsiteY172" fmla="*/ 126206 h 1443037"/>
                <a:gd name="connsiteX173" fmla="*/ 321469 w 2109787"/>
                <a:gd name="connsiteY173" fmla="*/ 140494 h 1443037"/>
                <a:gd name="connsiteX174" fmla="*/ 307181 w 2109787"/>
                <a:gd name="connsiteY174" fmla="*/ 159544 h 1443037"/>
                <a:gd name="connsiteX175" fmla="*/ 297656 w 2109787"/>
                <a:gd name="connsiteY175" fmla="*/ 152400 h 1443037"/>
                <a:gd name="connsiteX176" fmla="*/ 264319 w 2109787"/>
                <a:gd name="connsiteY176" fmla="*/ 169069 h 1443037"/>
                <a:gd name="connsiteX177" fmla="*/ 264319 w 2109787"/>
                <a:gd name="connsiteY177" fmla="*/ 169069 h 1443037"/>
                <a:gd name="connsiteX178" fmla="*/ 242887 w 2109787"/>
                <a:gd name="connsiteY178" fmla="*/ 188119 h 1443037"/>
                <a:gd name="connsiteX179" fmla="*/ 207169 w 2109787"/>
                <a:gd name="connsiteY179" fmla="*/ 195262 h 1443037"/>
                <a:gd name="connsiteX180" fmla="*/ 214312 w 2109787"/>
                <a:gd name="connsiteY180" fmla="*/ 180975 h 1443037"/>
                <a:gd name="connsiteX181" fmla="*/ 276225 w 2109787"/>
                <a:gd name="connsiteY181" fmla="*/ 138112 h 1443037"/>
                <a:gd name="connsiteX182" fmla="*/ 223837 w 2109787"/>
                <a:gd name="connsiteY182" fmla="*/ 157162 h 1443037"/>
                <a:gd name="connsiteX183" fmla="*/ 171450 w 2109787"/>
                <a:gd name="connsiteY183" fmla="*/ 192881 h 1443037"/>
                <a:gd name="connsiteX184" fmla="*/ 161925 w 2109787"/>
                <a:gd name="connsiteY184" fmla="*/ 171450 h 1443037"/>
                <a:gd name="connsiteX185" fmla="*/ 145256 w 2109787"/>
                <a:gd name="connsiteY185" fmla="*/ 173831 h 1443037"/>
                <a:gd name="connsiteX186" fmla="*/ 164306 w 2109787"/>
                <a:gd name="connsiteY186" fmla="*/ 207169 h 1443037"/>
                <a:gd name="connsiteX187" fmla="*/ 169069 w 2109787"/>
                <a:gd name="connsiteY187" fmla="*/ 221456 h 1443037"/>
                <a:gd name="connsiteX188" fmla="*/ 171450 w 2109787"/>
                <a:gd name="connsiteY188" fmla="*/ 242887 h 1443037"/>
                <a:gd name="connsiteX189" fmla="*/ 154781 w 2109787"/>
                <a:gd name="connsiteY189" fmla="*/ 226219 h 1443037"/>
                <a:gd name="connsiteX190" fmla="*/ 130969 w 2109787"/>
                <a:gd name="connsiteY190" fmla="*/ 195262 h 1443037"/>
                <a:gd name="connsiteX191" fmla="*/ 140494 w 2109787"/>
                <a:gd name="connsiteY191" fmla="*/ 230981 h 1443037"/>
                <a:gd name="connsiteX192" fmla="*/ 123825 w 2109787"/>
                <a:gd name="connsiteY192" fmla="*/ 233362 h 1443037"/>
                <a:gd name="connsiteX193" fmla="*/ 114300 w 2109787"/>
                <a:gd name="connsiteY193" fmla="*/ 214312 h 1443037"/>
                <a:gd name="connsiteX194" fmla="*/ 80962 w 2109787"/>
                <a:gd name="connsiteY194" fmla="*/ 204787 h 1443037"/>
                <a:gd name="connsiteX195" fmla="*/ 35719 w 2109787"/>
                <a:gd name="connsiteY195" fmla="*/ 166687 h 1443037"/>
                <a:gd name="connsiteX196" fmla="*/ 14287 w 2109787"/>
                <a:gd name="connsiteY196" fmla="*/ 176212 h 1443037"/>
                <a:gd name="connsiteX197" fmla="*/ 0 w 2109787"/>
                <a:gd name="connsiteY197" fmla="*/ 723900 h 1443037"/>
                <a:gd name="connsiteX198" fmla="*/ 30956 w 2109787"/>
                <a:gd name="connsiteY198" fmla="*/ 716756 h 1443037"/>
                <a:gd name="connsiteX199" fmla="*/ 61912 w 2109787"/>
                <a:gd name="connsiteY199" fmla="*/ 726281 h 1443037"/>
                <a:gd name="connsiteX200" fmla="*/ 85725 w 2109787"/>
                <a:gd name="connsiteY200" fmla="*/ 759619 h 1443037"/>
                <a:gd name="connsiteX201" fmla="*/ 138112 w 2109787"/>
                <a:gd name="connsiteY201" fmla="*/ 740569 h 1443037"/>
                <a:gd name="connsiteX202" fmla="*/ 159544 w 2109787"/>
                <a:gd name="connsiteY202" fmla="*/ 773906 h 1443037"/>
                <a:gd name="connsiteX203" fmla="*/ 180975 w 2109787"/>
                <a:gd name="connsiteY203" fmla="*/ 804862 h 1443037"/>
                <a:gd name="connsiteX204" fmla="*/ 214312 w 2109787"/>
                <a:gd name="connsiteY204" fmla="*/ 864394 h 1443037"/>
                <a:gd name="connsiteX205" fmla="*/ 240506 w 2109787"/>
                <a:gd name="connsiteY205" fmla="*/ 902494 h 1443037"/>
                <a:gd name="connsiteX206" fmla="*/ 283369 w 2109787"/>
                <a:gd name="connsiteY206" fmla="*/ 919162 h 1443037"/>
                <a:gd name="connsiteX207" fmla="*/ 273844 w 2109787"/>
                <a:gd name="connsiteY207" fmla="*/ 973931 h 1443037"/>
                <a:gd name="connsiteX208" fmla="*/ 269081 w 2109787"/>
                <a:gd name="connsiteY208" fmla="*/ 992981 h 1443037"/>
                <a:gd name="connsiteX209" fmla="*/ 290512 w 2109787"/>
                <a:gd name="connsiteY209" fmla="*/ 1023937 h 1443037"/>
                <a:gd name="connsiteX210" fmla="*/ 300037 w 2109787"/>
                <a:gd name="connsiteY210" fmla="*/ 1035844 h 1443037"/>
                <a:gd name="connsiteX211" fmla="*/ 300037 w 2109787"/>
                <a:gd name="connsiteY211" fmla="*/ 1057275 h 1443037"/>
                <a:gd name="connsiteX212" fmla="*/ 323850 w 2109787"/>
                <a:gd name="connsiteY212" fmla="*/ 1085850 h 1443037"/>
                <a:gd name="connsiteX213" fmla="*/ 345281 w 2109787"/>
                <a:gd name="connsiteY213" fmla="*/ 1090612 h 1443037"/>
                <a:gd name="connsiteX214" fmla="*/ 345281 w 2109787"/>
                <a:gd name="connsiteY214" fmla="*/ 1119187 h 1443037"/>
                <a:gd name="connsiteX215" fmla="*/ 335756 w 2109787"/>
                <a:gd name="connsiteY215" fmla="*/ 1123950 h 1443037"/>
                <a:gd name="connsiteX216" fmla="*/ 350044 w 2109787"/>
                <a:gd name="connsiteY216" fmla="*/ 1131094 h 1443037"/>
                <a:gd name="connsiteX217" fmla="*/ 345281 w 2109787"/>
                <a:gd name="connsiteY217" fmla="*/ 1164431 h 1443037"/>
                <a:gd name="connsiteX218" fmla="*/ 366712 w 2109787"/>
                <a:gd name="connsiteY218" fmla="*/ 1173956 h 1443037"/>
                <a:gd name="connsiteX219" fmla="*/ 421481 w 2109787"/>
                <a:gd name="connsiteY219" fmla="*/ 1226344 h 1443037"/>
                <a:gd name="connsiteX220" fmla="*/ 423862 w 2109787"/>
                <a:gd name="connsiteY220" fmla="*/ 1214437 h 1443037"/>
                <a:gd name="connsiteX221" fmla="*/ 388144 w 2109787"/>
                <a:gd name="connsiteY221" fmla="*/ 1157287 h 1443037"/>
                <a:gd name="connsiteX222" fmla="*/ 390525 w 2109787"/>
                <a:gd name="connsiteY222" fmla="*/ 1150144 h 1443037"/>
                <a:gd name="connsiteX223" fmla="*/ 426244 w 2109787"/>
                <a:gd name="connsiteY223" fmla="*/ 1171575 h 1443037"/>
                <a:gd name="connsiteX224" fmla="*/ 447675 w 2109787"/>
                <a:gd name="connsiteY224" fmla="*/ 1202531 h 1443037"/>
                <a:gd name="connsiteX225" fmla="*/ 1135856 w 2109787"/>
                <a:gd name="connsiteY225" fmla="*/ 1204912 h 1443037"/>
                <a:gd name="connsiteX226" fmla="*/ 1135856 w 2109787"/>
                <a:gd name="connsiteY226" fmla="*/ 1183481 h 1443037"/>
                <a:gd name="connsiteX227" fmla="*/ 1157287 w 2109787"/>
                <a:gd name="connsiteY227" fmla="*/ 1204912 h 1443037"/>
                <a:gd name="connsiteX228" fmla="*/ 1171575 w 2109787"/>
                <a:gd name="connsiteY228" fmla="*/ 1212056 h 1443037"/>
                <a:gd name="connsiteX229" fmla="*/ 1200150 w 2109787"/>
                <a:gd name="connsiteY229" fmla="*/ 1212056 h 1443037"/>
                <a:gd name="connsiteX230" fmla="*/ 1231106 w 2109787"/>
                <a:gd name="connsiteY230" fmla="*/ 1233487 h 1443037"/>
                <a:gd name="connsiteX231" fmla="*/ 1264444 w 2109787"/>
                <a:gd name="connsiteY231" fmla="*/ 1238250 h 1443037"/>
                <a:gd name="connsiteX232" fmla="*/ 1304925 w 2109787"/>
                <a:gd name="connsiteY232" fmla="*/ 1216819 h 1443037"/>
                <a:gd name="connsiteX233" fmla="*/ 1312069 w 2109787"/>
                <a:gd name="connsiteY233" fmla="*/ 1202531 h 1443037"/>
                <a:gd name="connsiteX234" fmla="*/ 1333500 w 2109787"/>
                <a:gd name="connsiteY234" fmla="*/ 1216819 h 1443037"/>
                <a:gd name="connsiteX235" fmla="*/ 1343025 w 2109787"/>
                <a:gd name="connsiteY235" fmla="*/ 1202531 h 1443037"/>
                <a:gd name="connsiteX236" fmla="*/ 1371600 w 2109787"/>
                <a:gd name="connsiteY236" fmla="*/ 1228725 h 1443037"/>
                <a:gd name="connsiteX237" fmla="*/ 1390650 w 2109787"/>
                <a:gd name="connsiteY237" fmla="*/ 1240631 h 1443037"/>
                <a:gd name="connsiteX238" fmla="*/ 1407319 w 2109787"/>
                <a:gd name="connsiteY238" fmla="*/ 1273969 h 1443037"/>
                <a:gd name="connsiteX239" fmla="*/ 1431131 w 2109787"/>
                <a:gd name="connsiteY239" fmla="*/ 1297781 h 1443037"/>
                <a:gd name="connsiteX240" fmla="*/ 1500187 w 2109787"/>
                <a:gd name="connsiteY240" fmla="*/ 1309687 h 1443037"/>
                <a:gd name="connsiteX241" fmla="*/ 1519237 w 2109787"/>
                <a:gd name="connsiteY241" fmla="*/ 1350169 h 1443037"/>
                <a:gd name="connsiteX242" fmla="*/ 1502569 w 2109787"/>
                <a:gd name="connsiteY242" fmla="*/ 1371600 h 1443037"/>
                <a:gd name="connsiteX243" fmla="*/ 1483519 w 2109787"/>
                <a:gd name="connsiteY243" fmla="*/ 1354931 h 1443037"/>
                <a:gd name="connsiteX244" fmla="*/ 1466850 w 2109787"/>
                <a:gd name="connsiteY244" fmla="*/ 1383506 h 1443037"/>
                <a:gd name="connsiteX245" fmla="*/ 1462087 w 2109787"/>
                <a:gd name="connsiteY245" fmla="*/ 1404937 h 1443037"/>
                <a:gd name="connsiteX246" fmla="*/ 1454944 w 2109787"/>
                <a:gd name="connsiteY246" fmla="*/ 1421606 h 1443037"/>
                <a:gd name="connsiteX247" fmla="*/ 1457325 w 2109787"/>
                <a:gd name="connsiteY247" fmla="*/ 1443037 h 1443037"/>
                <a:gd name="connsiteX248" fmla="*/ 1493044 w 2109787"/>
                <a:gd name="connsiteY248" fmla="*/ 1421606 h 1443037"/>
                <a:gd name="connsiteX249" fmla="*/ 1533525 w 2109787"/>
                <a:gd name="connsiteY249" fmla="*/ 1412081 h 1443037"/>
                <a:gd name="connsiteX250" fmla="*/ 1524000 w 2109787"/>
                <a:gd name="connsiteY250" fmla="*/ 1404937 h 1443037"/>
                <a:gd name="connsiteX251" fmla="*/ 1538287 w 2109787"/>
                <a:gd name="connsiteY251" fmla="*/ 1385887 h 1443037"/>
                <a:gd name="connsiteX252" fmla="*/ 1571625 w 2109787"/>
                <a:gd name="connsiteY252" fmla="*/ 1388269 h 1443037"/>
                <a:gd name="connsiteX253" fmla="*/ 1590675 w 2109787"/>
                <a:gd name="connsiteY253" fmla="*/ 1364456 h 1443037"/>
                <a:gd name="connsiteX254" fmla="*/ 1607344 w 2109787"/>
                <a:gd name="connsiteY254" fmla="*/ 1366837 h 1443037"/>
                <a:gd name="connsiteX255" fmla="*/ 1645444 w 2109787"/>
                <a:gd name="connsiteY255" fmla="*/ 1345406 h 1443037"/>
                <a:gd name="connsiteX256" fmla="*/ 1712119 w 2109787"/>
                <a:gd name="connsiteY256" fmla="*/ 1350169 h 1443037"/>
                <a:gd name="connsiteX257" fmla="*/ 1740694 w 2109787"/>
                <a:gd name="connsiteY257" fmla="*/ 1335881 h 1443037"/>
                <a:gd name="connsiteX258" fmla="*/ 1750219 w 2109787"/>
                <a:gd name="connsiteY258" fmla="*/ 1335881 h 1443037"/>
                <a:gd name="connsiteX259" fmla="*/ 1769269 w 2109787"/>
                <a:gd name="connsiteY259" fmla="*/ 1288256 h 1443037"/>
                <a:gd name="connsiteX260" fmla="*/ 1778794 w 2109787"/>
                <a:gd name="connsiteY260" fmla="*/ 1269206 h 1443037"/>
                <a:gd name="connsiteX261" fmla="*/ 1804987 w 2109787"/>
                <a:gd name="connsiteY261" fmla="*/ 1278731 h 1443037"/>
                <a:gd name="connsiteX262" fmla="*/ 1814512 w 2109787"/>
                <a:gd name="connsiteY262" fmla="*/ 1278731 h 1443037"/>
                <a:gd name="connsiteX263" fmla="*/ 1812131 w 2109787"/>
                <a:gd name="connsiteY263" fmla="*/ 1331119 h 1443037"/>
                <a:gd name="connsiteX264" fmla="*/ 1838325 w 2109787"/>
                <a:gd name="connsiteY264" fmla="*/ 1354931 h 1443037"/>
                <a:gd name="connsiteX265" fmla="*/ 1869281 w 2109787"/>
                <a:gd name="connsiteY265" fmla="*/ 1338262 h 1443037"/>
                <a:gd name="connsiteX266" fmla="*/ 1905000 w 2109787"/>
                <a:gd name="connsiteY266" fmla="*/ 1312069 h 1443037"/>
                <a:gd name="connsiteX267" fmla="*/ 1890712 w 2109787"/>
                <a:gd name="connsiteY267" fmla="*/ 1281112 h 1443037"/>
                <a:gd name="connsiteX268" fmla="*/ 1885950 w 2109787"/>
                <a:gd name="connsiteY268" fmla="*/ 1262062 h 1443037"/>
                <a:gd name="connsiteX269" fmla="*/ 1878806 w 2109787"/>
                <a:gd name="connsiteY269" fmla="*/ 1254919 h 1443037"/>
                <a:gd name="connsiteX270" fmla="*/ 1859756 w 2109787"/>
                <a:gd name="connsiteY270" fmla="*/ 1250156 h 1443037"/>
                <a:gd name="connsiteX271" fmla="*/ 1845469 w 2109787"/>
                <a:gd name="connsiteY271" fmla="*/ 1245394 h 1443037"/>
                <a:gd name="connsiteX272" fmla="*/ 1857375 w 2109787"/>
                <a:gd name="connsiteY272" fmla="*/ 1231106 h 1443037"/>
                <a:gd name="connsiteX273" fmla="*/ 1883569 w 2109787"/>
                <a:gd name="connsiteY273" fmla="*/ 1231106 h 1443037"/>
                <a:gd name="connsiteX274" fmla="*/ 1895475 w 2109787"/>
                <a:gd name="connsiteY274" fmla="*/ 1207294 h 1443037"/>
                <a:gd name="connsiteX275" fmla="*/ 1878806 w 2109787"/>
                <a:gd name="connsiteY275" fmla="*/ 1197769 h 1443037"/>
                <a:gd name="connsiteX276" fmla="*/ 1852612 w 2109787"/>
                <a:gd name="connsiteY276" fmla="*/ 1202531 h 1443037"/>
                <a:gd name="connsiteX277" fmla="*/ 1824037 w 2109787"/>
                <a:gd name="connsiteY277" fmla="*/ 1212056 h 1443037"/>
                <a:gd name="connsiteX278" fmla="*/ 1804987 w 2109787"/>
                <a:gd name="connsiteY278" fmla="*/ 1226344 h 1443037"/>
                <a:gd name="connsiteX279" fmla="*/ 1757362 w 2109787"/>
                <a:gd name="connsiteY279" fmla="*/ 1262062 h 1443037"/>
                <a:gd name="connsiteX280" fmla="*/ 1745456 w 2109787"/>
                <a:gd name="connsiteY280" fmla="*/ 1276350 h 1443037"/>
                <a:gd name="connsiteX281" fmla="*/ 1731169 w 2109787"/>
                <a:gd name="connsiteY281" fmla="*/ 1281112 h 1443037"/>
                <a:gd name="connsiteX282" fmla="*/ 1785937 w 2109787"/>
                <a:gd name="connsiteY282" fmla="*/ 1197769 h 1443037"/>
                <a:gd name="connsiteX283" fmla="*/ 1802606 w 2109787"/>
                <a:gd name="connsiteY283" fmla="*/ 1185862 h 1443037"/>
                <a:gd name="connsiteX284" fmla="*/ 1826419 w 2109787"/>
                <a:gd name="connsiteY284" fmla="*/ 1183481 h 1443037"/>
                <a:gd name="connsiteX285" fmla="*/ 1840706 w 2109787"/>
                <a:gd name="connsiteY285" fmla="*/ 1162050 h 1443037"/>
                <a:gd name="connsiteX286" fmla="*/ 1885950 w 2109787"/>
                <a:gd name="connsiteY286" fmla="*/ 1147762 h 1443037"/>
                <a:gd name="connsiteX287" fmla="*/ 1957387 w 2109787"/>
                <a:gd name="connsiteY287" fmla="*/ 1143000 h 1443037"/>
                <a:gd name="connsiteX288" fmla="*/ 1988344 w 2109787"/>
                <a:gd name="connsiteY288" fmla="*/ 1152525 h 1443037"/>
                <a:gd name="connsiteX289" fmla="*/ 2024062 w 2109787"/>
                <a:gd name="connsiteY289" fmla="*/ 1138237 h 1443037"/>
                <a:gd name="connsiteX290" fmla="*/ 2062162 w 2109787"/>
                <a:gd name="connsiteY290" fmla="*/ 1104900 h 1443037"/>
                <a:gd name="connsiteX291" fmla="*/ 2078831 w 2109787"/>
                <a:gd name="connsiteY291" fmla="*/ 1104900 h 1443037"/>
                <a:gd name="connsiteX292" fmla="*/ 2109787 w 2109787"/>
                <a:gd name="connsiteY292" fmla="*/ 1071562 h 1443037"/>
                <a:gd name="connsiteX293" fmla="*/ 2109787 w 2109787"/>
                <a:gd name="connsiteY293" fmla="*/ 1028700 h 1443037"/>
                <a:gd name="connsiteX294" fmla="*/ 2095500 w 2109787"/>
                <a:gd name="connsiteY294" fmla="*/ 1014412 h 1443037"/>
                <a:gd name="connsiteX295" fmla="*/ 2078831 w 2109787"/>
                <a:gd name="connsiteY295" fmla="*/ 1023937 h 1443037"/>
                <a:gd name="connsiteX296" fmla="*/ 2066925 w 2109787"/>
                <a:gd name="connsiteY296" fmla="*/ 1002506 h 1443037"/>
                <a:gd name="connsiteX297" fmla="*/ 2035969 w 2109787"/>
                <a:gd name="connsiteY297" fmla="*/ 1014412 h 1443037"/>
                <a:gd name="connsiteX298" fmla="*/ 2024062 w 2109787"/>
                <a:gd name="connsiteY298" fmla="*/ 1033462 h 1443037"/>
                <a:gd name="connsiteX299" fmla="*/ 2005012 w 2109787"/>
                <a:gd name="connsiteY299" fmla="*/ 1038225 h 1443037"/>
                <a:gd name="connsiteX300" fmla="*/ 1993106 w 2109787"/>
                <a:gd name="connsiteY300" fmla="*/ 1033462 h 1443037"/>
                <a:gd name="connsiteX301" fmla="*/ 2012156 w 2109787"/>
                <a:gd name="connsiteY301" fmla="*/ 1012031 h 1443037"/>
                <a:gd name="connsiteX302" fmla="*/ 2050256 w 2109787"/>
                <a:gd name="connsiteY302" fmla="*/ 985837 h 1443037"/>
                <a:gd name="connsiteX303" fmla="*/ 2050256 w 2109787"/>
                <a:gd name="connsiteY303" fmla="*/ 969169 h 1443037"/>
                <a:gd name="connsiteX304" fmla="*/ 2033587 w 2109787"/>
                <a:gd name="connsiteY304" fmla="*/ 957262 h 1443037"/>
                <a:gd name="connsiteX305" fmla="*/ 2009775 w 2109787"/>
                <a:gd name="connsiteY305" fmla="*/ 957262 h 1443037"/>
                <a:gd name="connsiteX306" fmla="*/ 1978819 w 2109787"/>
                <a:gd name="connsiteY306" fmla="*/ 914400 h 1443037"/>
                <a:gd name="connsiteX307" fmla="*/ 1964531 w 2109787"/>
                <a:gd name="connsiteY307" fmla="*/ 904875 h 1443037"/>
                <a:gd name="connsiteX308" fmla="*/ 1976437 w 2109787"/>
                <a:gd name="connsiteY308" fmla="*/ 873919 h 1443037"/>
                <a:gd name="connsiteX309" fmla="*/ 1962150 w 2109787"/>
                <a:gd name="connsiteY309" fmla="*/ 871537 h 1443037"/>
                <a:gd name="connsiteX310" fmla="*/ 1959769 w 2109787"/>
                <a:gd name="connsiteY310" fmla="*/ 852487 h 1443037"/>
                <a:gd name="connsiteX311" fmla="*/ 1957387 w 2109787"/>
                <a:gd name="connsiteY311" fmla="*/ 838200 h 1443037"/>
                <a:gd name="connsiteX312" fmla="*/ 1935956 w 2109787"/>
                <a:gd name="connsiteY312" fmla="*/ 838200 h 1443037"/>
                <a:gd name="connsiteX313" fmla="*/ 1943100 w 2109787"/>
                <a:gd name="connsiteY313" fmla="*/ 816769 h 1443037"/>
                <a:gd name="connsiteX314" fmla="*/ 1924050 w 2109787"/>
                <a:gd name="connsiteY314" fmla="*/ 804862 h 1443037"/>
                <a:gd name="connsiteX315" fmla="*/ 1928812 w 2109787"/>
                <a:gd name="connsiteY315" fmla="*/ 785812 h 1443037"/>
                <a:gd name="connsiteX316" fmla="*/ 1914525 w 2109787"/>
                <a:gd name="connsiteY316" fmla="*/ 773906 h 1443037"/>
                <a:gd name="connsiteX317" fmla="*/ 1912144 w 2109787"/>
                <a:gd name="connsiteY317" fmla="*/ 757237 h 1443037"/>
                <a:gd name="connsiteX318" fmla="*/ 1909762 w 2109787"/>
                <a:gd name="connsiteY318" fmla="*/ 754856 h 1443037"/>
                <a:gd name="connsiteX319" fmla="*/ 1893094 w 2109787"/>
                <a:gd name="connsiteY319" fmla="*/ 723900 h 1443037"/>
                <a:gd name="connsiteX320" fmla="*/ 1878806 w 2109787"/>
                <a:gd name="connsiteY320" fmla="*/ 731044 h 1443037"/>
                <a:gd name="connsiteX321" fmla="*/ 1883569 w 2109787"/>
                <a:gd name="connsiteY321" fmla="*/ 757237 h 1443037"/>
                <a:gd name="connsiteX322" fmla="*/ 1878806 w 2109787"/>
                <a:gd name="connsiteY322" fmla="*/ 771525 h 1443037"/>
                <a:gd name="connsiteX323" fmla="*/ 1874044 w 2109787"/>
                <a:gd name="connsiteY323" fmla="*/ 781050 h 1443037"/>
                <a:gd name="connsiteX324" fmla="*/ 1871662 w 2109787"/>
                <a:gd name="connsiteY324" fmla="*/ 795337 h 1443037"/>
                <a:gd name="connsiteX325" fmla="*/ 1854994 w 2109787"/>
                <a:gd name="connsiteY325" fmla="*/ 795337 h 1443037"/>
                <a:gd name="connsiteX326" fmla="*/ 1850231 w 2109787"/>
                <a:gd name="connsiteY326" fmla="*/ 804862 h 1443037"/>
                <a:gd name="connsiteX327" fmla="*/ 1828800 w 2109787"/>
                <a:gd name="connsiteY327" fmla="*/ 809625 h 1443037"/>
                <a:gd name="connsiteX328" fmla="*/ 1816894 w 2109787"/>
                <a:gd name="connsiteY328" fmla="*/ 828675 h 1443037"/>
                <a:gd name="connsiteX329" fmla="*/ 1793081 w 2109787"/>
                <a:gd name="connsiteY329" fmla="*/ 792956 h 1443037"/>
                <a:gd name="connsiteX330" fmla="*/ 1769269 w 2109787"/>
                <a:gd name="connsiteY330" fmla="*/ 797719 h 1443037"/>
                <a:gd name="connsiteX331" fmla="*/ 1762125 w 2109787"/>
                <a:gd name="connsiteY331" fmla="*/ 792956 h 1443037"/>
                <a:gd name="connsiteX332" fmla="*/ 1762125 w 2109787"/>
                <a:gd name="connsiteY332" fmla="*/ 783431 h 1443037"/>
                <a:gd name="connsiteX333" fmla="*/ 1771650 w 2109787"/>
                <a:gd name="connsiteY333" fmla="*/ 769144 h 1443037"/>
                <a:gd name="connsiteX334" fmla="*/ 1771650 w 2109787"/>
                <a:gd name="connsiteY334" fmla="*/ 740569 h 1443037"/>
                <a:gd name="connsiteX335" fmla="*/ 1757362 w 2109787"/>
                <a:gd name="connsiteY335" fmla="*/ 726281 h 1443037"/>
                <a:gd name="connsiteX336" fmla="*/ 1769269 w 2109787"/>
                <a:gd name="connsiteY336" fmla="*/ 714375 h 1443037"/>
                <a:gd name="connsiteX337" fmla="*/ 1771650 w 2109787"/>
                <a:gd name="connsiteY337" fmla="*/ 688181 h 1443037"/>
                <a:gd name="connsiteX338" fmla="*/ 1747837 w 2109787"/>
                <a:gd name="connsiteY338" fmla="*/ 683419 h 1443037"/>
                <a:gd name="connsiteX339" fmla="*/ 1738312 w 2109787"/>
                <a:gd name="connsiteY339" fmla="*/ 671512 h 1443037"/>
                <a:gd name="connsiteX340" fmla="*/ 1724025 w 2109787"/>
                <a:gd name="connsiteY340" fmla="*/ 673894 h 1443037"/>
                <a:gd name="connsiteX341" fmla="*/ 1702594 w 2109787"/>
                <a:gd name="connsiteY341" fmla="*/ 635794 h 1443037"/>
                <a:gd name="connsiteX342" fmla="*/ 1690687 w 2109787"/>
                <a:gd name="connsiteY342" fmla="*/ 635794 h 1443037"/>
                <a:gd name="connsiteX343" fmla="*/ 1685925 w 2109787"/>
                <a:gd name="connsiteY343" fmla="*/ 609600 h 1443037"/>
                <a:gd name="connsiteX344" fmla="*/ 1659731 w 2109787"/>
                <a:gd name="connsiteY344" fmla="*/ 609600 h 1443037"/>
                <a:gd name="connsiteX345" fmla="*/ 1631156 w 2109787"/>
                <a:gd name="connsiteY345" fmla="*/ 628650 h 1443037"/>
                <a:gd name="connsiteX346" fmla="*/ 1574006 w 2109787"/>
                <a:gd name="connsiteY346" fmla="*/ 600075 h 144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</a:cxnLst>
              <a:rect l="l" t="t" r="r" b="b"/>
              <a:pathLst>
                <a:path w="2109787" h="1443037">
                  <a:moveTo>
                    <a:pt x="1574006" y="600075"/>
                  </a:moveTo>
                  <a:lnTo>
                    <a:pt x="1576387" y="652462"/>
                  </a:lnTo>
                  <a:lnTo>
                    <a:pt x="1562100" y="695325"/>
                  </a:lnTo>
                  <a:lnTo>
                    <a:pt x="1581150" y="704850"/>
                  </a:lnTo>
                  <a:lnTo>
                    <a:pt x="1583531" y="721519"/>
                  </a:lnTo>
                  <a:lnTo>
                    <a:pt x="1590675" y="754856"/>
                  </a:lnTo>
                  <a:lnTo>
                    <a:pt x="1552575" y="781050"/>
                  </a:lnTo>
                  <a:lnTo>
                    <a:pt x="1571625" y="814387"/>
                  </a:lnTo>
                  <a:lnTo>
                    <a:pt x="1585912" y="838200"/>
                  </a:lnTo>
                  <a:lnTo>
                    <a:pt x="1597819" y="892969"/>
                  </a:lnTo>
                  <a:lnTo>
                    <a:pt x="1602581" y="912019"/>
                  </a:lnTo>
                  <a:lnTo>
                    <a:pt x="1574006" y="954881"/>
                  </a:lnTo>
                  <a:lnTo>
                    <a:pt x="1531144" y="978694"/>
                  </a:lnTo>
                  <a:lnTo>
                    <a:pt x="1547812" y="1009650"/>
                  </a:lnTo>
                  <a:lnTo>
                    <a:pt x="1552575" y="1045369"/>
                  </a:lnTo>
                  <a:lnTo>
                    <a:pt x="1557337" y="1081087"/>
                  </a:lnTo>
                  <a:lnTo>
                    <a:pt x="1547812" y="1104900"/>
                  </a:lnTo>
                  <a:lnTo>
                    <a:pt x="1540669" y="1123950"/>
                  </a:lnTo>
                  <a:lnTo>
                    <a:pt x="1526381" y="1116806"/>
                  </a:lnTo>
                  <a:lnTo>
                    <a:pt x="1512094" y="1123950"/>
                  </a:lnTo>
                  <a:lnTo>
                    <a:pt x="1493044" y="1104900"/>
                  </a:lnTo>
                  <a:lnTo>
                    <a:pt x="1478756" y="1081087"/>
                  </a:lnTo>
                  <a:lnTo>
                    <a:pt x="1459706" y="1076325"/>
                  </a:lnTo>
                  <a:lnTo>
                    <a:pt x="1454944" y="1062037"/>
                  </a:lnTo>
                  <a:lnTo>
                    <a:pt x="1450181" y="1042987"/>
                  </a:lnTo>
                  <a:lnTo>
                    <a:pt x="1443037" y="1014412"/>
                  </a:lnTo>
                  <a:lnTo>
                    <a:pt x="1447800" y="990600"/>
                  </a:lnTo>
                  <a:lnTo>
                    <a:pt x="1447800" y="969169"/>
                  </a:lnTo>
                  <a:lnTo>
                    <a:pt x="1440656" y="957262"/>
                  </a:lnTo>
                  <a:lnTo>
                    <a:pt x="1421606" y="964406"/>
                  </a:lnTo>
                  <a:lnTo>
                    <a:pt x="1385887" y="954881"/>
                  </a:lnTo>
                  <a:lnTo>
                    <a:pt x="1340644" y="933450"/>
                  </a:lnTo>
                  <a:lnTo>
                    <a:pt x="1300162" y="900112"/>
                  </a:lnTo>
                  <a:lnTo>
                    <a:pt x="1231106" y="869156"/>
                  </a:lnTo>
                  <a:lnTo>
                    <a:pt x="1202531" y="881062"/>
                  </a:lnTo>
                  <a:lnTo>
                    <a:pt x="1181100" y="826294"/>
                  </a:lnTo>
                  <a:lnTo>
                    <a:pt x="1176337" y="797719"/>
                  </a:lnTo>
                  <a:lnTo>
                    <a:pt x="1150144" y="778669"/>
                  </a:lnTo>
                  <a:lnTo>
                    <a:pt x="1131094" y="723900"/>
                  </a:lnTo>
                  <a:lnTo>
                    <a:pt x="1150144" y="695325"/>
                  </a:lnTo>
                  <a:lnTo>
                    <a:pt x="1152525" y="681037"/>
                  </a:lnTo>
                  <a:lnTo>
                    <a:pt x="1140619" y="652462"/>
                  </a:lnTo>
                  <a:lnTo>
                    <a:pt x="1154906" y="650081"/>
                  </a:lnTo>
                  <a:lnTo>
                    <a:pt x="1176337" y="635794"/>
                  </a:lnTo>
                  <a:lnTo>
                    <a:pt x="1204912" y="604837"/>
                  </a:lnTo>
                  <a:lnTo>
                    <a:pt x="1204912" y="581025"/>
                  </a:lnTo>
                  <a:lnTo>
                    <a:pt x="1226344" y="581025"/>
                  </a:lnTo>
                  <a:lnTo>
                    <a:pt x="1252537" y="564356"/>
                  </a:lnTo>
                  <a:lnTo>
                    <a:pt x="1219200" y="528637"/>
                  </a:lnTo>
                  <a:lnTo>
                    <a:pt x="1219200" y="528637"/>
                  </a:lnTo>
                  <a:lnTo>
                    <a:pt x="1262062" y="540544"/>
                  </a:lnTo>
                  <a:lnTo>
                    <a:pt x="1257300" y="514350"/>
                  </a:lnTo>
                  <a:lnTo>
                    <a:pt x="1281112" y="516731"/>
                  </a:lnTo>
                  <a:lnTo>
                    <a:pt x="1297781" y="509587"/>
                  </a:lnTo>
                  <a:lnTo>
                    <a:pt x="1331119" y="464344"/>
                  </a:lnTo>
                  <a:lnTo>
                    <a:pt x="1290637" y="447675"/>
                  </a:lnTo>
                  <a:lnTo>
                    <a:pt x="1269206" y="419100"/>
                  </a:lnTo>
                  <a:lnTo>
                    <a:pt x="1281112" y="400050"/>
                  </a:lnTo>
                  <a:lnTo>
                    <a:pt x="1304925" y="419100"/>
                  </a:lnTo>
                  <a:lnTo>
                    <a:pt x="1335881" y="438150"/>
                  </a:lnTo>
                  <a:lnTo>
                    <a:pt x="1359694" y="392906"/>
                  </a:lnTo>
                  <a:lnTo>
                    <a:pt x="1340644" y="381000"/>
                  </a:lnTo>
                  <a:lnTo>
                    <a:pt x="1359694" y="364331"/>
                  </a:lnTo>
                  <a:lnTo>
                    <a:pt x="1390650" y="373856"/>
                  </a:lnTo>
                  <a:lnTo>
                    <a:pt x="1419225" y="364331"/>
                  </a:lnTo>
                  <a:lnTo>
                    <a:pt x="1440656" y="373856"/>
                  </a:lnTo>
                  <a:lnTo>
                    <a:pt x="1459706" y="350044"/>
                  </a:lnTo>
                  <a:lnTo>
                    <a:pt x="1464469" y="292894"/>
                  </a:lnTo>
                  <a:lnTo>
                    <a:pt x="1459706" y="269081"/>
                  </a:lnTo>
                  <a:lnTo>
                    <a:pt x="1450181" y="254794"/>
                  </a:lnTo>
                  <a:lnTo>
                    <a:pt x="1462087" y="230981"/>
                  </a:lnTo>
                  <a:lnTo>
                    <a:pt x="1476375" y="235744"/>
                  </a:lnTo>
                  <a:lnTo>
                    <a:pt x="1469231" y="216694"/>
                  </a:lnTo>
                  <a:lnTo>
                    <a:pt x="1469231" y="204787"/>
                  </a:lnTo>
                  <a:lnTo>
                    <a:pt x="1457325" y="188119"/>
                  </a:lnTo>
                  <a:lnTo>
                    <a:pt x="1447800" y="166687"/>
                  </a:lnTo>
                  <a:lnTo>
                    <a:pt x="1426369" y="166687"/>
                  </a:lnTo>
                  <a:lnTo>
                    <a:pt x="1390650" y="154781"/>
                  </a:lnTo>
                  <a:lnTo>
                    <a:pt x="1381125" y="159544"/>
                  </a:lnTo>
                  <a:lnTo>
                    <a:pt x="1383506" y="180975"/>
                  </a:lnTo>
                  <a:lnTo>
                    <a:pt x="1393031" y="192881"/>
                  </a:lnTo>
                  <a:lnTo>
                    <a:pt x="1393031" y="211931"/>
                  </a:lnTo>
                  <a:lnTo>
                    <a:pt x="1393031" y="230981"/>
                  </a:lnTo>
                  <a:lnTo>
                    <a:pt x="1371600" y="235744"/>
                  </a:lnTo>
                  <a:lnTo>
                    <a:pt x="1366837" y="273844"/>
                  </a:lnTo>
                  <a:lnTo>
                    <a:pt x="1354931" y="295275"/>
                  </a:lnTo>
                  <a:lnTo>
                    <a:pt x="1352550" y="309562"/>
                  </a:lnTo>
                  <a:lnTo>
                    <a:pt x="1338262" y="314325"/>
                  </a:lnTo>
                  <a:lnTo>
                    <a:pt x="1326356" y="307181"/>
                  </a:lnTo>
                  <a:lnTo>
                    <a:pt x="1302544" y="276225"/>
                  </a:lnTo>
                  <a:lnTo>
                    <a:pt x="1314450" y="257175"/>
                  </a:lnTo>
                  <a:lnTo>
                    <a:pt x="1285875" y="200025"/>
                  </a:lnTo>
                  <a:lnTo>
                    <a:pt x="1278731" y="200025"/>
                  </a:lnTo>
                  <a:lnTo>
                    <a:pt x="1278731" y="200025"/>
                  </a:lnTo>
                  <a:lnTo>
                    <a:pt x="1276350" y="242887"/>
                  </a:lnTo>
                  <a:lnTo>
                    <a:pt x="1276350" y="242887"/>
                  </a:lnTo>
                  <a:lnTo>
                    <a:pt x="1250156" y="219075"/>
                  </a:lnTo>
                  <a:lnTo>
                    <a:pt x="1238250" y="190500"/>
                  </a:lnTo>
                  <a:lnTo>
                    <a:pt x="1240631" y="171450"/>
                  </a:lnTo>
                  <a:lnTo>
                    <a:pt x="1226344" y="171450"/>
                  </a:lnTo>
                  <a:lnTo>
                    <a:pt x="1190625" y="152400"/>
                  </a:lnTo>
                  <a:lnTo>
                    <a:pt x="1219200" y="123825"/>
                  </a:lnTo>
                  <a:lnTo>
                    <a:pt x="1185862" y="76200"/>
                  </a:lnTo>
                  <a:lnTo>
                    <a:pt x="1183481" y="40481"/>
                  </a:lnTo>
                  <a:lnTo>
                    <a:pt x="1166812" y="11906"/>
                  </a:lnTo>
                  <a:lnTo>
                    <a:pt x="1143000" y="0"/>
                  </a:lnTo>
                  <a:lnTo>
                    <a:pt x="1126331" y="14287"/>
                  </a:lnTo>
                  <a:lnTo>
                    <a:pt x="1121569" y="42862"/>
                  </a:lnTo>
                  <a:lnTo>
                    <a:pt x="1107281" y="52387"/>
                  </a:lnTo>
                  <a:lnTo>
                    <a:pt x="1114425" y="71437"/>
                  </a:lnTo>
                  <a:lnTo>
                    <a:pt x="1116806" y="92869"/>
                  </a:lnTo>
                  <a:lnTo>
                    <a:pt x="1116806" y="92869"/>
                  </a:lnTo>
                  <a:lnTo>
                    <a:pt x="1112044" y="126206"/>
                  </a:lnTo>
                  <a:lnTo>
                    <a:pt x="1121569" y="152400"/>
                  </a:lnTo>
                  <a:lnTo>
                    <a:pt x="1152525" y="161925"/>
                  </a:lnTo>
                  <a:lnTo>
                    <a:pt x="1176337" y="183356"/>
                  </a:lnTo>
                  <a:lnTo>
                    <a:pt x="1185862" y="183356"/>
                  </a:lnTo>
                  <a:lnTo>
                    <a:pt x="1188244" y="202406"/>
                  </a:lnTo>
                  <a:lnTo>
                    <a:pt x="1157287" y="200025"/>
                  </a:lnTo>
                  <a:lnTo>
                    <a:pt x="1178719" y="219075"/>
                  </a:lnTo>
                  <a:lnTo>
                    <a:pt x="1176337" y="238125"/>
                  </a:lnTo>
                  <a:lnTo>
                    <a:pt x="1166812" y="257175"/>
                  </a:lnTo>
                  <a:lnTo>
                    <a:pt x="1133475" y="271462"/>
                  </a:lnTo>
                  <a:lnTo>
                    <a:pt x="1131094" y="300037"/>
                  </a:lnTo>
                  <a:lnTo>
                    <a:pt x="1133475" y="326231"/>
                  </a:lnTo>
                  <a:lnTo>
                    <a:pt x="1104900" y="314325"/>
                  </a:lnTo>
                  <a:lnTo>
                    <a:pt x="1114425" y="276225"/>
                  </a:lnTo>
                  <a:lnTo>
                    <a:pt x="1071562" y="250031"/>
                  </a:lnTo>
                  <a:lnTo>
                    <a:pt x="1071562" y="250031"/>
                  </a:lnTo>
                  <a:lnTo>
                    <a:pt x="1085850" y="288131"/>
                  </a:lnTo>
                  <a:lnTo>
                    <a:pt x="1071562" y="300037"/>
                  </a:lnTo>
                  <a:lnTo>
                    <a:pt x="1050131" y="292894"/>
                  </a:lnTo>
                  <a:lnTo>
                    <a:pt x="1035844" y="295275"/>
                  </a:lnTo>
                  <a:lnTo>
                    <a:pt x="988219" y="295275"/>
                  </a:lnTo>
                  <a:lnTo>
                    <a:pt x="964406" y="295275"/>
                  </a:lnTo>
                  <a:lnTo>
                    <a:pt x="926306" y="273844"/>
                  </a:lnTo>
                  <a:lnTo>
                    <a:pt x="902494" y="273844"/>
                  </a:lnTo>
                  <a:lnTo>
                    <a:pt x="881062" y="259556"/>
                  </a:lnTo>
                  <a:lnTo>
                    <a:pt x="871537" y="238125"/>
                  </a:lnTo>
                  <a:lnTo>
                    <a:pt x="852487" y="216694"/>
                  </a:lnTo>
                  <a:lnTo>
                    <a:pt x="807244" y="240506"/>
                  </a:lnTo>
                  <a:lnTo>
                    <a:pt x="823912" y="259556"/>
                  </a:lnTo>
                  <a:lnTo>
                    <a:pt x="840581" y="242887"/>
                  </a:lnTo>
                  <a:lnTo>
                    <a:pt x="850106" y="235744"/>
                  </a:lnTo>
                  <a:lnTo>
                    <a:pt x="862012" y="233362"/>
                  </a:lnTo>
                  <a:lnTo>
                    <a:pt x="869156" y="254794"/>
                  </a:lnTo>
                  <a:lnTo>
                    <a:pt x="831056" y="285750"/>
                  </a:lnTo>
                  <a:lnTo>
                    <a:pt x="842962" y="321469"/>
                  </a:lnTo>
                  <a:lnTo>
                    <a:pt x="835819" y="354806"/>
                  </a:lnTo>
                  <a:lnTo>
                    <a:pt x="807244" y="340519"/>
                  </a:lnTo>
                  <a:lnTo>
                    <a:pt x="800100" y="316706"/>
                  </a:lnTo>
                  <a:lnTo>
                    <a:pt x="762000" y="276225"/>
                  </a:lnTo>
                  <a:lnTo>
                    <a:pt x="735806" y="297656"/>
                  </a:lnTo>
                  <a:lnTo>
                    <a:pt x="688181" y="297656"/>
                  </a:lnTo>
                  <a:lnTo>
                    <a:pt x="640556" y="285750"/>
                  </a:lnTo>
                  <a:lnTo>
                    <a:pt x="616744" y="278606"/>
                  </a:lnTo>
                  <a:lnTo>
                    <a:pt x="645319" y="254794"/>
                  </a:lnTo>
                  <a:lnTo>
                    <a:pt x="650081" y="242887"/>
                  </a:lnTo>
                  <a:lnTo>
                    <a:pt x="628650" y="216694"/>
                  </a:lnTo>
                  <a:lnTo>
                    <a:pt x="609600" y="228600"/>
                  </a:lnTo>
                  <a:lnTo>
                    <a:pt x="557212" y="204787"/>
                  </a:lnTo>
                  <a:lnTo>
                    <a:pt x="516731" y="188119"/>
                  </a:lnTo>
                  <a:lnTo>
                    <a:pt x="481012" y="154781"/>
                  </a:lnTo>
                  <a:lnTo>
                    <a:pt x="442912" y="150019"/>
                  </a:lnTo>
                  <a:lnTo>
                    <a:pt x="442912" y="176212"/>
                  </a:lnTo>
                  <a:lnTo>
                    <a:pt x="423862" y="185737"/>
                  </a:lnTo>
                  <a:lnTo>
                    <a:pt x="409575" y="176212"/>
                  </a:lnTo>
                  <a:lnTo>
                    <a:pt x="404812" y="147637"/>
                  </a:lnTo>
                  <a:lnTo>
                    <a:pt x="392906" y="152400"/>
                  </a:lnTo>
                  <a:lnTo>
                    <a:pt x="392906" y="176212"/>
                  </a:lnTo>
                  <a:lnTo>
                    <a:pt x="373856" y="178594"/>
                  </a:lnTo>
                  <a:lnTo>
                    <a:pt x="323850" y="102394"/>
                  </a:lnTo>
                  <a:lnTo>
                    <a:pt x="321469" y="126206"/>
                  </a:lnTo>
                  <a:lnTo>
                    <a:pt x="321469" y="140494"/>
                  </a:lnTo>
                  <a:lnTo>
                    <a:pt x="307181" y="159544"/>
                  </a:lnTo>
                  <a:lnTo>
                    <a:pt x="297656" y="152400"/>
                  </a:lnTo>
                  <a:lnTo>
                    <a:pt x="264319" y="169069"/>
                  </a:lnTo>
                  <a:lnTo>
                    <a:pt x="264319" y="169069"/>
                  </a:lnTo>
                  <a:lnTo>
                    <a:pt x="242887" y="188119"/>
                  </a:lnTo>
                  <a:lnTo>
                    <a:pt x="207169" y="195262"/>
                  </a:lnTo>
                  <a:lnTo>
                    <a:pt x="214312" y="180975"/>
                  </a:lnTo>
                  <a:lnTo>
                    <a:pt x="276225" y="138112"/>
                  </a:lnTo>
                  <a:lnTo>
                    <a:pt x="223837" y="157162"/>
                  </a:lnTo>
                  <a:lnTo>
                    <a:pt x="171450" y="192881"/>
                  </a:lnTo>
                  <a:lnTo>
                    <a:pt x="161925" y="171450"/>
                  </a:lnTo>
                  <a:lnTo>
                    <a:pt x="145256" y="173831"/>
                  </a:lnTo>
                  <a:lnTo>
                    <a:pt x="164306" y="207169"/>
                  </a:lnTo>
                  <a:lnTo>
                    <a:pt x="169069" y="221456"/>
                  </a:lnTo>
                  <a:lnTo>
                    <a:pt x="171450" y="242887"/>
                  </a:lnTo>
                  <a:lnTo>
                    <a:pt x="154781" y="226219"/>
                  </a:lnTo>
                  <a:lnTo>
                    <a:pt x="130969" y="195262"/>
                  </a:lnTo>
                  <a:lnTo>
                    <a:pt x="140494" y="230981"/>
                  </a:lnTo>
                  <a:lnTo>
                    <a:pt x="123825" y="233362"/>
                  </a:lnTo>
                  <a:lnTo>
                    <a:pt x="114300" y="214312"/>
                  </a:lnTo>
                  <a:lnTo>
                    <a:pt x="80962" y="204787"/>
                  </a:lnTo>
                  <a:lnTo>
                    <a:pt x="35719" y="166687"/>
                  </a:lnTo>
                  <a:lnTo>
                    <a:pt x="14287" y="176212"/>
                  </a:lnTo>
                  <a:lnTo>
                    <a:pt x="0" y="723900"/>
                  </a:lnTo>
                  <a:lnTo>
                    <a:pt x="30956" y="716756"/>
                  </a:lnTo>
                  <a:lnTo>
                    <a:pt x="61912" y="726281"/>
                  </a:lnTo>
                  <a:lnTo>
                    <a:pt x="85725" y="759619"/>
                  </a:lnTo>
                  <a:lnTo>
                    <a:pt x="138112" y="740569"/>
                  </a:lnTo>
                  <a:lnTo>
                    <a:pt x="159544" y="773906"/>
                  </a:lnTo>
                  <a:lnTo>
                    <a:pt x="180975" y="804862"/>
                  </a:lnTo>
                  <a:lnTo>
                    <a:pt x="214312" y="864394"/>
                  </a:lnTo>
                  <a:lnTo>
                    <a:pt x="240506" y="902494"/>
                  </a:lnTo>
                  <a:lnTo>
                    <a:pt x="283369" y="919162"/>
                  </a:lnTo>
                  <a:lnTo>
                    <a:pt x="273844" y="973931"/>
                  </a:lnTo>
                  <a:lnTo>
                    <a:pt x="269081" y="992981"/>
                  </a:lnTo>
                  <a:lnTo>
                    <a:pt x="290512" y="1023937"/>
                  </a:lnTo>
                  <a:lnTo>
                    <a:pt x="300037" y="1035844"/>
                  </a:lnTo>
                  <a:lnTo>
                    <a:pt x="300037" y="1057275"/>
                  </a:lnTo>
                  <a:lnTo>
                    <a:pt x="323850" y="1085850"/>
                  </a:lnTo>
                  <a:lnTo>
                    <a:pt x="345281" y="1090612"/>
                  </a:lnTo>
                  <a:lnTo>
                    <a:pt x="345281" y="1119187"/>
                  </a:lnTo>
                  <a:lnTo>
                    <a:pt x="335756" y="1123950"/>
                  </a:lnTo>
                  <a:lnTo>
                    <a:pt x="350044" y="1131094"/>
                  </a:lnTo>
                  <a:lnTo>
                    <a:pt x="345281" y="1164431"/>
                  </a:lnTo>
                  <a:lnTo>
                    <a:pt x="366712" y="1173956"/>
                  </a:lnTo>
                  <a:lnTo>
                    <a:pt x="421481" y="1226344"/>
                  </a:lnTo>
                  <a:lnTo>
                    <a:pt x="423862" y="1214437"/>
                  </a:lnTo>
                  <a:lnTo>
                    <a:pt x="388144" y="1157287"/>
                  </a:lnTo>
                  <a:lnTo>
                    <a:pt x="390525" y="1150144"/>
                  </a:lnTo>
                  <a:lnTo>
                    <a:pt x="426244" y="1171575"/>
                  </a:lnTo>
                  <a:lnTo>
                    <a:pt x="447675" y="1202531"/>
                  </a:lnTo>
                  <a:lnTo>
                    <a:pt x="1135856" y="1204912"/>
                  </a:lnTo>
                  <a:lnTo>
                    <a:pt x="1135856" y="1183481"/>
                  </a:lnTo>
                  <a:lnTo>
                    <a:pt x="1157287" y="1204912"/>
                  </a:lnTo>
                  <a:lnTo>
                    <a:pt x="1171575" y="1212056"/>
                  </a:lnTo>
                  <a:lnTo>
                    <a:pt x="1200150" y="1212056"/>
                  </a:lnTo>
                  <a:lnTo>
                    <a:pt x="1231106" y="1233487"/>
                  </a:lnTo>
                  <a:lnTo>
                    <a:pt x="1264444" y="1238250"/>
                  </a:lnTo>
                  <a:lnTo>
                    <a:pt x="1304925" y="1216819"/>
                  </a:lnTo>
                  <a:lnTo>
                    <a:pt x="1312069" y="1202531"/>
                  </a:lnTo>
                  <a:lnTo>
                    <a:pt x="1333500" y="1216819"/>
                  </a:lnTo>
                  <a:lnTo>
                    <a:pt x="1343025" y="1202531"/>
                  </a:lnTo>
                  <a:lnTo>
                    <a:pt x="1371600" y="1228725"/>
                  </a:lnTo>
                  <a:lnTo>
                    <a:pt x="1390650" y="1240631"/>
                  </a:lnTo>
                  <a:lnTo>
                    <a:pt x="1407319" y="1273969"/>
                  </a:lnTo>
                  <a:lnTo>
                    <a:pt x="1431131" y="1297781"/>
                  </a:lnTo>
                  <a:lnTo>
                    <a:pt x="1500187" y="1309687"/>
                  </a:lnTo>
                  <a:lnTo>
                    <a:pt x="1519237" y="1350169"/>
                  </a:lnTo>
                  <a:lnTo>
                    <a:pt x="1502569" y="1371600"/>
                  </a:lnTo>
                  <a:lnTo>
                    <a:pt x="1483519" y="1354931"/>
                  </a:lnTo>
                  <a:lnTo>
                    <a:pt x="1466850" y="1383506"/>
                  </a:lnTo>
                  <a:lnTo>
                    <a:pt x="1462087" y="1404937"/>
                  </a:lnTo>
                  <a:lnTo>
                    <a:pt x="1454944" y="1421606"/>
                  </a:lnTo>
                  <a:lnTo>
                    <a:pt x="1457325" y="1443037"/>
                  </a:lnTo>
                  <a:lnTo>
                    <a:pt x="1493044" y="1421606"/>
                  </a:lnTo>
                  <a:lnTo>
                    <a:pt x="1533525" y="1412081"/>
                  </a:lnTo>
                  <a:lnTo>
                    <a:pt x="1524000" y="1404937"/>
                  </a:lnTo>
                  <a:lnTo>
                    <a:pt x="1538287" y="1385887"/>
                  </a:lnTo>
                  <a:lnTo>
                    <a:pt x="1571625" y="1388269"/>
                  </a:lnTo>
                  <a:lnTo>
                    <a:pt x="1590675" y="1364456"/>
                  </a:lnTo>
                  <a:lnTo>
                    <a:pt x="1607344" y="1366837"/>
                  </a:lnTo>
                  <a:lnTo>
                    <a:pt x="1645444" y="1345406"/>
                  </a:lnTo>
                  <a:lnTo>
                    <a:pt x="1712119" y="1350169"/>
                  </a:lnTo>
                  <a:lnTo>
                    <a:pt x="1740694" y="1335881"/>
                  </a:lnTo>
                  <a:lnTo>
                    <a:pt x="1750219" y="1335881"/>
                  </a:lnTo>
                  <a:lnTo>
                    <a:pt x="1769269" y="1288256"/>
                  </a:lnTo>
                  <a:lnTo>
                    <a:pt x="1778794" y="1269206"/>
                  </a:lnTo>
                  <a:lnTo>
                    <a:pt x="1804987" y="1278731"/>
                  </a:lnTo>
                  <a:lnTo>
                    <a:pt x="1814512" y="1278731"/>
                  </a:lnTo>
                  <a:lnTo>
                    <a:pt x="1812131" y="1331119"/>
                  </a:lnTo>
                  <a:lnTo>
                    <a:pt x="1838325" y="1354931"/>
                  </a:lnTo>
                  <a:lnTo>
                    <a:pt x="1869281" y="1338262"/>
                  </a:lnTo>
                  <a:lnTo>
                    <a:pt x="1905000" y="1312069"/>
                  </a:lnTo>
                  <a:lnTo>
                    <a:pt x="1890712" y="1281112"/>
                  </a:lnTo>
                  <a:lnTo>
                    <a:pt x="1885950" y="1262062"/>
                  </a:lnTo>
                  <a:lnTo>
                    <a:pt x="1878806" y="1254919"/>
                  </a:lnTo>
                  <a:lnTo>
                    <a:pt x="1859756" y="1250156"/>
                  </a:lnTo>
                  <a:lnTo>
                    <a:pt x="1845469" y="1245394"/>
                  </a:lnTo>
                  <a:lnTo>
                    <a:pt x="1857375" y="1231106"/>
                  </a:lnTo>
                  <a:lnTo>
                    <a:pt x="1883569" y="1231106"/>
                  </a:lnTo>
                  <a:lnTo>
                    <a:pt x="1895475" y="1207294"/>
                  </a:lnTo>
                  <a:lnTo>
                    <a:pt x="1878806" y="1197769"/>
                  </a:lnTo>
                  <a:lnTo>
                    <a:pt x="1852612" y="1202531"/>
                  </a:lnTo>
                  <a:lnTo>
                    <a:pt x="1824037" y="1212056"/>
                  </a:lnTo>
                  <a:lnTo>
                    <a:pt x="1804987" y="1226344"/>
                  </a:lnTo>
                  <a:lnTo>
                    <a:pt x="1757362" y="1262062"/>
                  </a:lnTo>
                  <a:lnTo>
                    <a:pt x="1745456" y="1276350"/>
                  </a:lnTo>
                  <a:lnTo>
                    <a:pt x="1731169" y="1281112"/>
                  </a:lnTo>
                  <a:lnTo>
                    <a:pt x="1785937" y="1197769"/>
                  </a:lnTo>
                  <a:lnTo>
                    <a:pt x="1802606" y="1185862"/>
                  </a:lnTo>
                  <a:lnTo>
                    <a:pt x="1826419" y="1183481"/>
                  </a:lnTo>
                  <a:lnTo>
                    <a:pt x="1840706" y="1162050"/>
                  </a:lnTo>
                  <a:lnTo>
                    <a:pt x="1885950" y="1147762"/>
                  </a:lnTo>
                  <a:lnTo>
                    <a:pt x="1957387" y="1143000"/>
                  </a:lnTo>
                  <a:lnTo>
                    <a:pt x="1988344" y="1152525"/>
                  </a:lnTo>
                  <a:lnTo>
                    <a:pt x="2024062" y="1138237"/>
                  </a:lnTo>
                  <a:lnTo>
                    <a:pt x="2062162" y="1104900"/>
                  </a:lnTo>
                  <a:lnTo>
                    <a:pt x="2078831" y="1104900"/>
                  </a:lnTo>
                  <a:lnTo>
                    <a:pt x="2109787" y="1071562"/>
                  </a:lnTo>
                  <a:lnTo>
                    <a:pt x="2109787" y="1028700"/>
                  </a:lnTo>
                  <a:lnTo>
                    <a:pt x="2095500" y="1014412"/>
                  </a:lnTo>
                  <a:lnTo>
                    <a:pt x="2078831" y="1023937"/>
                  </a:lnTo>
                  <a:lnTo>
                    <a:pt x="2066925" y="1002506"/>
                  </a:lnTo>
                  <a:lnTo>
                    <a:pt x="2035969" y="1014412"/>
                  </a:lnTo>
                  <a:lnTo>
                    <a:pt x="2024062" y="1033462"/>
                  </a:lnTo>
                  <a:lnTo>
                    <a:pt x="2005012" y="1038225"/>
                  </a:lnTo>
                  <a:lnTo>
                    <a:pt x="1993106" y="1033462"/>
                  </a:lnTo>
                  <a:lnTo>
                    <a:pt x="2012156" y="1012031"/>
                  </a:lnTo>
                  <a:lnTo>
                    <a:pt x="2050256" y="985837"/>
                  </a:lnTo>
                  <a:lnTo>
                    <a:pt x="2050256" y="969169"/>
                  </a:lnTo>
                  <a:lnTo>
                    <a:pt x="2033587" y="957262"/>
                  </a:lnTo>
                  <a:lnTo>
                    <a:pt x="2009775" y="957262"/>
                  </a:lnTo>
                  <a:lnTo>
                    <a:pt x="1978819" y="914400"/>
                  </a:lnTo>
                  <a:lnTo>
                    <a:pt x="1964531" y="904875"/>
                  </a:lnTo>
                  <a:lnTo>
                    <a:pt x="1976437" y="873919"/>
                  </a:lnTo>
                  <a:lnTo>
                    <a:pt x="1962150" y="871537"/>
                  </a:lnTo>
                  <a:lnTo>
                    <a:pt x="1959769" y="852487"/>
                  </a:lnTo>
                  <a:lnTo>
                    <a:pt x="1957387" y="838200"/>
                  </a:lnTo>
                  <a:lnTo>
                    <a:pt x="1935956" y="838200"/>
                  </a:lnTo>
                  <a:lnTo>
                    <a:pt x="1943100" y="816769"/>
                  </a:lnTo>
                  <a:lnTo>
                    <a:pt x="1924050" y="804862"/>
                  </a:lnTo>
                  <a:lnTo>
                    <a:pt x="1928812" y="785812"/>
                  </a:lnTo>
                  <a:lnTo>
                    <a:pt x="1914525" y="773906"/>
                  </a:lnTo>
                  <a:lnTo>
                    <a:pt x="1912144" y="757237"/>
                  </a:lnTo>
                  <a:lnTo>
                    <a:pt x="1909762" y="754856"/>
                  </a:lnTo>
                  <a:lnTo>
                    <a:pt x="1893094" y="723900"/>
                  </a:lnTo>
                  <a:lnTo>
                    <a:pt x="1878806" y="731044"/>
                  </a:lnTo>
                  <a:lnTo>
                    <a:pt x="1883569" y="757237"/>
                  </a:lnTo>
                  <a:lnTo>
                    <a:pt x="1878806" y="771525"/>
                  </a:lnTo>
                  <a:lnTo>
                    <a:pt x="1874044" y="781050"/>
                  </a:lnTo>
                  <a:lnTo>
                    <a:pt x="1871662" y="795337"/>
                  </a:lnTo>
                  <a:lnTo>
                    <a:pt x="1854994" y="795337"/>
                  </a:lnTo>
                  <a:lnTo>
                    <a:pt x="1850231" y="804862"/>
                  </a:lnTo>
                  <a:lnTo>
                    <a:pt x="1828800" y="809625"/>
                  </a:lnTo>
                  <a:lnTo>
                    <a:pt x="1816894" y="828675"/>
                  </a:lnTo>
                  <a:lnTo>
                    <a:pt x="1793081" y="792956"/>
                  </a:lnTo>
                  <a:lnTo>
                    <a:pt x="1769269" y="797719"/>
                  </a:lnTo>
                  <a:lnTo>
                    <a:pt x="1762125" y="792956"/>
                  </a:lnTo>
                  <a:lnTo>
                    <a:pt x="1762125" y="783431"/>
                  </a:lnTo>
                  <a:lnTo>
                    <a:pt x="1771650" y="769144"/>
                  </a:lnTo>
                  <a:lnTo>
                    <a:pt x="1771650" y="740569"/>
                  </a:lnTo>
                  <a:lnTo>
                    <a:pt x="1757362" y="726281"/>
                  </a:lnTo>
                  <a:lnTo>
                    <a:pt x="1769269" y="714375"/>
                  </a:lnTo>
                  <a:lnTo>
                    <a:pt x="1771650" y="688181"/>
                  </a:lnTo>
                  <a:lnTo>
                    <a:pt x="1747837" y="683419"/>
                  </a:lnTo>
                  <a:lnTo>
                    <a:pt x="1738312" y="671512"/>
                  </a:lnTo>
                  <a:lnTo>
                    <a:pt x="1724025" y="673894"/>
                  </a:lnTo>
                  <a:lnTo>
                    <a:pt x="1702594" y="635794"/>
                  </a:lnTo>
                  <a:lnTo>
                    <a:pt x="1690687" y="635794"/>
                  </a:lnTo>
                  <a:lnTo>
                    <a:pt x="1685925" y="609600"/>
                  </a:lnTo>
                  <a:lnTo>
                    <a:pt x="1659731" y="609600"/>
                  </a:lnTo>
                  <a:lnTo>
                    <a:pt x="1631156" y="628650"/>
                  </a:lnTo>
                  <a:lnTo>
                    <a:pt x="1574006" y="60007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5" name="Freeform: Shape 12"/>
            <p:cNvSpPr/>
            <p:nvPr/>
          </p:nvSpPr>
          <p:spPr bwMode="auto">
            <a:xfrm>
              <a:off x="1176338" y="1864519"/>
              <a:ext cx="245268" cy="292894"/>
            </a:xfrm>
            <a:custGeom>
              <a:avLst/>
              <a:gdLst>
                <a:gd name="connsiteX0" fmla="*/ 126206 w 245268"/>
                <a:gd name="connsiteY0" fmla="*/ 247650 h 292894"/>
                <a:gd name="connsiteX1" fmla="*/ 150018 w 245268"/>
                <a:gd name="connsiteY1" fmla="*/ 185737 h 292894"/>
                <a:gd name="connsiteX2" fmla="*/ 147637 w 245268"/>
                <a:gd name="connsiteY2" fmla="*/ 157162 h 292894"/>
                <a:gd name="connsiteX3" fmla="*/ 245268 w 245268"/>
                <a:gd name="connsiteY3" fmla="*/ 97631 h 292894"/>
                <a:gd name="connsiteX4" fmla="*/ 211931 w 245268"/>
                <a:gd name="connsiteY4" fmla="*/ 66675 h 292894"/>
                <a:gd name="connsiteX5" fmla="*/ 171450 w 245268"/>
                <a:gd name="connsiteY5" fmla="*/ 28575 h 292894"/>
                <a:gd name="connsiteX6" fmla="*/ 154781 w 245268"/>
                <a:gd name="connsiteY6" fmla="*/ 50006 h 292894"/>
                <a:gd name="connsiteX7" fmla="*/ 140493 w 245268"/>
                <a:gd name="connsiteY7" fmla="*/ 42862 h 292894"/>
                <a:gd name="connsiteX8" fmla="*/ 92868 w 245268"/>
                <a:gd name="connsiteY8" fmla="*/ 0 h 292894"/>
                <a:gd name="connsiteX9" fmla="*/ 66675 w 245268"/>
                <a:gd name="connsiteY9" fmla="*/ 11906 h 292894"/>
                <a:gd name="connsiteX10" fmla="*/ 54768 w 245268"/>
                <a:gd name="connsiteY10" fmla="*/ 26194 h 292894"/>
                <a:gd name="connsiteX11" fmla="*/ 35718 w 245268"/>
                <a:gd name="connsiteY11" fmla="*/ 16669 h 292894"/>
                <a:gd name="connsiteX12" fmla="*/ 35718 w 245268"/>
                <a:gd name="connsiteY12" fmla="*/ 16669 h 292894"/>
                <a:gd name="connsiteX13" fmla="*/ 45243 w 245268"/>
                <a:gd name="connsiteY13" fmla="*/ 61912 h 292894"/>
                <a:gd name="connsiteX14" fmla="*/ 33337 w 245268"/>
                <a:gd name="connsiteY14" fmla="*/ 97631 h 292894"/>
                <a:gd name="connsiteX15" fmla="*/ 19050 w 245268"/>
                <a:gd name="connsiteY15" fmla="*/ 135731 h 292894"/>
                <a:gd name="connsiteX16" fmla="*/ 9525 w 245268"/>
                <a:gd name="connsiteY16" fmla="*/ 183356 h 292894"/>
                <a:gd name="connsiteX17" fmla="*/ 0 w 245268"/>
                <a:gd name="connsiteY17" fmla="*/ 219075 h 292894"/>
                <a:gd name="connsiteX18" fmla="*/ 45243 w 245268"/>
                <a:gd name="connsiteY18" fmla="*/ 247650 h 292894"/>
                <a:gd name="connsiteX19" fmla="*/ 61912 w 245268"/>
                <a:gd name="connsiteY19" fmla="*/ 292894 h 292894"/>
                <a:gd name="connsiteX20" fmla="*/ 126206 w 245268"/>
                <a:gd name="connsiteY20" fmla="*/ 247650 h 29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5268" h="292894">
                  <a:moveTo>
                    <a:pt x="126206" y="247650"/>
                  </a:moveTo>
                  <a:lnTo>
                    <a:pt x="150018" y="185737"/>
                  </a:lnTo>
                  <a:lnTo>
                    <a:pt x="147637" y="157162"/>
                  </a:lnTo>
                  <a:lnTo>
                    <a:pt x="245268" y="97631"/>
                  </a:lnTo>
                  <a:lnTo>
                    <a:pt x="211931" y="66675"/>
                  </a:lnTo>
                  <a:lnTo>
                    <a:pt x="171450" y="28575"/>
                  </a:lnTo>
                  <a:lnTo>
                    <a:pt x="154781" y="50006"/>
                  </a:lnTo>
                  <a:lnTo>
                    <a:pt x="140493" y="42862"/>
                  </a:lnTo>
                  <a:lnTo>
                    <a:pt x="92868" y="0"/>
                  </a:lnTo>
                  <a:lnTo>
                    <a:pt x="66675" y="11906"/>
                  </a:lnTo>
                  <a:lnTo>
                    <a:pt x="54768" y="26194"/>
                  </a:lnTo>
                  <a:lnTo>
                    <a:pt x="35718" y="16669"/>
                  </a:lnTo>
                  <a:lnTo>
                    <a:pt x="35718" y="16669"/>
                  </a:lnTo>
                  <a:lnTo>
                    <a:pt x="45243" y="61912"/>
                  </a:lnTo>
                  <a:lnTo>
                    <a:pt x="33337" y="97631"/>
                  </a:lnTo>
                  <a:lnTo>
                    <a:pt x="19050" y="135731"/>
                  </a:lnTo>
                  <a:lnTo>
                    <a:pt x="9525" y="183356"/>
                  </a:lnTo>
                  <a:lnTo>
                    <a:pt x="0" y="219075"/>
                  </a:lnTo>
                  <a:lnTo>
                    <a:pt x="45243" y="247650"/>
                  </a:lnTo>
                  <a:lnTo>
                    <a:pt x="61912" y="292894"/>
                  </a:lnTo>
                  <a:lnTo>
                    <a:pt x="126206" y="24765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6" name="Freeform: Shape 13"/>
            <p:cNvSpPr/>
            <p:nvPr/>
          </p:nvSpPr>
          <p:spPr bwMode="auto">
            <a:xfrm>
              <a:off x="1345406" y="1985963"/>
              <a:ext cx="442913" cy="357187"/>
            </a:xfrm>
            <a:custGeom>
              <a:avLst/>
              <a:gdLst>
                <a:gd name="connsiteX0" fmla="*/ 157163 w 442913"/>
                <a:gd name="connsiteY0" fmla="*/ 211931 h 357187"/>
                <a:gd name="connsiteX1" fmla="*/ 97632 w 442913"/>
                <a:gd name="connsiteY1" fmla="*/ 245268 h 357187"/>
                <a:gd name="connsiteX2" fmla="*/ 52388 w 442913"/>
                <a:gd name="connsiteY2" fmla="*/ 252412 h 357187"/>
                <a:gd name="connsiteX3" fmla="*/ 61913 w 442913"/>
                <a:gd name="connsiteY3" fmla="*/ 285750 h 357187"/>
                <a:gd name="connsiteX4" fmla="*/ 97632 w 442913"/>
                <a:gd name="connsiteY4" fmla="*/ 311943 h 357187"/>
                <a:gd name="connsiteX5" fmla="*/ 119063 w 442913"/>
                <a:gd name="connsiteY5" fmla="*/ 307181 h 357187"/>
                <a:gd name="connsiteX6" fmla="*/ 150019 w 442913"/>
                <a:gd name="connsiteY6" fmla="*/ 342900 h 357187"/>
                <a:gd name="connsiteX7" fmla="*/ 192882 w 442913"/>
                <a:gd name="connsiteY7" fmla="*/ 357187 h 357187"/>
                <a:gd name="connsiteX8" fmla="*/ 245269 w 442913"/>
                <a:gd name="connsiteY8" fmla="*/ 323850 h 357187"/>
                <a:gd name="connsiteX9" fmla="*/ 276225 w 442913"/>
                <a:gd name="connsiteY9" fmla="*/ 307181 h 357187"/>
                <a:gd name="connsiteX10" fmla="*/ 292894 w 442913"/>
                <a:gd name="connsiteY10" fmla="*/ 290512 h 357187"/>
                <a:gd name="connsiteX11" fmla="*/ 321469 w 442913"/>
                <a:gd name="connsiteY11" fmla="*/ 314325 h 357187"/>
                <a:gd name="connsiteX12" fmla="*/ 345282 w 442913"/>
                <a:gd name="connsiteY12" fmla="*/ 314325 h 357187"/>
                <a:gd name="connsiteX13" fmla="*/ 350044 w 442913"/>
                <a:gd name="connsiteY13" fmla="*/ 328612 h 357187"/>
                <a:gd name="connsiteX14" fmla="*/ 390525 w 442913"/>
                <a:gd name="connsiteY14" fmla="*/ 330993 h 357187"/>
                <a:gd name="connsiteX15" fmla="*/ 409575 w 442913"/>
                <a:gd name="connsiteY15" fmla="*/ 316706 h 357187"/>
                <a:gd name="connsiteX16" fmla="*/ 409575 w 442913"/>
                <a:gd name="connsiteY16" fmla="*/ 316706 h 357187"/>
                <a:gd name="connsiteX17" fmla="*/ 373857 w 442913"/>
                <a:gd name="connsiteY17" fmla="*/ 307181 h 357187"/>
                <a:gd name="connsiteX18" fmla="*/ 390525 w 442913"/>
                <a:gd name="connsiteY18" fmla="*/ 273843 h 357187"/>
                <a:gd name="connsiteX19" fmla="*/ 402432 w 442913"/>
                <a:gd name="connsiteY19" fmla="*/ 257175 h 357187"/>
                <a:gd name="connsiteX20" fmla="*/ 433388 w 442913"/>
                <a:gd name="connsiteY20" fmla="*/ 278606 h 357187"/>
                <a:gd name="connsiteX21" fmla="*/ 442913 w 442913"/>
                <a:gd name="connsiteY21" fmla="*/ 269081 h 357187"/>
                <a:gd name="connsiteX22" fmla="*/ 400050 w 442913"/>
                <a:gd name="connsiteY22" fmla="*/ 230981 h 357187"/>
                <a:gd name="connsiteX23" fmla="*/ 385763 w 442913"/>
                <a:gd name="connsiteY23" fmla="*/ 209550 h 357187"/>
                <a:gd name="connsiteX24" fmla="*/ 373857 w 442913"/>
                <a:gd name="connsiteY24" fmla="*/ 219075 h 357187"/>
                <a:gd name="connsiteX25" fmla="*/ 340519 w 442913"/>
                <a:gd name="connsiteY25" fmla="*/ 180975 h 357187"/>
                <a:gd name="connsiteX26" fmla="*/ 342900 w 442913"/>
                <a:gd name="connsiteY26" fmla="*/ 126206 h 357187"/>
                <a:gd name="connsiteX27" fmla="*/ 326232 w 442913"/>
                <a:gd name="connsiteY27" fmla="*/ 66675 h 357187"/>
                <a:gd name="connsiteX28" fmla="*/ 311944 w 442913"/>
                <a:gd name="connsiteY28" fmla="*/ 30956 h 357187"/>
                <a:gd name="connsiteX29" fmla="*/ 273844 w 442913"/>
                <a:gd name="connsiteY29" fmla="*/ 0 h 357187"/>
                <a:gd name="connsiteX30" fmla="*/ 257175 w 442913"/>
                <a:gd name="connsiteY30" fmla="*/ 4762 h 357187"/>
                <a:gd name="connsiteX31" fmla="*/ 278607 w 442913"/>
                <a:gd name="connsiteY31" fmla="*/ 66675 h 357187"/>
                <a:gd name="connsiteX32" fmla="*/ 278607 w 442913"/>
                <a:gd name="connsiteY32" fmla="*/ 107156 h 357187"/>
                <a:gd name="connsiteX33" fmla="*/ 259557 w 442913"/>
                <a:gd name="connsiteY33" fmla="*/ 126206 h 357187"/>
                <a:gd name="connsiteX34" fmla="*/ 259557 w 442913"/>
                <a:gd name="connsiteY34" fmla="*/ 126206 h 357187"/>
                <a:gd name="connsiteX35" fmla="*/ 245269 w 442913"/>
                <a:gd name="connsiteY35" fmla="*/ 88106 h 357187"/>
                <a:gd name="connsiteX36" fmla="*/ 207169 w 442913"/>
                <a:gd name="connsiteY36" fmla="*/ 28575 h 357187"/>
                <a:gd name="connsiteX37" fmla="*/ 209550 w 442913"/>
                <a:gd name="connsiteY37" fmla="*/ 61912 h 357187"/>
                <a:gd name="connsiteX38" fmla="*/ 195263 w 442913"/>
                <a:gd name="connsiteY38" fmla="*/ 64293 h 357187"/>
                <a:gd name="connsiteX39" fmla="*/ 173832 w 442913"/>
                <a:gd name="connsiteY39" fmla="*/ 73818 h 357187"/>
                <a:gd name="connsiteX40" fmla="*/ 166688 w 442913"/>
                <a:gd name="connsiteY40" fmla="*/ 66675 h 357187"/>
                <a:gd name="connsiteX41" fmla="*/ 166688 w 442913"/>
                <a:gd name="connsiteY41" fmla="*/ 50006 h 357187"/>
                <a:gd name="connsiteX42" fmla="*/ 133350 w 442913"/>
                <a:gd name="connsiteY42" fmla="*/ 30956 h 357187"/>
                <a:gd name="connsiteX43" fmla="*/ 126207 w 442913"/>
                <a:gd name="connsiteY43" fmla="*/ 54768 h 357187"/>
                <a:gd name="connsiteX44" fmla="*/ 95250 w 442913"/>
                <a:gd name="connsiteY44" fmla="*/ 57150 h 357187"/>
                <a:gd name="connsiteX45" fmla="*/ 97632 w 442913"/>
                <a:gd name="connsiteY45" fmla="*/ 2381 h 357187"/>
                <a:gd name="connsiteX46" fmla="*/ 38100 w 442913"/>
                <a:gd name="connsiteY46" fmla="*/ 52387 h 357187"/>
                <a:gd name="connsiteX47" fmla="*/ 16669 w 442913"/>
                <a:gd name="connsiteY47" fmla="*/ 66675 h 357187"/>
                <a:gd name="connsiteX48" fmla="*/ 11907 w 442913"/>
                <a:gd name="connsiteY48" fmla="*/ 92868 h 357187"/>
                <a:gd name="connsiteX49" fmla="*/ 0 w 442913"/>
                <a:gd name="connsiteY49" fmla="*/ 114300 h 357187"/>
                <a:gd name="connsiteX50" fmla="*/ 19050 w 442913"/>
                <a:gd name="connsiteY50" fmla="*/ 126206 h 357187"/>
                <a:gd name="connsiteX51" fmla="*/ 30957 w 442913"/>
                <a:gd name="connsiteY51" fmla="*/ 145256 h 357187"/>
                <a:gd name="connsiteX52" fmla="*/ 69057 w 442913"/>
                <a:gd name="connsiteY52" fmla="*/ 138112 h 357187"/>
                <a:gd name="connsiteX53" fmla="*/ 61913 w 442913"/>
                <a:gd name="connsiteY53" fmla="*/ 159543 h 357187"/>
                <a:gd name="connsiteX54" fmla="*/ 19050 w 442913"/>
                <a:gd name="connsiteY54" fmla="*/ 176212 h 357187"/>
                <a:gd name="connsiteX55" fmla="*/ 61913 w 442913"/>
                <a:gd name="connsiteY55" fmla="*/ 209550 h 357187"/>
                <a:gd name="connsiteX56" fmla="*/ 100013 w 442913"/>
                <a:gd name="connsiteY56" fmla="*/ 202406 h 357187"/>
                <a:gd name="connsiteX57" fmla="*/ 157163 w 442913"/>
                <a:gd name="connsiteY57" fmla="*/ 211931 h 35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42913" h="357187">
                  <a:moveTo>
                    <a:pt x="157163" y="211931"/>
                  </a:moveTo>
                  <a:lnTo>
                    <a:pt x="97632" y="245268"/>
                  </a:lnTo>
                  <a:lnTo>
                    <a:pt x="52388" y="252412"/>
                  </a:lnTo>
                  <a:lnTo>
                    <a:pt x="61913" y="285750"/>
                  </a:lnTo>
                  <a:lnTo>
                    <a:pt x="97632" y="311943"/>
                  </a:lnTo>
                  <a:lnTo>
                    <a:pt x="119063" y="307181"/>
                  </a:lnTo>
                  <a:lnTo>
                    <a:pt x="150019" y="342900"/>
                  </a:lnTo>
                  <a:lnTo>
                    <a:pt x="192882" y="357187"/>
                  </a:lnTo>
                  <a:lnTo>
                    <a:pt x="245269" y="323850"/>
                  </a:lnTo>
                  <a:lnTo>
                    <a:pt x="276225" y="307181"/>
                  </a:lnTo>
                  <a:lnTo>
                    <a:pt x="292894" y="290512"/>
                  </a:lnTo>
                  <a:lnTo>
                    <a:pt x="321469" y="314325"/>
                  </a:lnTo>
                  <a:lnTo>
                    <a:pt x="345282" y="314325"/>
                  </a:lnTo>
                  <a:lnTo>
                    <a:pt x="350044" y="328612"/>
                  </a:lnTo>
                  <a:lnTo>
                    <a:pt x="390525" y="330993"/>
                  </a:lnTo>
                  <a:lnTo>
                    <a:pt x="409575" y="316706"/>
                  </a:lnTo>
                  <a:lnTo>
                    <a:pt x="409575" y="316706"/>
                  </a:lnTo>
                  <a:lnTo>
                    <a:pt x="373857" y="307181"/>
                  </a:lnTo>
                  <a:lnTo>
                    <a:pt x="390525" y="273843"/>
                  </a:lnTo>
                  <a:lnTo>
                    <a:pt x="402432" y="257175"/>
                  </a:lnTo>
                  <a:lnTo>
                    <a:pt x="433388" y="278606"/>
                  </a:lnTo>
                  <a:lnTo>
                    <a:pt x="442913" y="269081"/>
                  </a:lnTo>
                  <a:lnTo>
                    <a:pt x="400050" y="230981"/>
                  </a:lnTo>
                  <a:lnTo>
                    <a:pt x="385763" y="209550"/>
                  </a:lnTo>
                  <a:lnTo>
                    <a:pt x="373857" y="219075"/>
                  </a:lnTo>
                  <a:lnTo>
                    <a:pt x="340519" y="180975"/>
                  </a:lnTo>
                  <a:cubicBezTo>
                    <a:pt x="341313" y="162719"/>
                    <a:pt x="342106" y="144462"/>
                    <a:pt x="342900" y="126206"/>
                  </a:cubicBezTo>
                  <a:lnTo>
                    <a:pt x="326232" y="66675"/>
                  </a:lnTo>
                  <a:lnTo>
                    <a:pt x="311944" y="30956"/>
                  </a:lnTo>
                  <a:lnTo>
                    <a:pt x="273844" y="0"/>
                  </a:lnTo>
                  <a:lnTo>
                    <a:pt x="257175" y="4762"/>
                  </a:lnTo>
                  <a:lnTo>
                    <a:pt x="278607" y="66675"/>
                  </a:lnTo>
                  <a:lnTo>
                    <a:pt x="278607" y="107156"/>
                  </a:lnTo>
                  <a:lnTo>
                    <a:pt x="259557" y="126206"/>
                  </a:lnTo>
                  <a:lnTo>
                    <a:pt x="259557" y="126206"/>
                  </a:lnTo>
                  <a:lnTo>
                    <a:pt x="245269" y="88106"/>
                  </a:lnTo>
                  <a:lnTo>
                    <a:pt x="207169" y="28575"/>
                  </a:lnTo>
                  <a:lnTo>
                    <a:pt x="209550" y="61912"/>
                  </a:lnTo>
                  <a:lnTo>
                    <a:pt x="195263" y="64293"/>
                  </a:lnTo>
                  <a:lnTo>
                    <a:pt x="173832" y="73818"/>
                  </a:lnTo>
                  <a:lnTo>
                    <a:pt x="166688" y="66675"/>
                  </a:lnTo>
                  <a:lnTo>
                    <a:pt x="166688" y="50006"/>
                  </a:lnTo>
                  <a:lnTo>
                    <a:pt x="133350" y="30956"/>
                  </a:lnTo>
                  <a:lnTo>
                    <a:pt x="126207" y="54768"/>
                  </a:lnTo>
                  <a:lnTo>
                    <a:pt x="95250" y="57150"/>
                  </a:lnTo>
                  <a:lnTo>
                    <a:pt x="97632" y="2381"/>
                  </a:lnTo>
                  <a:lnTo>
                    <a:pt x="38100" y="52387"/>
                  </a:lnTo>
                  <a:lnTo>
                    <a:pt x="16669" y="66675"/>
                  </a:lnTo>
                  <a:lnTo>
                    <a:pt x="11907" y="92868"/>
                  </a:lnTo>
                  <a:lnTo>
                    <a:pt x="0" y="114300"/>
                  </a:lnTo>
                  <a:lnTo>
                    <a:pt x="19050" y="126206"/>
                  </a:lnTo>
                  <a:lnTo>
                    <a:pt x="30957" y="145256"/>
                  </a:lnTo>
                  <a:lnTo>
                    <a:pt x="69057" y="138112"/>
                  </a:lnTo>
                  <a:lnTo>
                    <a:pt x="61913" y="159543"/>
                  </a:lnTo>
                  <a:lnTo>
                    <a:pt x="19050" y="176212"/>
                  </a:lnTo>
                  <a:lnTo>
                    <a:pt x="61913" y="209550"/>
                  </a:lnTo>
                  <a:lnTo>
                    <a:pt x="100013" y="202406"/>
                  </a:lnTo>
                  <a:lnTo>
                    <a:pt x="157163" y="21193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" name="Freeform: Shape 14"/>
            <p:cNvSpPr/>
            <p:nvPr/>
          </p:nvSpPr>
          <p:spPr bwMode="auto">
            <a:xfrm>
              <a:off x="121444" y="2150269"/>
              <a:ext cx="942975" cy="940594"/>
            </a:xfrm>
            <a:custGeom>
              <a:avLst/>
              <a:gdLst>
                <a:gd name="connsiteX0" fmla="*/ 683419 w 942975"/>
                <a:gd name="connsiteY0" fmla="*/ 133350 h 940594"/>
                <a:gd name="connsiteX1" fmla="*/ 628650 w 942975"/>
                <a:gd name="connsiteY1" fmla="*/ 102394 h 940594"/>
                <a:gd name="connsiteX2" fmla="*/ 604837 w 942975"/>
                <a:gd name="connsiteY2" fmla="*/ 100012 h 940594"/>
                <a:gd name="connsiteX3" fmla="*/ 592931 w 942975"/>
                <a:gd name="connsiteY3" fmla="*/ 88106 h 940594"/>
                <a:gd name="connsiteX4" fmla="*/ 557212 w 942975"/>
                <a:gd name="connsiteY4" fmla="*/ 100012 h 940594"/>
                <a:gd name="connsiteX5" fmla="*/ 538162 w 942975"/>
                <a:gd name="connsiteY5" fmla="*/ 88106 h 940594"/>
                <a:gd name="connsiteX6" fmla="*/ 504825 w 942975"/>
                <a:gd name="connsiteY6" fmla="*/ 83344 h 940594"/>
                <a:gd name="connsiteX7" fmla="*/ 461962 w 942975"/>
                <a:gd name="connsiteY7" fmla="*/ 59531 h 940594"/>
                <a:gd name="connsiteX8" fmla="*/ 431006 w 942975"/>
                <a:gd name="connsiteY8" fmla="*/ 57150 h 940594"/>
                <a:gd name="connsiteX9" fmla="*/ 404812 w 942975"/>
                <a:gd name="connsiteY9" fmla="*/ 57150 h 940594"/>
                <a:gd name="connsiteX10" fmla="*/ 390525 w 942975"/>
                <a:gd name="connsiteY10" fmla="*/ 30956 h 940594"/>
                <a:gd name="connsiteX11" fmla="*/ 371475 w 942975"/>
                <a:gd name="connsiteY11" fmla="*/ 35719 h 940594"/>
                <a:gd name="connsiteX12" fmla="*/ 352425 w 942975"/>
                <a:gd name="connsiteY12" fmla="*/ 26194 h 940594"/>
                <a:gd name="connsiteX13" fmla="*/ 321469 w 942975"/>
                <a:gd name="connsiteY13" fmla="*/ 35719 h 940594"/>
                <a:gd name="connsiteX14" fmla="*/ 316706 w 942975"/>
                <a:gd name="connsiteY14" fmla="*/ 11906 h 940594"/>
                <a:gd name="connsiteX15" fmla="*/ 309562 w 942975"/>
                <a:gd name="connsiteY15" fmla="*/ 47625 h 940594"/>
                <a:gd name="connsiteX16" fmla="*/ 295275 w 942975"/>
                <a:gd name="connsiteY16" fmla="*/ 21431 h 940594"/>
                <a:gd name="connsiteX17" fmla="*/ 285750 w 942975"/>
                <a:gd name="connsiteY17" fmla="*/ 0 h 940594"/>
                <a:gd name="connsiteX18" fmla="*/ 240506 w 942975"/>
                <a:gd name="connsiteY18" fmla="*/ 30956 h 940594"/>
                <a:gd name="connsiteX19" fmla="*/ 219075 w 942975"/>
                <a:gd name="connsiteY19" fmla="*/ 38100 h 940594"/>
                <a:gd name="connsiteX20" fmla="*/ 200025 w 942975"/>
                <a:gd name="connsiteY20" fmla="*/ 30956 h 940594"/>
                <a:gd name="connsiteX21" fmla="*/ 204787 w 942975"/>
                <a:gd name="connsiteY21" fmla="*/ 57150 h 940594"/>
                <a:gd name="connsiteX22" fmla="*/ 178594 w 942975"/>
                <a:gd name="connsiteY22" fmla="*/ 57150 h 940594"/>
                <a:gd name="connsiteX23" fmla="*/ 152400 w 942975"/>
                <a:gd name="connsiteY23" fmla="*/ 73819 h 940594"/>
                <a:gd name="connsiteX24" fmla="*/ 140494 w 942975"/>
                <a:gd name="connsiteY24" fmla="*/ 90487 h 940594"/>
                <a:gd name="connsiteX25" fmla="*/ 128587 w 942975"/>
                <a:gd name="connsiteY25" fmla="*/ 119062 h 940594"/>
                <a:gd name="connsiteX26" fmla="*/ 123825 w 942975"/>
                <a:gd name="connsiteY26" fmla="*/ 147637 h 940594"/>
                <a:gd name="connsiteX27" fmla="*/ 111919 w 942975"/>
                <a:gd name="connsiteY27" fmla="*/ 173831 h 940594"/>
                <a:gd name="connsiteX28" fmla="*/ 50006 w 942975"/>
                <a:gd name="connsiteY28" fmla="*/ 173831 h 940594"/>
                <a:gd name="connsiteX29" fmla="*/ 38100 w 942975"/>
                <a:gd name="connsiteY29" fmla="*/ 209550 h 940594"/>
                <a:gd name="connsiteX30" fmla="*/ 80962 w 942975"/>
                <a:gd name="connsiteY30" fmla="*/ 233362 h 940594"/>
                <a:gd name="connsiteX31" fmla="*/ 119062 w 942975"/>
                <a:gd name="connsiteY31" fmla="*/ 300037 h 940594"/>
                <a:gd name="connsiteX32" fmla="*/ 138112 w 942975"/>
                <a:gd name="connsiteY32" fmla="*/ 292894 h 940594"/>
                <a:gd name="connsiteX33" fmla="*/ 159544 w 942975"/>
                <a:gd name="connsiteY33" fmla="*/ 314325 h 940594"/>
                <a:gd name="connsiteX34" fmla="*/ 207169 w 942975"/>
                <a:gd name="connsiteY34" fmla="*/ 316706 h 940594"/>
                <a:gd name="connsiteX35" fmla="*/ 197644 w 942975"/>
                <a:gd name="connsiteY35" fmla="*/ 340519 h 940594"/>
                <a:gd name="connsiteX36" fmla="*/ 166687 w 942975"/>
                <a:gd name="connsiteY36" fmla="*/ 342900 h 940594"/>
                <a:gd name="connsiteX37" fmla="*/ 147637 w 942975"/>
                <a:gd name="connsiteY37" fmla="*/ 357187 h 940594"/>
                <a:gd name="connsiteX38" fmla="*/ 114300 w 942975"/>
                <a:gd name="connsiteY38" fmla="*/ 357187 h 940594"/>
                <a:gd name="connsiteX39" fmla="*/ 92869 w 942975"/>
                <a:gd name="connsiteY39" fmla="*/ 345281 h 940594"/>
                <a:gd name="connsiteX40" fmla="*/ 95250 w 942975"/>
                <a:gd name="connsiteY40" fmla="*/ 326231 h 940594"/>
                <a:gd name="connsiteX41" fmla="*/ 64294 w 942975"/>
                <a:gd name="connsiteY41" fmla="*/ 333375 h 940594"/>
                <a:gd name="connsiteX42" fmla="*/ 64294 w 942975"/>
                <a:gd name="connsiteY42" fmla="*/ 333375 h 940594"/>
                <a:gd name="connsiteX43" fmla="*/ 19050 w 942975"/>
                <a:gd name="connsiteY43" fmla="*/ 357187 h 940594"/>
                <a:gd name="connsiteX44" fmla="*/ 0 w 942975"/>
                <a:gd name="connsiteY44" fmla="*/ 378619 h 940594"/>
                <a:gd name="connsiteX45" fmla="*/ 35719 w 942975"/>
                <a:gd name="connsiteY45" fmla="*/ 395287 h 940594"/>
                <a:gd name="connsiteX46" fmla="*/ 42862 w 942975"/>
                <a:gd name="connsiteY46" fmla="*/ 421481 h 940594"/>
                <a:gd name="connsiteX47" fmla="*/ 54769 w 942975"/>
                <a:gd name="connsiteY47" fmla="*/ 438150 h 940594"/>
                <a:gd name="connsiteX48" fmla="*/ 80962 w 942975"/>
                <a:gd name="connsiteY48" fmla="*/ 447675 h 940594"/>
                <a:gd name="connsiteX49" fmla="*/ 107156 w 942975"/>
                <a:gd name="connsiteY49" fmla="*/ 431006 h 940594"/>
                <a:gd name="connsiteX50" fmla="*/ 138112 w 942975"/>
                <a:gd name="connsiteY50" fmla="*/ 447675 h 940594"/>
                <a:gd name="connsiteX51" fmla="*/ 147637 w 942975"/>
                <a:gd name="connsiteY51" fmla="*/ 423862 h 940594"/>
                <a:gd name="connsiteX52" fmla="*/ 183356 w 942975"/>
                <a:gd name="connsiteY52" fmla="*/ 416719 h 940594"/>
                <a:gd name="connsiteX53" fmla="*/ 183356 w 942975"/>
                <a:gd name="connsiteY53" fmla="*/ 447675 h 940594"/>
                <a:gd name="connsiteX54" fmla="*/ 183356 w 942975"/>
                <a:gd name="connsiteY54" fmla="*/ 447675 h 940594"/>
                <a:gd name="connsiteX55" fmla="*/ 180975 w 942975"/>
                <a:gd name="connsiteY55" fmla="*/ 473869 h 940594"/>
                <a:gd name="connsiteX56" fmla="*/ 159544 w 942975"/>
                <a:gd name="connsiteY56" fmla="*/ 502444 h 940594"/>
                <a:gd name="connsiteX57" fmla="*/ 128587 w 942975"/>
                <a:gd name="connsiteY57" fmla="*/ 514350 h 940594"/>
                <a:gd name="connsiteX58" fmla="*/ 92869 w 942975"/>
                <a:gd name="connsiteY58" fmla="*/ 538162 h 940594"/>
                <a:gd name="connsiteX59" fmla="*/ 80962 w 942975"/>
                <a:gd name="connsiteY59" fmla="*/ 538162 h 940594"/>
                <a:gd name="connsiteX60" fmla="*/ 76200 w 942975"/>
                <a:gd name="connsiteY60" fmla="*/ 571500 h 940594"/>
                <a:gd name="connsiteX61" fmla="*/ 52387 w 942975"/>
                <a:gd name="connsiteY61" fmla="*/ 583406 h 940594"/>
                <a:gd name="connsiteX62" fmla="*/ 59531 w 942975"/>
                <a:gd name="connsiteY62" fmla="*/ 623887 h 940594"/>
                <a:gd name="connsiteX63" fmla="*/ 73819 w 942975"/>
                <a:gd name="connsiteY63" fmla="*/ 642937 h 940594"/>
                <a:gd name="connsiteX64" fmla="*/ 73819 w 942975"/>
                <a:gd name="connsiteY64" fmla="*/ 642937 h 940594"/>
                <a:gd name="connsiteX65" fmla="*/ 78581 w 942975"/>
                <a:gd name="connsiteY65" fmla="*/ 683419 h 940594"/>
                <a:gd name="connsiteX66" fmla="*/ 119062 w 942975"/>
                <a:gd name="connsiteY66" fmla="*/ 700087 h 940594"/>
                <a:gd name="connsiteX67" fmla="*/ 145256 w 942975"/>
                <a:gd name="connsiteY67" fmla="*/ 640556 h 940594"/>
                <a:gd name="connsiteX68" fmla="*/ 150019 w 942975"/>
                <a:gd name="connsiteY68" fmla="*/ 695325 h 940594"/>
                <a:gd name="connsiteX69" fmla="*/ 152400 w 942975"/>
                <a:gd name="connsiteY69" fmla="*/ 726281 h 940594"/>
                <a:gd name="connsiteX70" fmla="*/ 159544 w 942975"/>
                <a:gd name="connsiteY70" fmla="*/ 742950 h 940594"/>
                <a:gd name="connsiteX71" fmla="*/ 185737 w 942975"/>
                <a:gd name="connsiteY71" fmla="*/ 728662 h 940594"/>
                <a:gd name="connsiteX72" fmla="*/ 214312 w 942975"/>
                <a:gd name="connsiteY72" fmla="*/ 757237 h 940594"/>
                <a:gd name="connsiteX73" fmla="*/ 223837 w 942975"/>
                <a:gd name="connsiteY73" fmla="*/ 731044 h 940594"/>
                <a:gd name="connsiteX74" fmla="*/ 245269 w 942975"/>
                <a:gd name="connsiteY74" fmla="*/ 740569 h 940594"/>
                <a:gd name="connsiteX75" fmla="*/ 273844 w 942975"/>
                <a:gd name="connsiteY75" fmla="*/ 719137 h 940594"/>
                <a:gd name="connsiteX76" fmla="*/ 266700 w 942975"/>
                <a:gd name="connsiteY76" fmla="*/ 764381 h 940594"/>
                <a:gd name="connsiteX77" fmla="*/ 254794 w 942975"/>
                <a:gd name="connsiteY77" fmla="*/ 814387 h 940594"/>
                <a:gd name="connsiteX78" fmla="*/ 228600 w 942975"/>
                <a:gd name="connsiteY78" fmla="*/ 833437 h 940594"/>
                <a:gd name="connsiteX79" fmla="*/ 209550 w 942975"/>
                <a:gd name="connsiteY79" fmla="*/ 850106 h 940594"/>
                <a:gd name="connsiteX80" fmla="*/ 190500 w 942975"/>
                <a:gd name="connsiteY80" fmla="*/ 871537 h 940594"/>
                <a:gd name="connsiteX81" fmla="*/ 161925 w 942975"/>
                <a:gd name="connsiteY81" fmla="*/ 871537 h 940594"/>
                <a:gd name="connsiteX82" fmla="*/ 128587 w 942975"/>
                <a:gd name="connsiteY82" fmla="*/ 897731 h 940594"/>
                <a:gd name="connsiteX83" fmla="*/ 95250 w 942975"/>
                <a:gd name="connsiteY83" fmla="*/ 914400 h 940594"/>
                <a:gd name="connsiteX84" fmla="*/ 78581 w 942975"/>
                <a:gd name="connsiteY84" fmla="*/ 940594 h 940594"/>
                <a:gd name="connsiteX85" fmla="*/ 133350 w 942975"/>
                <a:gd name="connsiteY85" fmla="*/ 916781 h 940594"/>
                <a:gd name="connsiteX86" fmla="*/ 152400 w 942975"/>
                <a:gd name="connsiteY86" fmla="*/ 895350 h 940594"/>
                <a:gd name="connsiteX87" fmla="*/ 190500 w 942975"/>
                <a:gd name="connsiteY87" fmla="*/ 881062 h 940594"/>
                <a:gd name="connsiteX88" fmla="*/ 226219 w 942975"/>
                <a:gd name="connsiteY88" fmla="*/ 859631 h 940594"/>
                <a:gd name="connsiteX89" fmla="*/ 257175 w 942975"/>
                <a:gd name="connsiteY89" fmla="*/ 833437 h 940594"/>
                <a:gd name="connsiteX90" fmla="*/ 273844 w 942975"/>
                <a:gd name="connsiteY90" fmla="*/ 812006 h 940594"/>
                <a:gd name="connsiteX91" fmla="*/ 304800 w 942975"/>
                <a:gd name="connsiteY91" fmla="*/ 781050 h 940594"/>
                <a:gd name="connsiteX92" fmla="*/ 347662 w 942975"/>
                <a:gd name="connsiteY92" fmla="*/ 750094 h 940594"/>
                <a:gd name="connsiteX93" fmla="*/ 342900 w 942975"/>
                <a:gd name="connsiteY93" fmla="*/ 728662 h 940594"/>
                <a:gd name="connsiteX94" fmla="*/ 361950 w 942975"/>
                <a:gd name="connsiteY94" fmla="*/ 688181 h 940594"/>
                <a:gd name="connsiteX95" fmla="*/ 371475 w 942975"/>
                <a:gd name="connsiteY95" fmla="*/ 671512 h 940594"/>
                <a:gd name="connsiteX96" fmla="*/ 404812 w 942975"/>
                <a:gd name="connsiteY96" fmla="*/ 628650 h 940594"/>
                <a:gd name="connsiteX97" fmla="*/ 440531 w 942975"/>
                <a:gd name="connsiteY97" fmla="*/ 611981 h 940594"/>
                <a:gd name="connsiteX98" fmla="*/ 454819 w 942975"/>
                <a:gd name="connsiteY98" fmla="*/ 619125 h 940594"/>
                <a:gd name="connsiteX99" fmla="*/ 454819 w 942975"/>
                <a:gd name="connsiteY99" fmla="*/ 631031 h 940594"/>
                <a:gd name="connsiteX100" fmla="*/ 428625 w 942975"/>
                <a:gd name="connsiteY100" fmla="*/ 631031 h 940594"/>
                <a:gd name="connsiteX101" fmla="*/ 407194 w 942975"/>
                <a:gd name="connsiteY101" fmla="*/ 652462 h 940594"/>
                <a:gd name="connsiteX102" fmla="*/ 419100 w 942975"/>
                <a:gd name="connsiteY102" fmla="*/ 671512 h 940594"/>
                <a:gd name="connsiteX103" fmla="*/ 419100 w 942975"/>
                <a:gd name="connsiteY103" fmla="*/ 690562 h 940594"/>
                <a:gd name="connsiteX104" fmla="*/ 402431 w 942975"/>
                <a:gd name="connsiteY104" fmla="*/ 721519 h 940594"/>
                <a:gd name="connsiteX105" fmla="*/ 442912 w 942975"/>
                <a:gd name="connsiteY105" fmla="*/ 695325 h 940594"/>
                <a:gd name="connsiteX106" fmla="*/ 461962 w 942975"/>
                <a:gd name="connsiteY106" fmla="*/ 673894 h 940594"/>
                <a:gd name="connsiteX107" fmla="*/ 485775 w 942975"/>
                <a:gd name="connsiteY107" fmla="*/ 681037 h 940594"/>
                <a:gd name="connsiteX108" fmla="*/ 481012 w 942975"/>
                <a:gd name="connsiteY108" fmla="*/ 659606 h 940594"/>
                <a:gd name="connsiteX109" fmla="*/ 481012 w 942975"/>
                <a:gd name="connsiteY109" fmla="*/ 638175 h 940594"/>
                <a:gd name="connsiteX110" fmla="*/ 492919 w 942975"/>
                <a:gd name="connsiteY110" fmla="*/ 619125 h 940594"/>
                <a:gd name="connsiteX111" fmla="*/ 533400 w 942975"/>
                <a:gd name="connsiteY111" fmla="*/ 626269 h 940594"/>
                <a:gd name="connsiteX112" fmla="*/ 573881 w 942975"/>
                <a:gd name="connsiteY112" fmla="*/ 654844 h 940594"/>
                <a:gd name="connsiteX113" fmla="*/ 609600 w 942975"/>
                <a:gd name="connsiteY113" fmla="*/ 681037 h 940594"/>
                <a:gd name="connsiteX114" fmla="*/ 635794 w 942975"/>
                <a:gd name="connsiteY114" fmla="*/ 688181 h 940594"/>
                <a:gd name="connsiteX115" fmla="*/ 647700 w 942975"/>
                <a:gd name="connsiteY115" fmla="*/ 683419 h 940594"/>
                <a:gd name="connsiteX116" fmla="*/ 669131 w 942975"/>
                <a:gd name="connsiteY116" fmla="*/ 700087 h 940594"/>
                <a:gd name="connsiteX117" fmla="*/ 692944 w 942975"/>
                <a:gd name="connsiteY117" fmla="*/ 690562 h 940594"/>
                <a:gd name="connsiteX118" fmla="*/ 714375 w 942975"/>
                <a:gd name="connsiteY118" fmla="*/ 690562 h 940594"/>
                <a:gd name="connsiteX119" fmla="*/ 723900 w 942975"/>
                <a:gd name="connsiteY119" fmla="*/ 707231 h 940594"/>
                <a:gd name="connsiteX120" fmla="*/ 735806 w 942975"/>
                <a:gd name="connsiteY120" fmla="*/ 721519 h 940594"/>
                <a:gd name="connsiteX121" fmla="*/ 754856 w 942975"/>
                <a:gd name="connsiteY121" fmla="*/ 726281 h 940594"/>
                <a:gd name="connsiteX122" fmla="*/ 754856 w 942975"/>
                <a:gd name="connsiteY122" fmla="*/ 745331 h 940594"/>
                <a:gd name="connsiteX123" fmla="*/ 783431 w 942975"/>
                <a:gd name="connsiteY123" fmla="*/ 769144 h 940594"/>
                <a:gd name="connsiteX124" fmla="*/ 778669 w 942975"/>
                <a:gd name="connsiteY124" fmla="*/ 740569 h 940594"/>
                <a:gd name="connsiteX125" fmla="*/ 797719 w 942975"/>
                <a:gd name="connsiteY125" fmla="*/ 740569 h 940594"/>
                <a:gd name="connsiteX126" fmla="*/ 816769 w 942975"/>
                <a:gd name="connsiteY126" fmla="*/ 754856 h 940594"/>
                <a:gd name="connsiteX127" fmla="*/ 816769 w 942975"/>
                <a:gd name="connsiteY127" fmla="*/ 745331 h 940594"/>
                <a:gd name="connsiteX128" fmla="*/ 840581 w 942975"/>
                <a:gd name="connsiteY128" fmla="*/ 764381 h 940594"/>
                <a:gd name="connsiteX129" fmla="*/ 862012 w 942975"/>
                <a:gd name="connsiteY129" fmla="*/ 807244 h 940594"/>
                <a:gd name="connsiteX130" fmla="*/ 888206 w 942975"/>
                <a:gd name="connsiteY130" fmla="*/ 847725 h 940594"/>
                <a:gd name="connsiteX131" fmla="*/ 897731 w 942975"/>
                <a:gd name="connsiteY131" fmla="*/ 878681 h 940594"/>
                <a:gd name="connsiteX132" fmla="*/ 919162 w 942975"/>
                <a:gd name="connsiteY132" fmla="*/ 883444 h 940594"/>
                <a:gd name="connsiteX133" fmla="*/ 921544 w 942975"/>
                <a:gd name="connsiteY133" fmla="*/ 881062 h 940594"/>
                <a:gd name="connsiteX134" fmla="*/ 928687 w 942975"/>
                <a:gd name="connsiteY134" fmla="*/ 900112 h 940594"/>
                <a:gd name="connsiteX135" fmla="*/ 942975 w 942975"/>
                <a:gd name="connsiteY135" fmla="*/ 871537 h 940594"/>
                <a:gd name="connsiteX136" fmla="*/ 907256 w 942975"/>
                <a:gd name="connsiteY136" fmla="*/ 859631 h 940594"/>
                <a:gd name="connsiteX137" fmla="*/ 842962 w 942975"/>
                <a:gd name="connsiteY137" fmla="*/ 745331 h 940594"/>
                <a:gd name="connsiteX138" fmla="*/ 802481 w 942975"/>
                <a:gd name="connsiteY138" fmla="*/ 697706 h 940594"/>
                <a:gd name="connsiteX139" fmla="*/ 752475 w 942975"/>
                <a:gd name="connsiteY139" fmla="*/ 711994 h 940594"/>
                <a:gd name="connsiteX140" fmla="*/ 723900 w 942975"/>
                <a:gd name="connsiteY140" fmla="*/ 681037 h 940594"/>
                <a:gd name="connsiteX141" fmla="*/ 692944 w 942975"/>
                <a:gd name="connsiteY141" fmla="*/ 666750 h 940594"/>
                <a:gd name="connsiteX142" fmla="*/ 664369 w 942975"/>
                <a:gd name="connsiteY142" fmla="*/ 678656 h 940594"/>
                <a:gd name="connsiteX143" fmla="*/ 683419 w 942975"/>
                <a:gd name="connsiteY143" fmla="*/ 133350 h 940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942975" h="940594">
                  <a:moveTo>
                    <a:pt x="683419" y="133350"/>
                  </a:moveTo>
                  <a:lnTo>
                    <a:pt x="628650" y="102394"/>
                  </a:lnTo>
                  <a:lnTo>
                    <a:pt x="604837" y="100012"/>
                  </a:lnTo>
                  <a:lnTo>
                    <a:pt x="592931" y="88106"/>
                  </a:lnTo>
                  <a:lnTo>
                    <a:pt x="557212" y="100012"/>
                  </a:lnTo>
                  <a:lnTo>
                    <a:pt x="538162" y="88106"/>
                  </a:lnTo>
                  <a:lnTo>
                    <a:pt x="504825" y="83344"/>
                  </a:lnTo>
                  <a:lnTo>
                    <a:pt x="461962" y="59531"/>
                  </a:lnTo>
                  <a:lnTo>
                    <a:pt x="431006" y="57150"/>
                  </a:lnTo>
                  <a:lnTo>
                    <a:pt x="404812" y="57150"/>
                  </a:lnTo>
                  <a:lnTo>
                    <a:pt x="390525" y="30956"/>
                  </a:lnTo>
                  <a:lnTo>
                    <a:pt x="371475" y="35719"/>
                  </a:lnTo>
                  <a:lnTo>
                    <a:pt x="352425" y="26194"/>
                  </a:lnTo>
                  <a:lnTo>
                    <a:pt x="321469" y="35719"/>
                  </a:lnTo>
                  <a:lnTo>
                    <a:pt x="316706" y="11906"/>
                  </a:lnTo>
                  <a:lnTo>
                    <a:pt x="309562" y="47625"/>
                  </a:lnTo>
                  <a:lnTo>
                    <a:pt x="295275" y="21431"/>
                  </a:lnTo>
                  <a:lnTo>
                    <a:pt x="285750" y="0"/>
                  </a:lnTo>
                  <a:lnTo>
                    <a:pt x="240506" y="30956"/>
                  </a:lnTo>
                  <a:lnTo>
                    <a:pt x="219075" y="38100"/>
                  </a:lnTo>
                  <a:lnTo>
                    <a:pt x="200025" y="30956"/>
                  </a:lnTo>
                  <a:lnTo>
                    <a:pt x="204787" y="57150"/>
                  </a:lnTo>
                  <a:lnTo>
                    <a:pt x="178594" y="57150"/>
                  </a:lnTo>
                  <a:lnTo>
                    <a:pt x="152400" y="73819"/>
                  </a:lnTo>
                  <a:lnTo>
                    <a:pt x="140494" y="90487"/>
                  </a:lnTo>
                  <a:lnTo>
                    <a:pt x="128587" y="119062"/>
                  </a:lnTo>
                  <a:lnTo>
                    <a:pt x="123825" y="147637"/>
                  </a:lnTo>
                  <a:lnTo>
                    <a:pt x="111919" y="173831"/>
                  </a:lnTo>
                  <a:lnTo>
                    <a:pt x="50006" y="173831"/>
                  </a:lnTo>
                  <a:lnTo>
                    <a:pt x="38100" y="209550"/>
                  </a:lnTo>
                  <a:lnTo>
                    <a:pt x="80962" y="233362"/>
                  </a:lnTo>
                  <a:lnTo>
                    <a:pt x="119062" y="300037"/>
                  </a:lnTo>
                  <a:lnTo>
                    <a:pt x="138112" y="292894"/>
                  </a:lnTo>
                  <a:lnTo>
                    <a:pt x="159544" y="314325"/>
                  </a:lnTo>
                  <a:lnTo>
                    <a:pt x="207169" y="316706"/>
                  </a:lnTo>
                  <a:lnTo>
                    <a:pt x="197644" y="340519"/>
                  </a:lnTo>
                  <a:lnTo>
                    <a:pt x="166687" y="342900"/>
                  </a:lnTo>
                  <a:lnTo>
                    <a:pt x="147637" y="357187"/>
                  </a:lnTo>
                  <a:lnTo>
                    <a:pt x="114300" y="357187"/>
                  </a:lnTo>
                  <a:lnTo>
                    <a:pt x="92869" y="345281"/>
                  </a:lnTo>
                  <a:lnTo>
                    <a:pt x="95250" y="326231"/>
                  </a:lnTo>
                  <a:lnTo>
                    <a:pt x="64294" y="333375"/>
                  </a:lnTo>
                  <a:lnTo>
                    <a:pt x="64294" y="333375"/>
                  </a:lnTo>
                  <a:lnTo>
                    <a:pt x="19050" y="357187"/>
                  </a:lnTo>
                  <a:lnTo>
                    <a:pt x="0" y="378619"/>
                  </a:lnTo>
                  <a:lnTo>
                    <a:pt x="35719" y="395287"/>
                  </a:lnTo>
                  <a:lnTo>
                    <a:pt x="42862" y="421481"/>
                  </a:lnTo>
                  <a:lnTo>
                    <a:pt x="54769" y="438150"/>
                  </a:lnTo>
                  <a:lnTo>
                    <a:pt x="80962" y="447675"/>
                  </a:lnTo>
                  <a:lnTo>
                    <a:pt x="107156" y="431006"/>
                  </a:lnTo>
                  <a:lnTo>
                    <a:pt x="138112" y="447675"/>
                  </a:lnTo>
                  <a:lnTo>
                    <a:pt x="147637" y="423862"/>
                  </a:lnTo>
                  <a:lnTo>
                    <a:pt x="183356" y="416719"/>
                  </a:lnTo>
                  <a:lnTo>
                    <a:pt x="183356" y="447675"/>
                  </a:lnTo>
                  <a:lnTo>
                    <a:pt x="183356" y="447675"/>
                  </a:lnTo>
                  <a:lnTo>
                    <a:pt x="180975" y="473869"/>
                  </a:lnTo>
                  <a:lnTo>
                    <a:pt x="159544" y="502444"/>
                  </a:lnTo>
                  <a:lnTo>
                    <a:pt x="128587" y="514350"/>
                  </a:lnTo>
                  <a:lnTo>
                    <a:pt x="92869" y="538162"/>
                  </a:lnTo>
                  <a:lnTo>
                    <a:pt x="80962" y="538162"/>
                  </a:lnTo>
                  <a:lnTo>
                    <a:pt x="76200" y="571500"/>
                  </a:lnTo>
                  <a:lnTo>
                    <a:pt x="52387" y="583406"/>
                  </a:lnTo>
                  <a:lnTo>
                    <a:pt x="59531" y="623887"/>
                  </a:lnTo>
                  <a:lnTo>
                    <a:pt x="73819" y="642937"/>
                  </a:lnTo>
                  <a:lnTo>
                    <a:pt x="73819" y="642937"/>
                  </a:lnTo>
                  <a:lnTo>
                    <a:pt x="78581" y="683419"/>
                  </a:lnTo>
                  <a:lnTo>
                    <a:pt x="119062" y="700087"/>
                  </a:lnTo>
                  <a:lnTo>
                    <a:pt x="145256" y="640556"/>
                  </a:lnTo>
                  <a:lnTo>
                    <a:pt x="150019" y="695325"/>
                  </a:lnTo>
                  <a:lnTo>
                    <a:pt x="152400" y="726281"/>
                  </a:lnTo>
                  <a:lnTo>
                    <a:pt x="159544" y="742950"/>
                  </a:lnTo>
                  <a:lnTo>
                    <a:pt x="185737" y="728662"/>
                  </a:lnTo>
                  <a:lnTo>
                    <a:pt x="214312" y="757237"/>
                  </a:lnTo>
                  <a:lnTo>
                    <a:pt x="223837" y="731044"/>
                  </a:lnTo>
                  <a:lnTo>
                    <a:pt x="245269" y="740569"/>
                  </a:lnTo>
                  <a:lnTo>
                    <a:pt x="273844" y="719137"/>
                  </a:lnTo>
                  <a:lnTo>
                    <a:pt x="266700" y="764381"/>
                  </a:lnTo>
                  <a:lnTo>
                    <a:pt x="254794" y="814387"/>
                  </a:lnTo>
                  <a:lnTo>
                    <a:pt x="228600" y="833437"/>
                  </a:lnTo>
                  <a:lnTo>
                    <a:pt x="209550" y="850106"/>
                  </a:lnTo>
                  <a:lnTo>
                    <a:pt x="190500" y="871537"/>
                  </a:lnTo>
                  <a:lnTo>
                    <a:pt x="161925" y="871537"/>
                  </a:lnTo>
                  <a:lnTo>
                    <a:pt x="128587" y="897731"/>
                  </a:lnTo>
                  <a:lnTo>
                    <a:pt x="95250" y="914400"/>
                  </a:lnTo>
                  <a:lnTo>
                    <a:pt x="78581" y="940594"/>
                  </a:lnTo>
                  <a:lnTo>
                    <a:pt x="133350" y="916781"/>
                  </a:lnTo>
                  <a:lnTo>
                    <a:pt x="152400" y="895350"/>
                  </a:lnTo>
                  <a:lnTo>
                    <a:pt x="190500" y="881062"/>
                  </a:lnTo>
                  <a:lnTo>
                    <a:pt x="226219" y="859631"/>
                  </a:lnTo>
                  <a:lnTo>
                    <a:pt x="257175" y="833437"/>
                  </a:lnTo>
                  <a:lnTo>
                    <a:pt x="273844" y="812006"/>
                  </a:lnTo>
                  <a:lnTo>
                    <a:pt x="304800" y="781050"/>
                  </a:lnTo>
                  <a:lnTo>
                    <a:pt x="347662" y="750094"/>
                  </a:lnTo>
                  <a:lnTo>
                    <a:pt x="342900" y="728662"/>
                  </a:lnTo>
                  <a:lnTo>
                    <a:pt x="361950" y="688181"/>
                  </a:lnTo>
                  <a:lnTo>
                    <a:pt x="371475" y="671512"/>
                  </a:lnTo>
                  <a:lnTo>
                    <a:pt x="404812" y="628650"/>
                  </a:lnTo>
                  <a:lnTo>
                    <a:pt x="440531" y="611981"/>
                  </a:lnTo>
                  <a:lnTo>
                    <a:pt x="454819" y="619125"/>
                  </a:lnTo>
                  <a:lnTo>
                    <a:pt x="454819" y="631031"/>
                  </a:lnTo>
                  <a:lnTo>
                    <a:pt x="428625" y="631031"/>
                  </a:lnTo>
                  <a:lnTo>
                    <a:pt x="407194" y="652462"/>
                  </a:lnTo>
                  <a:lnTo>
                    <a:pt x="419100" y="671512"/>
                  </a:lnTo>
                  <a:lnTo>
                    <a:pt x="419100" y="690562"/>
                  </a:lnTo>
                  <a:lnTo>
                    <a:pt x="402431" y="721519"/>
                  </a:lnTo>
                  <a:lnTo>
                    <a:pt x="442912" y="695325"/>
                  </a:lnTo>
                  <a:lnTo>
                    <a:pt x="461962" y="673894"/>
                  </a:lnTo>
                  <a:lnTo>
                    <a:pt x="485775" y="681037"/>
                  </a:lnTo>
                  <a:lnTo>
                    <a:pt x="481012" y="659606"/>
                  </a:lnTo>
                  <a:lnTo>
                    <a:pt x="481012" y="638175"/>
                  </a:lnTo>
                  <a:lnTo>
                    <a:pt x="492919" y="619125"/>
                  </a:lnTo>
                  <a:lnTo>
                    <a:pt x="533400" y="626269"/>
                  </a:lnTo>
                  <a:lnTo>
                    <a:pt x="573881" y="654844"/>
                  </a:lnTo>
                  <a:lnTo>
                    <a:pt x="609600" y="681037"/>
                  </a:lnTo>
                  <a:lnTo>
                    <a:pt x="635794" y="688181"/>
                  </a:lnTo>
                  <a:lnTo>
                    <a:pt x="647700" y="683419"/>
                  </a:lnTo>
                  <a:lnTo>
                    <a:pt x="669131" y="700087"/>
                  </a:lnTo>
                  <a:lnTo>
                    <a:pt x="692944" y="690562"/>
                  </a:lnTo>
                  <a:lnTo>
                    <a:pt x="714375" y="690562"/>
                  </a:lnTo>
                  <a:lnTo>
                    <a:pt x="723900" y="707231"/>
                  </a:lnTo>
                  <a:lnTo>
                    <a:pt x="735806" y="721519"/>
                  </a:lnTo>
                  <a:lnTo>
                    <a:pt x="754856" y="726281"/>
                  </a:lnTo>
                  <a:lnTo>
                    <a:pt x="754856" y="745331"/>
                  </a:lnTo>
                  <a:lnTo>
                    <a:pt x="783431" y="769144"/>
                  </a:lnTo>
                  <a:lnTo>
                    <a:pt x="778669" y="740569"/>
                  </a:lnTo>
                  <a:lnTo>
                    <a:pt x="797719" y="740569"/>
                  </a:lnTo>
                  <a:lnTo>
                    <a:pt x="816769" y="754856"/>
                  </a:lnTo>
                  <a:lnTo>
                    <a:pt x="816769" y="745331"/>
                  </a:lnTo>
                  <a:lnTo>
                    <a:pt x="840581" y="764381"/>
                  </a:lnTo>
                  <a:lnTo>
                    <a:pt x="862012" y="807244"/>
                  </a:lnTo>
                  <a:lnTo>
                    <a:pt x="888206" y="847725"/>
                  </a:lnTo>
                  <a:lnTo>
                    <a:pt x="897731" y="878681"/>
                  </a:lnTo>
                  <a:lnTo>
                    <a:pt x="919162" y="883444"/>
                  </a:lnTo>
                  <a:lnTo>
                    <a:pt x="921544" y="881062"/>
                  </a:lnTo>
                  <a:lnTo>
                    <a:pt x="928687" y="900112"/>
                  </a:lnTo>
                  <a:lnTo>
                    <a:pt x="942975" y="871537"/>
                  </a:lnTo>
                  <a:lnTo>
                    <a:pt x="907256" y="859631"/>
                  </a:lnTo>
                  <a:lnTo>
                    <a:pt x="842962" y="745331"/>
                  </a:lnTo>
                  <a:lnTo>
                    <a:pt x="802481" y="697706"/>
                  </a:lnTo>
                  <a:lnTo>
                    <a:pt x="752475" y="711994"/>
                  </a:lnTo>
                  <a:lnTo>
                    <a:pt x="723900" y="681037"/>
                  </a:lnTo>
                  <a:lnTo>
                    <a:pt x="692944" y="666750"/>
                  </a:lnTo>
                  <a:lnTo>
                    <a:pt x="664369" y="678656"/>
                  </a:lnTo>
                  <a:lnTo>
                    <a:pt x="683419" y="13335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" name="Freeform: Shape 15"/>
            <p:cNvSpPr/>
            <p:nvPr/>
          </p:nvSpPr>
          <p:spPr bwMode="auto">
            <a:xfrm>
              <a:off x="1207294" y="3288506"/>
              <a:ext cx="1421606" cy="764382"/>
            </a:xfrm>
            <a:custGeom>
              <a:avLst/>
              <a:gdLst>
                <a:gd name="connsiteX0" fmla="*/ 33337 w 1421606"/>
                <a:gd name="connsiteY0" fmla="*/ 11907 h 764382"/>
                <a:gd name="connsiteX1" fmla="*/ 33337 w 1421606"/>
                <a:gd name="connsiteY1" fmla="*/ 80963 h 764382"/>
                <a:gd name="connsiteX2" fmla="*/ 2381 w 1421606"/>
                <a:gd name="connsiteY2" fmla="*/ 57150 h 764382"/>
                <a:gd name="connsiteX3" fmla="*/ 0 w 1421606"/>
                <a:gd name="connsiteY3" fmla="*/ 64294 h 764382"/>
                <a:gd name="connsiteX4" fmla="*/ 11906 w 1421606"/>
                <a:gd name="connsiteY4" fmla="*/ 114300 h 764382"/>
                <a:gd name="connsiteX5" fmla="*/ 11906 w 1421606"/>
                <a:gd name="connsiteY5" fmla="*/ 195263 h 764382"/>
                <a:gd name="connsiteX6" fmla="*/ 11906 w 1421606"/>
                <a:gd name="connsiteY6" fmla="*/ 261938 h 764382"/>
                <a:gd name="connsiteX7" fmla="*/ 9525 w 1421606"/>
                <a:gd name="connsiteY7" fmla="*/ 295275 h 764382"/>
                <a:gd name="connsiteX8" fmla="*/ 0 w 1421606"/>
                <a:gd name="connsiteY8" fmla="*/ 326232 h 764382"/>
                <a:gd name="connsiteX9" fmla="*/ 23812 w 1421606"/>
                <a:gd name="connsiteY9" fmla="*/ 361950 h 764382"/>
                <a:gd name="connsiteX10" fmla="*/ 42862 w 1421606"/>
                <a:gd name="connsiteY10" fmla="*/ 392907 h 764382"/>
                <a:gd name="connsiteX11" fmla="*/ 61912 w 1421606"/>
                <a:gd name="connsiteY11" fmla="*/ 414338 h 764382"/>
                <a:gd name="connsiteX12" fmla="*/ 92869 w 1421606"/>
                <a:gd name="connsiteY12" fmla="*/ 497682 h 764382"/>
                <a:gd name="connsiteX13" fmla="*/ 119062 w 1421606"/>
                <a:gd name="connsiteY13" fmla="*/ 500063 h 764382"/>
                <a:gd name="connsiteX14" fmla="*/ 142875 w 1421606"/>
                <a:gd name="connsiteY14" fmla="*/ 509588 h 764382"/>
                <a:gd name="connsiteX15" fmla="*/ 157162 w 1421606"/>
                <a:gd name="connsiteY15" fmla="*/ 516732 h 764382"/>
                <a:gd name="connsiteX16" fmla="*/ 183356 w 1421606"/>
                <a:gd name="connsiteY16" fmla="*/ 566738 h 764382"/>
                <a:gd name="connsiteX17" fmla="*/ 202406 w 1421606"/>
                <a:gd name="connsiteY17" fmla="*/ 557213 h 764382"/>
                <a:gd name="connsiteX18" fmla="*/ 252412 w 1421606"/>
                <a:gd name="connsiteY18" fmla="*/ 559594 h 764382"/>
                <a:gd name="connsiteX19" fmla="*/ 321469 w 1421606"/>
                <a:gd name="connsiteY19" fmla="*/ 595313 h 764382"/>
                <a:gd name="connsiteX20" fmla="*/ 392906 w 1421606"/>
                <a:gd name="connsiteY20" fmla="*/ 595313 h 764382"/>
                <a:gd name="connsiteX21" fmla="*/ 392906 w 1421606"/>
                <a:gd name="connsiteY21" fmla="*/ 578644 h 764382"/>
                <a:gd name="connsiteX22" fmla="*/ 435769 w 1421606"/>
                <a:gd name="connsiteY22" fmla="*/ 571500 h 764382"/>
                <a:gd name="connsiteX23" fmla="*/ 452437 w 1421606"/>
                <a:gd name="connsiteY23" fmla="*/ 595313 h 764382"/>
                <a:gd name="connsiteX24" fmla="*/ 478631 w 1421606"/>
                <a:gd name="connsiteY24" fmla="*/ 611982 h 764382"/>
                <a:gd name="connsiteX25" fmla="*/ 495300 w 1421606"/>
                <a:gd name="connsiteY25" fmla="*/ 642938 h 764382"/>
                <a:gd name="connsiteX26" fmla="*/ 511969 w 1421606"/>
                <a:gd name="connsiteY26" fmla="*/ 661988 h 764382"/>
                <a:gd name="connsiteX27" fmla="*/ 535781 w 1421606"/>
                <a:gd name="connsiteY27" fmla="*/ 638175 h 764382"/>
                <a:gd name="connsiteX28" fmla="*/ 571500 w 1421606"/>
                <a:gd name="connsiteY28" fmla="*/ 633413 h 764382"/>
                <a:gd name="connsiteX29" fmla="*/ 595312 w 1421606"/>
                <a:gd name="connsiteY29" fmla="*/ 683419 h 764382"/>
                <a:gd name="connsiteX30" fmla="*/ 611981 w 1421606"/>
                <a:gd name="connsiteY30" fmla="*/ 716757 h 764382"/>
                <a:gd name="connsiteX31" fmla="*/ 621506 w 1421606"/>
                <a:gd name="connsiteY31" fmla="*/ 740569 h 764382"/>
                <a:gd name="connsiteX32" fmla="*/ 664369 w 1421606"/>
                <a:gd name="connsiteY32" fmla="*/ 747713 h 764382"/>
                <a:gd name="connsiteX33" fmla="*/ 664369 w 1421606"/>
                <a:gd name="connsiteY33" fmla="*/ 707232 h 764382"/>
                <a:gd name="connsiteX34" fmla="*/ 688181 w 1421606"/>
                <a:gd name="connsiteY34" fmla="*/ 683419 h 764382"/>
                <a:gd name="connsiteX35" fmla="*/ 688181 w 1421606"/>
                <a:gd name="connsiteY35" fmla="*/ 683419 h 764382"/>
                <a:gd name="connsiteX36" fmla="*/ 709612 w 1421606"/>
                <a:gd name="connsiteY36" fmla="*/ 664369 h 764382"/>
                <a:gd name="connsiteX37" fmla="*/ 731044 w 1421606"/>
                <a:gd name="connsiteY37" fmla="*/ 645319 h 764382"/>
                <a:gd name="connsiteX38" fmla="*/ 747712 w 1421606"/>
                <a:gd name="connsiteY38" fmla="*/ 635794 h 764382"/>
                <a:gd name="connsiteX39" fmla="*/ 783431 w 1421606"/>
                <a:gd name="connsiteY39" fmla="*/ 628650 h 764382"/>
                <a:gd name="connsiteX40" fmla="*/ 783431 w 1421606"/>
                <a:gd name="connsiteY40" fmla="*/ 628650 h 764382"/>
                <a:gd name="connsiteX41" fmla="*/ 852487 w 1421606"/>
                <a:gd name="connsiteY41" fmla="*/ 654844 h 764382"/>
                <a:gd name="connsiteX42" fmla="*/ 857250 w 1421606"/>
                <a:gd name="connsiteY42" fmla="*/ 642938 h 764382"/>
                <a:gd name="connsiteX43" fmla="*/ 850106 w 1421606"/>
                <a:gd name="connsiteY43" fmla="*/ 635794 h 764382"/>
                <a:gd name="connsiteX44" fmla="*/ 850106 w 1421606"/>
                <a:gd name="connsiteY44" fmla="*/ 626269 h 764382"/>
                <a:gd name="connsiteX45" fmla="*/ 869156 w 1421606"/>
                <a:gd name="connsiteY45" fmla="*/ 623888 h 764382"/>
                <a:gd name="connsiteX46" fmla="*/ 897731 w 1421606"/>
                <a:gd name="connsiteY46" fmla="*/ 623888 h 764382"/>
                <a:gd name="connsiteX47" fmla="*/ 909637 w 1421606"/>
                <a:gd name="connsiteY47" fmla="*/ 604838 h 764382"/>
                <a:gd name="connsiteX48" fmla="*/ 923925 w 1421606"/>
                <a:gd name="connsiteY48" fmla="*/ 623888 h 764382"/>
                <a:gd name="connsiteX49" fmla="*/ 938212 w 1421606"/>
                <a:gd name="connsiteY49" fmla="*/ 623888 h 764382"/>
                <a:gd name="connsiteX50" fmla="*/ 985837 w 1421606"/>
                <a:gd name="connsiteY50" fmla="*/ 640557 h 764382"/>
                <a:gd name="connsiteX51" fmla="*/ 995362 w 1421606"/>
                <a:gd name="connsiteY51" fmla="*/ 635794 h 764382"/>
                <a:gd name="connsiteX52" fmla="*/ 1040606 w 1421606"/>
                <a:gd name="connsiteY52" fmla="*/ 664369 h 764382"/>
                <a:gd name="connsiteX53" fmla="*/ 1031081 w 1421606"/>
                <a:gd name="connsiteY53" fmla="*/ 690563 h 764382"/>
                <a:gd name="connsiteX54" fmla="*/ 1042987 w 1421606"/>
                <a:gd name="connsiteY54" fmla="*/ 719138 h 764382"/>
                <a:gd name="connsiteX55" fmla="*/ 1062037 w 1421606"/>
                <a:gd name="connsiteY55" fmla="*/ 750094 h 764382"/>
                <a:gd name="connsiteX56" fmla="*/ 1069181 w 1421606"/>
                <a:gd name="connsiteY56" fmla="*/ 764382 h 764382"/>
                <a:gd name="connsiteX57" fmla="*/ 1092994 w 1421606"/>
                <a:gd name="connsiteY57" fmla="*/ 745332 h 764382"/>
                <a:gd name="connsiteX58" fmla="*/ 1092994 w 1421606"/>
                <a:gd name="connsiteY58" fmla="*/ 723900 h 764382"/>
                <a:gd name="connsiteX59" fmla="*/ 1085850 w 1421606"/>
                <a:gd name="connsiteY59" fmla="*/ 688182 h 764382"/>
                <a:gd name="connsiteX60" fmla="*/ 1071562 w 1421606"/>
                <a:gd name="connsiteY60" fmla="*/ 642938 h 764382"/>
                <a:gd name="connsiteX61" fmla="*/ 1054894 w 1421606"/>
                <a:gd name="connsiteY61" fmla="*/ 623888 h 764382"/>
                <a:gd name="connsiteX62" fmla="*/ 1069181 w 1421606"/>
                <a:gd name="connsiteY62" fmla="*/ 588169 h 764382"/>
                <a:gd name="connsiteX63" fmla="*/ 1071562 w 1421606"/>
                <a:gd name="connsiteY63" fmla="*/ 566738 h 764382"/>
                <a:gd name="connsiteX64" fmla="*/ 1102519 w 1421606"/>
                <a:gd name="connsiteY64" fmla="*/ 550069 h 764382"/>
                <a:gd name="connsiteX65" fmla="*/ 1133475 w 1421606"/>
                <a:gd name="connsiteY65" fmla="*/ 516732 h 764382"/>
                <a:gd name="connsiteX66" fmla="*/ 1162050 w 1421606"/>
                <a:gd name="connsiteY66" fmla="*/ 490538 h 764382"/>
                <a:gd name="connsiteX67" fmla="*/ 1185862 w 1421606"/>
                <a:gd name="connsiteY67" fmla="*/ 476250 h 764382"/>
                <a:gd name="connsiteX68" fmla="*/ 1200150 w 1421606"/>
                <a:gd name="connsiteY68" fmla="*/ 442913 h 764382"/>
                <a:gd name="connsiteX69" fmla="*/ 1185862 w 1421606"/>
                <a:gd name="connsiteY69" fmla="*/ 438150 h 764382"/>
                <a:gd name="connsiteX70" fmla="*/ 1190625 w 1421606"/>
                <a:gd name="connsiteY70" fmla="*/ 411957 h 764382"/>
                <a:gd name="connsiteX71" fmla="*/ 1185862 w 1421606"/>
                <a:gd name="connsiteY71" fmla="*/ 381000 h 764382"/>
                <a:gd name="connsiteX72" fmla="*/ 1212056 w 1421606"/>
                <a:gd name="connsiteY72" fmla="*/ 385763 h 764382"/>
                <a:gd name="connsiteX73" fmla="*/ 1207294 w 1421606"/>
                <a:gd name="connsiteY73" fmla="*/ 361950 h 764382"/>
                <a:gd name="connsiteX74" fmla="*/ 1209675 w 1421606"/>
                <a:gd name="connsiteY74" fmla="*/ 347663 h 764382"/>
                <a:gd name="connsiteX75" fmla="*/ 1228725 w 1421606"/>
                <a:gd name="connsiteY75" fmla="*/ 357188 h 764382"/>
                <a:gd name="connsiteX76" fmla="*/ 1245394 w 1421606"/>
                <a:gd name="connsiteY76" fmla="*/ 335757 h 764382"/>
                <a:gd name="connsiteX77" fmla="*/ 1240631 w 1421606"/>
                <a:gd name="connsiteY77" fmla="*/ 311944 h 764382"/>
                <a:gd name="connsiteX78" fmla="*/ 1250156 w 1421606"/>
                <a:gd name="connsiteY78" fmla="*/ 302419 h 764382"/>
                <a:gd name="connsiteX79" fmla="*/ 1290637 w 1421606"/>
                <a:gd name="connsiteY79" fmla="*/ 300038 h 764382"/>
                <a:gd name="connsiteX80" fmla="*/ 1264444 w 1421606"/>
                <a:gd name="connsiteY80" fmla="*/ 292894 h 764382"/>
                <a:gd name="connsiteX81" fmla="*/ 1281112 w 1421606"/>
                <a:gd name="connsiteY81" fmla="*/ 283369 h 764382"/>
                <a:gd name="connsiteX82" fmla="*/ 1328737 w 1421606"/>
                <a:gd name="connsiteY82" fmla="*/ 264319 h 764382"/>
                <a:gd name="connsiteX83" fmla="*/ 1333500 w 1421606"/>
                <a:gd name="connsiteY83" fmla="*/ 200025 h 764382"/>
                <a:gd name="connsiteX84" fmla="*/ 1397794 w 1421606"/>
                <a:gd name="connsiteY84" fmla="*/ 176213 h 764382"/>
                <a:gd name="connsiteX85" fmla="*/ 1421606 w 1421606"/>
                <a:gd name="connsiteY85" fmla="*/ 171450 h 764382"/>
                <a:gd name="connsiteX86" fmla="*/ 1395412 w 1421606"/>
                <a:gd name="connsiteY86" fmla="*/ 150019 h 764382"/>
                <a:gd name="connsiteX87" fmla="*/ 1395412 w 1421606"/>
                <a:gd name="connsiteY87" fmla="*/ 95250 h 764382"/>
                <a:gd name="connsiteX88" fmla="*/ 1352550 w 1421606"/>
                <a:gd name="connsiteY88" fmla="*/ 85725 h 764382"/>
                <a:gd name="connsiteX89" fmla="*/ 1331119 w 1421606"/>
                <a:gd name="connsiteY89" fmla="*/ 152400 h 764382"/>
                <a:gd name="connsiteX90" fmla="*/ 1295400 w 1421606"/>
                <a:gd name="connsiteY90" fmla="*/ 161925 h 764382"/>
                <a:gd name="connsiteX91" fmla="*/ 1231106 w 1421606"/>
                <a:gd name="connsiteY91" fmla="*/ 164307 h 764382"/>
                <a:gd name="connsiteX92" fmla="*/ 1193006 w 1421606"/>
                <a:gd name="connsiteY92" fmla="*/ 197644 h 764382"/>
                <a:gd name="connsiteX93" fmla="*/ 1171575 w 1421606"/>
                <a:gd name="connsiteY93" fmla="*/ 226219 h 764382"/>
                <a:gd name="connsiteX94" fmla="*/ 1135856 w 1421606"/>
                <a:gd name="connsiteY94" fmla="*/ 221457 h 764382"/>
                <a:gd name="connsiteX95" fmla="*/ 1116806 w 1421606"/>
                <a:gd name="connsiteY95" fmla="*/ 245269 h 764382"/>
                <a:gd name="connsiteX96" fmla="*/ 1062037 w 1421606"/>
                <a:gd name="connsiteY96" fmla="*/ 276225 h 764382"/>
                <a:gd name="connsiteX97" fmla="*/ 1026319 w 1421606"/>
                <a:gd name="connsiteY97" fmla="*/ 278607 h 764382"/>
                <a:gd name="connsiteX98" fmla="*/ 1009650 w 1421606"/>
                <a:gd name="connsiteY98" fmla="*/ 261938 h 764382"/>
                <a:gd name="connsiteX99" fmla="*/ 1033462 w 1421606"/>
                <a:gd name="connsiteY99" fmla="*/ 254794 h 764382"/>
                <a:gd name="connsiteX100" fmla="*/ 1033462 w 1421606"/>
                <a:gd name="connsiteY100" fmla="*/ 226219 h 764382"/>
                <a:gd name="connsiteX101" fmla="*/ 1026319 w 1421606"/>
                <a:gd name="connsiteY101" fmla="*/ 204788 h 764382"/>
                <a:gd name="connsiteX102" fmla="*/ 1007269 w 1421606"/>
                <a:gd name="connsiteY102" fmla="*/ 216694 h 764382"/>
                <a:gd name="connsiteX103" fmla="*/ 1007269 w 1421606"/>
                <a:gd name="connsiteY103" fmla="*/ 188119 h 764382"/>
                <a:gd name="connsiteX104" fmla="*/ 995362 w 1421606"/>
                <a:gd name="connsiteY104" fmla="*/ 157163 h 764382"/>
                <a:gd name="connsiteX105" fmla="*/ 990600 w 1421606"/>
                <a:gd name="connsiteY105" fmla="*/ 147638 h 764382"/>
                <a:gd name="connsiteX106" fmla="*/ 952500 w 1421606"/>
                <a:gd name="connsiteY106" fmla="*/ 190500 h 764382"/>
                <a:gd name="connsiteX107" fmla="*/ 935831 w 1421606"/>
                <a:gd name="connsiteY107" fmla="*/ 223838 h 764382"/>
                <a:gd name="connsiteX108" fmla="*/ 935831 w 1421606"/>
                <a:gd name="connsiteY108" fmla="*/ 254794 h 764382"/>
                <a:gd name="connsiteX109" fmla="*/ 916781 w 1421606"/>
                <a:gd name="connsiteY109" fmla="*/ 271463 h 764382"/>
                <a:gd name="connsiteX110" fmla="*/ 902494 w 1421606"/>
                <a:gd name="connsiteY110" fmla="*/ 240507 h 764382"/>
                <a:gd name="connsiteX111" fmla="*/ 900112 w 1421606"/>
                <a:gd name="connsiteY111" fmla="*/ 190500 h 764382"/>
                <a:gd name="connsiteX112" fmla="*/ 914400 w 1421606"/>
                <a:gd name="connsiteY112" fmla="*/ 166688 h 764382"/>
                <a:gd name="connsiteX113" fmla="*/ 914400 w 1421606"/>
                <a:gd name="connsiteY113" fmla="*/ 130969 h 764382"/>
                <a:gd name="connsiteX114" fmla="*/ 942975 w 1421606"/>
                <a:gd name="connsiteY114" fmla="*/ 116682 h 764382"/>
                <a:gd name="connsiteX115" fmla="*/ 988219 w 1421606"/>
                <a:gd name="connsiteY115" fmla="*/ 119063 h 764382"/>
                <a:gd name="connsiteX116" fmla="*/ 954881 w 1421606"/>
                <a:gd name="connsiteY116" fmla="*/ 109538 h 764382"/>
                <a:gd name="connsiteX117" fmla="*/ 914400 w 1421606"/>
                <a:gd name="connsiteY117" fmla="*/ 109538 h 764382"/>
                <a:gd name="connsiteX118" fmla="*/ 890587 w 1421606"/>
                <a:gd name="connsiteY118" fmla="*/ 92869 h 764382"/>
                <a:gd name="connsiteX119" fmla="*/ 890587 w 1421606"/>
                <a:gd name="connsiteY119" fmla="*/ 76200 h 764382"/>
                <a:gd name="connsiteX120" fmla="*/ 866775 w 1421606"/>
                <a:gd name="connsiteY120" fmla="*/ 102394 h 764382"/>
                <a:gd name="connsiteX121" fmla="*/ 840581 w 1421606"/>
                <a:gd name="connsiteY121" fmla="*/ 116682 h 764382"/>
                <a:gd name="connsiteX122" fmla="*/ 823912 w 1421606"/>
                <a:gd name="connsiteY122" fmla="*/ 100013 h 764382"/>
                <a:gd name="connsiteX123" fmla="*/ 795337 w 1421606"/>
                <a:gd name="connsiteY123" fmla="*/ 107157 h 764382"/>
                <a:gd name="connsiteX124" fmla="*/ 812006 w 1421606"/>
                <a:gd name="connsiteY124" fmla="*/ 85725 h 764382"/>
                <a:gd name="connsiteX125" fmla="*/ 852487 w 1421606"/>
                <a:gd name="connsiteY125" fmla="*/ 57150 h 764382"/>
                <a:gd name="connsiteX126" fmla="*/ 814387 w 1421606"/>
                <a:gd name="connsiteY126" fmla="*/ 47625 h 764382"/>
                <a:gd name="connsiteX127" fmla="*/ 781050 w 1421606"/>
                <a:gd name="connsiteY127" fmla="*/ 28575 h 764382"/>
                <a:gd name="connsiteX128" fmla="*/ 752475 w 1421606"/>
                <a:gd name="connsiteY128" fmla="*/ 28575 h 764382"/>
                <a:gd name="connsiteX129" fmla="*/ 719137 w 1421606"/>
                <a:gd name="connsiteY129" fmla="*/ 0 h 764382"/>
                <a:gd name="connsiteX130" fmla="*/ 716756 w 1421606"/>
                <a:gd name="connsiteY130" fmla="*/ 19050 h 764382"/>
                <a:gd name="connsiteX131" fmla="*/ 33337 w 1421606"/>
                <a:gd name="connsiteY131" fmla="*/ 11907 h 76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1421606" h="764382">
                  <a:moveTo>
                    <a:pt x="33337" y="11907"/>
                  </a:moveTo>
                  <a:lnTo>
                    <a:pt x="33337" y="80963"/>
                  </a:lnTo>
                  <a:lnTo>
                    <a:pt x="2381" y="57150"/>
                  </a:lnTo>
                  <a:lnTo>
                    <a:pt x="0" y="64294"/>
                  </a:lnTo>
                  <a:lnTo>
                    <a:pt x="11906" y="114300"/>
                  </a:lnTo>
                  <a:lnTo>
                    <a:pt x="11906" y="195263"/>
                  </a:lnTo>
                  <a:lnTo>
                    <a:pt x="11906" y="261938"/>
                  </a:lnTo>
                  <a:lnTo>
                    <a:pt x="9525" y="295275"/>
                  </a:lnTo>
                  <a:lnTo>
                    <a:pt x="0" y="326232"/>
                  </a:lnTo>
                  <a:lnTo>
                    <a:pt x="23812" y="361950"/>
                  </a:lnTo>
                  <a:lnTo>
                    <a:pt x="42862" y="392907"/>
                  </a:lnTo>
                  <a:lnTo>
                    <a:pt x="61912" y="414338"/>
                  </a:lnTo>
                  <a:lnTo>
                    <a:pt x="92869" y="497682"/>
                  </a:lnTo>
                  <a:lnTo>
                    <a:pt x="119062" y="500063"/>
                  </a:lnTo>
                  <a:lnTo>
                    <a:pt x="142875" y="509588"/>
                  </a:lnTo>
                  <a:lnTo>
                    <a:pt x="157162" y="516732"/>
                  </a:lnTo>
                  <a:lnTo>
                    <a:pt x="183356" y="566738"/>
                  </a:lnTo>
                  <a:lnTo>
                    <a:pt x="202406" y="557213"/>
                  </a:lnTo>
                  <a:lnTo>
                    <a:pt x="252412" y="559594"/>
                  </a:lnTo>
                  <a:lnTo>
                    <a:pt x="321469" y="595313"/>
                  </a:lnTo>
                  <a:lnTo>
                    <a:pt x="392906" y="595313"/>
                  </a:lnTo>
                  <a:lnTo>
                    <a:pt x="392906" y="578644"/>
                  </a:lnTo>
                  <a:lnTo>
                    <a:pt x="435769" y="571500"/>
                  </a:lnTo>
                  <a:lnTo>
                    <a:pt x="452437" y="595313"/>
                  </a:lnTo>
                  <a:lnTo>
                    <a:pt x="478631" y="611982"/>
                  </a:lnTo>
                  <a:lnTo>
                    <a:pt x="495300" y="642938"/>
                  </a:lnTo>
                  <a:lnTo>
                    <a:pt x="511969" y="661988"/>
                  </a:lnTo>
                  <a:lnTo>
                    <a:pt x="535781" y="638175"/>
                  </a:lnTo>
                  <a:lnTo>
                    <a:pt x="571500" y="633413"/>
                  </a:lnTo>
                  <a:lnTo>
                    <a:pt x="595312" y="683419"/>
                  </a:lnTo>
                  <a:lnTo>
                    <a:pt x="611981" y="716757"/>
                  </a:lnTo>
                  <a:lnTo>
                    <a:pt x="621506" y="740569"/>
                  </a:lnTo>
                  <a:lnTo>
                    <a:pt x="664369" y="747713"/>
                  </a:lnTo>
                  <a:lnTo>
                    <a:pt x="664369" y="707232"/>
                  </a:lnTo>
                  <a:lnTo>
                    <a:pt x="688181" y="683419"/>
                  </a:lnTo>
                  <a:lnTo>
                    <a:pt x="688181" y="683419"/>
                  </a:lnTo>
                  <a:lnTo>
                    <a:pt x="709612" y="664369"/>
                  </a:lnTo>
                  <a:lnTo>
                    <a:pt x="731044" y="645319"/>
                  </a:lnTo>
                  <a:lnTo>
                    <a:pt x="747712" y="635794"/>
                  </a:lnTo>
                  <a:lnTo>
                    <a:pt x="783431" y="628650"/>
                  </a:lnTo>
                  <a:lnTo>
                    <a:pt x="783431" y="628650"/>
                  </a:lnTo>
                  <a:lnTo>
                    <a:pt x="852487" y="654844"/>
                  </a:lnTo>
                  <a:lnTo>
                    <a:pt x="857250" y="642938"/>
                  </a:lnTo>
                  <a:lnTo>
                    <a:pt x="850106" y="635794"/>
                  </a:lnTo>
                  <a:lnTo>
                    <a:pt x="850106" y="626269"/>
                  </a:lnTo>
                  <a:lnTo>
                    <a:pt x="869156" y="623888"/>
                  </a:lnTo>
                  <a:lnTo>
                    <a:pt x="897731" y="623888"/>
                  </a:lnTo>
                  <a:lnTo>
                    <a:pt x="909637" y="604838"/>
                  </a:lnTo>
                  <a:lnTo>
                    <a:pt x="923925" y="623888"/>
                  </a:lnTo>
                  <a:lnTo>
                    <a:pt x="938212" y="623888"/>
                  </a:lnTo>
                  <a:lnTo>
                    <a:pt x="985837" y="640557"/>
                  </a:lnTo>
                  <a:lnTo>
                    <a:pt x="995362" y="635794"/>
                  </a:lnTo>
                  <a:lnTo>
                    <a:pt x="1040606" y="664369"/>
                  </a:lnTo>
                  <a:lnTo>
                    <a:pt x="1031081" y="690563"/>
                  </a:lnTo>
                  <a:lnTo>
                    <a:pt x="1042987" y="719138"/>
                  </a:lnTo>
                  <a:lnTo>
                    <a:pt x="1062037" y="750094"/>
                  </a:lnTo>
                  <a:lnTo>
                    <a:pt x="1069181" y="764382"/>
                  </a:lnTo>
                  <a:lnTo>
                    <a:pt x="1092994" y="745332"/>
                  </a:lnTo>
                  <a:lnTo>
                    <a:pt x="1092994" y="723900"/>
                  </a:lnTo>
                  <a:lnTo>
                    <a:pt x="1085850" y="688182"/>
                  </a:lnTo>
                  <a:lnTo>
                    <a:pt x="1071562" y="642938"/>
                  </a:lnTo>
                  <a:lnTo>
                    <a:pt x="1054894" y="623888"/>
                  </a:lnTo>
                  <a:lnTo>
                    <a:pt x="1069181" y="588169"/>
                  </a:lnTo>
                  <a:lnTo>
                    <a:pt x="1071562" y="566738"/>
                  </a:lnTo>
                  <a:lnTo>
                    <a:pt x="1102519" y="550069"/>
                  </a:lnTo>
                  <a:lnTo>
                    <a:pt x="1133475" y="516732"/>
                  </a:lnTo>
                  <a:lnTo>
                    <a:pt x="1162050" y="490538"/>
                  </a:lnTo>
                  <a:lnTo>
                    <a:pt x="1185862" y="476250"/>
                  </a:lnTo>
                  <a:lnTo>
                    <a:pt x="1200150" y="442913"/>
                  </a:lnTo>
                  <a:lnTo>
                    <a:pt x="1185862" y="438150"/>
                  </a:lnTo>
                  <a:lnTo>
                    <a:pt x="1190625" y="411957"/>
                  </a:lnTo>
                  <a:lnTo>
                    <a:pt x="1185862" y="381000"/>
                  </a:lnTo>
                  <a:lnTo>
                    <a:pt x="1212056" y="385763"/>
                  </a:lnTo>
                  <a:lnTo>
                    <a:pt x="1207294" y="361950"/>
                  </a:lnTo>
                  <a:lnTo>
                    <a:pt x="1209675" y="347663"/>
                  </a:lnTo>
                  <a:lnTo>
                    <a:pt x="1228725" y="357188"/>
                  </a:lnTo>
                  <a:lnTo>
                    <a:pt x="1245394" y="335757"/>
                  </a:lnTo>
                  <a:lnTo>
                    <a:pt x="1240631" y="311944"/>
                  </a:lnTo>
                  <a:lnTo>
                    <a:pt x="1250156" y="302419"/>
                  </a:lnTo>
                  <a:lnTo>
                    <a:pt x="1290637" y="300038"/>
                  </a:lnTo>
                  <a:lnTo>
                    <a:pt x="1264444" y="292894"/>
                  </a:lnTo>
                  <a:lnTo>
                    <a:pt x="1281112" y="283369"/>
                  </a:lnTo>
                  <a:lnTo>
                    <a:pt x="1328737" y="264319"/>
                  </a:lnTo>
                  <a:lnTo>
                    <a:pt x="1333500" y="200025"/>
                  </a:lnTo>
                  <a:lnTo>
                    <a:pt x="1397794" y="176213"/>
                  </a:lnTo>
                  <a:lnTo>
                    <a:pt x="1421606" y="171450"/>
                  </a:lnTo>
                  <a:lnTo>
                    <a:pt x="1395412" y="150019"/>
                  </a:lnTo>
                  <a:lnTo>
                    <a:pt x="1395412" y="95250"/>
                  </a:lnTo>
                  <a:lnTo>
                    <a:pt x="1352550" y="85725"/>
                  </a:lnTo>
                  <a:lnTo>
                    <a:pt x="1331119" y="152400"/>
                  </a:lnTo>
                  <a:lnTo>
                    <a:pt x="1295400" y="161925"/>
                  </a:lnTo>
                  <a:lnTo>
                    <a:pt x="1231106" y="164307"/>
                  </a:lnTo>
                  <a:lnTo>
                    <a:pt x="1193006" y="197644"/>
                  </a:lnTo>
                  <a:lnTo>
                    <a:pt x="1171575" y="226219"/>
                  </a:lnTo>
                  <a:lnTo>
                    <a:pt x="1135856" y="221457"/>
                  </a:lnTo>
                  <a:lnTo>
                    <a:pt x="1116806" y="245269"/>
                  </a:lnTo>
                  <a:lnTo>
                    <a:pt x="1062037" y="276225"/>
                  </a:lnTo>
                  <a:lnTo>
                    <a:pt x="1026319" y="278607"/>
                  </a:lnTo>
                  <a:lnTo>
                    <a:pt x="1009650" y="261938"/>
                  </a:lnTo>
                  <a:lnTo>
                    <a:pt x="1033462" y="254794"/>
                  </a:lnTo>
                  <a:lnTo>
                    <a:pt x="1033462" y="226219"/>
                  </a:lnTo>
                  <a:lnTo>
                    <a:pt x="1026319" y="204788"/>
                  </a:lnTo>
                  <a:lnTo>
                    <a:pt x="1007269" y="216694"/>
                  </a:lnTo>
                  <a:lnTo>
                    <a:pt x="1007269" y="188119"/>
                  </a:lnTo>
                  <a:lnTo>
                    <a:pt x="995362" y="157163"/>
                  </a:lnTo>
                  <a:lnTo>
                    <a:pt x="990600" y="147638"/>
                  </a:lnTo>
                  <a:lnTo>
                    <a:pt x="952500" y="190500"/>
                  </a:lnTo>
                  <a:lnTo>
                    <a:pt x="935831" y="223838"/>
                  </a:lnTo>
                  <a:lnTo>
                    <a:pt x="935831" y="254794"/>
                  </a:lnTo>
                  <a:lnTo>
                    <a:pt x="916781" y="271463"/>
                  </a:lnTo>
                  <a:lnTo>
                    <a:pt x="902494" y="240507"/>
                  </a:lnTo>
                  <a:lnTo>
                    <a:pt x="900112" y="190500"/>
                  </a:lnTo>
                  <a:lnTo>
                    <a:pt x="914400" y="166688"/>
                  </a:lnTo>
                  <a:lnTo>
                    <a:pt x="914400" y="130969"/>
                  </a:lnTo>
                  <a:lnTo>
                    <a:pt x="942975" y="116682"/>
                  </a:lnTo>
                  <a:lnTo>
                    <a:pt x="988219" y="119063"/>
                  </a:lnTo>
                  <a:lnTo>
                    <a:pt x="954881" y="109538"/>
                  </a:lnTo>
                  <a:lnTo>
                    <a:pt x="914400" y="109538"/>
                  </a:lnTo>
                  <a:lnTo>
                    <a:pt x="890587" y="92869"/>
                  </a:lnTo>
                  <a:lnTo>
                    <a:pt x="890587" y="76200"/>
                  </a:lnTo>
                  <a:lnTo>
                    <a:pt x="866775" y="102394"/>
                  </a:lnTo>
                  <a:lnTo>
                    <a:pt x="840581" y="116682"/>
                  </a:lnTo>
                  <a:lnTo>
                    <a:pt x="823912" y="100013"/>
                  </a:lnTo>
                  <a:lnTo>
                    <a:pt x="795337" y="107157"/>
                  </a:lnTo>
                  <a:lnTo>
                    <a:pt x="812006" y="85725"/>
                  </a:lnTo>
                  <a:lnTo>
                    <a:pt x="852487" y="57150"/>
                  </a:lnTo>
                  <a:lnTo>
                    <a:pt x="814387" y="47625"/>
                  </a:lnTo>
                  <a:lnTo>
                    <a:pt x="781050" y="28575"/>
                  </a:lnTo>
                  <a:lnTo>
                    <a:pt x="752475" y="28575"/>
                  </a:lnTo>
                  <a:lnTo>
                    <a:pt x="719137" y="0"/>
                  </a:lnTo>
                  <a:lnTo>
                    <a:pt x="716756" y="19050"/>
                  </a:lnTo>
                  <a:lnTo>
                    <a:pt x="33337" y="1190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" name="Freeform: Shape 16"/>
            <p:cNvSpPr/>
            <p:nvPr/>
          </p:nvSpPr>
          <p:spPr bwMode="auto">
            <a:xfrm>
              <a:off x="1385888" y="3848100"/>
              <a:ext cx="738187" cy="481013"/>
            </a:xfrm>
            <a:custGeom>
              <a:avLst/>
              <a:gdLst>
                <a:gd name="connsiteX0" fmla="*/ 0 w 738187"/>
                <a:gd name="connsiteY0" fmla="*/ 2381 h 481013"/>
                <a:gd name="connsiteX1" fmla="*/ 35718 w 738187"/>
                <a:gd name="connsiteY1" fmla="*/ 69056 h 481013"/>
                <a:gd name="connsiteX2" fmla="*/ 50006 w 738187"/>
                <a:gd name="connsiteY2" fmla="*/ 90488 h 481013"/>
                <a:gd name="connsiteX3" fmla="*/ 64293 w 738187"/>
                <a:gd name="connsiteY3" fmla="*/ 92869 h 481013"/>
                <a:gd name="connsiteX4" fmla="*/ 76200 w 738187"/>
                <a:gd name="connsiteY4" fmla="*/ 114300 h 481013"/>
                <a:gd name="connsiteX5" fmla="*/ 66675 w 738187"/>
                <a:gd name="connsiteY5" fmla="*/ 121444 h 481013"/>
                <a:gd name="connsiteX6" fmla="*/ 80962 w 738187"/>
                <a:gd name="connsiteY6" fmla="*/ 130969 h 481013"/>
                <a:gd name="connsiteX7" fmla="*/ 66675 w 738187"/>
                <a:gd name="connsiteY7" fmla="*/ 145256 h 481013"/>
                <a:gd name="connsiteX8" fmla="*/ 52387 w 738187"/>
                <a:gd name="connsiteY8" fmla="*/ 140494 h 481013"/>
                <a:gd name="connsiteX9" fmla="*/ 80962 w 738187"/>
                <a:gd name="connsiteY9" fmla="*/ 154781 h 481013"/>
                <a:gd name="connsiteX10" fmla="*/ 104775 w 738187"/>
                <a:gd name="connsiteY10" fmla="*/ 164306 h 481013"/>
                <a:gd name="connsiteX11" fmla="*/ 116681 w 738187"/>
                <a:gd name="connsiteY11" fmla="*/ 183356 h 481013"/>
                <a:gd name="connsiteX12" fmla="*/ 133350 w 738187"/>
                <a:gd name="connsiteY12" fmla="*/ 209550 h 481013"/>
                <a:gd name="connsiteX13" fmla="*/ 133350 w 738187"/>
                <a:gd name="connsiteY13" fmla="*/ 226219 h 481013"/>
                <a:gd name="connsiteX14" fmla="*/ 154781 w 738187"/>
                <a:gd name="connsiteY14" fmla="*/ 230981 h 481013"/>
                <a:gd name="connsiteX15" fmla="*/ 183356 w 738187"/>
                <a:gd name="connsiteY15" fmla="*/ 261938 h 481013"/>
                <a:gd name="connsiteX16" fmla="*/ 157162 w 738187"/>
                <a:gd name="connsiteY16" fmla="*/ 216694 h 481013"/>
                <a:gd name="connsiteX17" fmla="*/ 140493 w 738187"/>
                <a:gd name="connsiteY17" fmla="*/ 185738 h 481013"/>
                <a:gd name="connsiteX18" fmla="*/ 130968 w 738187"/>
                <a:gd name="connsiteY18" fmla="*/ 161925 h 481013"/>
                <a:gd name="connsiteX19" fmla="*/ 121443 w 738187"/>
                <a:gd name="connsiteY19" fmla="*/ 154781 h 481013"/>
                <a:gd name="connsiteX20" fmla="*/ 95250 w 738187"/>
                <a:gd name="connsiteY20" fmla="*/ 121444 h 481013"/>
                <a:gd name="connsiteX21" fmla="*/ 54768 w 738187"/>
                <a:gd name="connsiteY21" fmla="*/ 71438 h 481013"/>
                <a:gd name="connsiteX22" fmla="*/ 54768 w 738187"/>
                <a:gd name="connsiteY22" fmla="*/ 14288 h 481013"/>
                <a:gd name="connsiteX23" fmla="*/ 88106 w 738187"/>
                <a:gd name="connsiteY23" fmla="*/ 30956 h 481013"/>
                <a:gd name="connsiteX24" fmla="*/ 102393 w 738187"/>
                <a:gd name="connsiteY24" fmla="*/ 47625 h 481013"/>
                <a:gd name="connsiteX25" fmla="*/ 138112 w 738187"/>
                <a:gd name="connsiteY25" fmla="*/ 123825 h 481013"/>
                <a:gd name="connsiteX26" fmla="*/ 159543 w 738187"/>
                <a:gd name="connsiteY26" fmla="*/ 142875 h 481013"/>
                <a:gd name="connsiteX27" fmla="*/ 178593 w 738187"/>
                <a:gd name="connsiteY27" fmla="*/ 166688 h 481013"/>
                <a:gd name="connsiteX28" fmla="*/ 188118 w 738187"/>
                <a:gd name="connsiteY28" fmla="*/ 171450 h 481013"/>
                <a:gd name="connsiteX29" fmla="*/ 209550 w 738187"/>
                <a:gd name="connsiteY29" fmla="*/ 202406 h 481013"/>
                <a:gd name="connsiteX30" fmla="*/ 235743 w 738187"/>
                <a:gd name="connsiteY30" fmla="*/ 219075 h 481013"/>
                <a:gd name="connsiteX31" fmla="*/ 240506 w 738187"/>
                <a:gd name="connsiteY31" fmla="*/ 247650 h 481013"/>
                <a:gd name="connsiteX32" fmla="*/ 297656 w 738187"/>
                <a:gd name="connsiteY32" fmla="*/ 295275 h 481013"/>
                <a:gd name="connsiteX33" fmla="*/ 297656 w 738187"/>
                <a:gd name="connsiteY33" fmla="*/ 328613 h 481013"/>
                <a:gd name="connsiteX34" fmla="*/ 295275 w 738187"/>
                <a:gd name="connsiteY34" fmla="*/ 345281 h 481013"/>
                <a:gd name="connsiteX35" fmla="*/ 345281 w 738187"/>
                <a:gd name="connsiteY35" fmla="*/ 381000 h 481013"/>
                <a:gd name="connsiteX36" fmla="*/ 383381 w 738187"/>
                <a:gd name="connsiteY36" fmla="*/ 402431 h 481013"/>
                <a:gd name="connsiteX37" fmla="*/ 421481 w 738187"/>
                <a:gd name="connsiteY37" fmla="*/ 426244 h 481013"/>
                <a:gd name="connsiteX38" fmla="*/ 457200 w 738187"/>
                <a:gd name="connsiteY38" fmla="*/ 435769 h 481013"/>
                <a:gd name="connsiteX39" fmla="*/ 504825 w 738187"/>
                <a:gd name="connsiteY39" fmla="*/ 450056 h 481013"/>
                <a:gd name="connsiteX40" fmla="*/ 521493 w 738187"/>
                <a:gd name="connsiteY40" fmla="*/ 450056 h 481013"/>
                <a:gd name="connsiteX41" fmla="*/ 545306 w 738187"/>
                <a:gd name="connsiteY41" fmla="*/ 431006 h 481013"/>
                <a:gd name="connsiteX42" fmla="*/ 614362 w 738187"/>
                <a:gd name="connsiteY42" fmla="*/ 481013 h 481013"/>
                <a:gd name="connsiteX43" fmla="*/ 626268 w 738187"/>
                <a:gd name="connsiteY43" fmla="*/ 445294 h 481013"/>
                <a:gd name="connsiteX44" fmla="*/ 650081 w 738187"/>
                <a:gd name="connsiteY44" fmla="*/ 447675 h 481013"/>
                <a:gd name="connsiteX45" fmla="*/ 650081 w 738187"/>
                <a:gd name="connsiteY45" fmla="*/ 438150 h 481013"/>
                <a:gd name="connsiteX46" fmla="*/ 635793 w 738187"/>
                <a:gd name="connsiteY46" fmla="*/ 414338 h 481013"/>
                <a:gd name="connsiteX47" fmla="*/ 642937 w 738187"/>
                <a:gd name="connsiteY47" fmla="*/ 404813 h 481013"/>
                <a:gd name="connsiteX48" fmla="*/ 671512 w 738187"/>
                <a:gd name="connsiteY48" fmla="*/ 395288 h 481013"/>
                <a:gd name="connsiteX49" fmla="*/ 697706 w 738187"/>
                <a:gd name="connsiteY49" fmla="*/ 397669 h 481013"/>
                <a:gd name="connsiteX50" fmla="*/ 707231 w 738187"/>
                <a:gd name="connsiteY50" fmla="*/ 381000 h 481013"/>
                <a:gd name="connsiteX51" fmla="*/ 719137 w 738187"/>
                <a:gd name="connsiteY51" fmla="*/ 340519 h 481013"/>
                <a:gd name="connsiteX52" fmla="*/ 738187 w 738187"/>
                <a:gd name="connsiteY52" fmla="*/ 319088 h 481013"/>
                <a:gd name="connsiteX53" fmla="*/ 721518 w 738187"/>
                <a:gd name="connsiteY53" fmla="*/ 304800 h 481013"/>
                <a:gd name="connsiteX54" fmla="*/ 700087 w 738187"/>
                <a:gd name="connsiteY54" fmla="*/ 309563 h 481013"/>
                <a:gd name="connsiteX55" fmla="*/ 676275 w 738187"/>
                <a:gd name="connsiteY55" fmla="*/ 307181 h 481013"/>
                <a:gd name="connsiteX56" fmla="*/ 661987 w 738187"/>
                <a:gd name="connsiteY56" fmla="*/ 345281 h 481013"/>
                <a:gd name="connsiteX57" fmla="*/ 647700 w 738187"/>
                <a:gd name="connsiteY57" fmla="*/ 376238 h 481013"/>
                <a:gd name="connsiteX58" fmla="*/ 614362 w 738187"/>
                <a:gd name="connsiteY58" fmla="*/ 385763 h 481013"/>
                <a:gd name="connsiteX59" fmla="*/ 578643 w 738187"/>
                <a:gd name="connsiteY59" fmla="*/ 383381 h 481013"/>
                <a:gd name="connsiteX60" fmla="*/ 559593 w 738187"/>
                <a:gd name="connsiteY60" fmla="*/ 392906 h 481013"/>
                <a:gd name="connsiteX61" fmla="*/ 516731 w 738187"/>
                <a:gd name="connsiteY61" fmla="*/ 373856 h 481013"/>
                <a:gd name="connsiteX62" fmla="*/ 476250 w 738187"/>
                <a:gd name="connsiteY62" fmla="*/ 290513 h 481013"/>
                <a:gd name="connsiteX63" fmla="*/ 478631 w 738187"/>
                <a:gd name="connsiteY63" fmla="*/ 233363 h 481013"/>
                <a:gd name="connsiteX64" fmla="*/ 469106 w 738187"/>
                <a:gd name="connsiteY64" fmla="*/ 202406 h 481013"/>
                <a:gd name="connsiteX65" fmla="*/ 478631 w 738187"/>
                <a:gd name="connsiteY65" fmla="*/ 188119 h 481013"/>
                <a:gd name="connsiteX66" fmla="*/ 445293 w 738187"/>
                <a:gd name="connsiteY66" fmla="*/ 180975 h 481013"/>
                <a:gd name="connsiteX67" fmla="*/ 385762 w 738187"/>
                <a:gd name="connsiteY67" fmla="*/ 73819 h 481013"/>
                <a:gd name="connsiteX68" fmla="*/ 354806 w 738187"/>
                <a:gd name="connsiteY68" fmla="*/ 76200 h 481013"/>
                <a:gd name="connsiteX69" fmla="*/ 333375 w 738187"/>
                <a:gd name="connsiteY69" fmla="*/ 102394 h 481013"/>
                <a:gd name="connsiteX70" fmla="*/ 297656 w 738187"/>
                <a:gd name="connsiteY70" fmla="*/ 52388 h 481013"/>
                <a:gd name="connsiteX71" fmla="*/ 264318 w 738187"/>
                <a:gd name="connsiteY71" fmla="*/ 30956 h 481013"/>
                <a:gd name="connsiteX72" fmla="*/ 250031 w 738187"/>
                <a:gd name="connsiteY72" fmla="*/ 14288 h 481013"/>
                <a:gd name="connsiteX73" fmla="*/ 214312 w 738187"/>
                <a:gd name="connsiteY73" fmla="*/ 14288 h 481013"/>
                <a:gd name="connsiteX74" fmla="*/ 202406 w 738187"/>
                <a:gd name="connsiteY74" fmla="*/ 38100 h 481013"/>
                <a:gd name="connsiteX75" fmla="*/ 150018 w 738187"/>
                <a:gd name="connsiteY75" fmla="*/ 35719 h 481013"/>
                <a:gd name="connsiteX76" fmla="*/ 73818 w 738187"/>
                <a:gd name="connsiteY76" fmla="*/ 0 h 481013"/>
                <a:gd name="connsiteX77" fmla="*/ 0 w 738187"/>
                <a:gd name="connsiteY77" fmla="*/ 2381 h 48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38187" h="481013">
                  <a:moveTo>
                    <a:pt x="0" y="2381"/>
                  </a:moveTo>
                  <a:lnTo>
                    <a:pt x="35718" y="69056"/>
                  </a:lnTo>
                  <a:lnTo>
                    <a:pt x="50006" y="90488"/>
                  </a:lnTo>
                  <a:lnTo>
                    <a:pt x="64293" y="92869"/>
                  </a:lnTo>
                  <a:lnTo>
                    <a:pt x="76200" y="114300"/>
                  </a:lnTo>
                  <a:lnTo>
                    <a:pt x="66675" y="121444"/>
                  </a:lnTo>
                  <a:lnTo>
                    <a:pt x="80962" y="130969"/>
                  </a:lnTo>
                  <a:lnTo>
                    <a:pt x="66675" y="145256"/>
                  </a:lnTo>
                  <a:lnTo>
                    <a:pt x="52387" y="140494"/>
                  </a:lnTo>
                  <a:lnTo>
                    <a:pt x="80962" y="154781"/>
                  </a:lnTo>
                  <a:lnTo>
                    <a:pt x="104775" y="164306"/>
                  </a:lnTo>
                  <a:lnTo>
                    <a:pt x="116681" y="183356"/>
                  </a:lnTo>
                  <a:lnTo>
                    <a:pt x="133350" y="209550"/>
                  </a:lnTo>
                  <a:lnTo>
                    <a:pt x="133350" y="226219"/>
                  </a:lnTo>
                  <a:lnTo>
                    <a:pt x="154781" y="230981"/>
                  </a:lnTo>
                  <a:lnTo>
                    <a:pt x="183356" y="261938"/>
                  </a:lnTo>
                  <a:lnTo>
                    <a:pt x="157162" y="216694"/>
                  </a:lnTo>
                  <a:lnTo>
                    <a:pt x="140493" y="185738"/>
                  </a:lnTo>
                  <a:lnTo>
                    <a:pt x="130968" y="161925"/>
                  </a:lnTo>
                  <a:lnTo>
                    <a:pt x="121443" y="154781"/>
                  </a:lnTo>
                  <a:lnTo>
                    <a:pt x="95250" y="121444"/>
                  </a:lnTo>
                  <a:lnTo>
                    <a:pt x="54768" y="71438"/>
                  </a:lnTo>
                  <a:lnTo>
                    <a:pt x="54768" y="14288"/>
                  </a:lnTo>
                  <a:lnTo>
                    <a:pt x="88106" y="30956"/>
                  </a:lnTo>
                  <a:lnTo>
                    <a:pt x="102393" y="47625"/>
                  </a:lnTo>
                  <a:lnTo>
                    <a:pt x="138112" y="123825"/>
                  </a:lnTo>
                  <a:lnTo>
                    <a:pt x="159543" y="142875"/>
                  </a:lnTo>
                  <a:lnTo>
                    <a:pt x="178593" y="166688"/>
                  </a:lnTo>
                  <a:lnTo>
                    <a:pt x="188118" y="171450"/>
                  </a:lnTo>
                  <a:lnTo>
                    <a:pt x="209550" y="202406"/>
                  </a:lnTo>
                  <a:lnTo>
                    <a:pt x="235743" y="219075"/>
                  </a:lnTo>
                  <a:lnTo>
                    <a:pt x="240506" y="247650"/>
                  </a:lnTo>
                  <a:lnTo>
                    <a:pt x="297656" y="295275"/>
                  </a:lnTo>
                  <a:lnTo>
                    <a:pt x="297656" y="328613"/>
                  </a:lnTo>
                  <a:lnTo>
                    <a:pt x="295275" y="345281"/>
                  </a:lnTo>
                  <a:lnTo>
                    <a:pt x="345281" y="381000"/>
                  </a:lnTo>
                  <a:lnTo>
                    <a:pt x="383381" y="402431"/>
                  </a:lnTo>
                  <a:lnTo>
                    <a:pt x="421481" y="426244"/>
                  </a:lnTo>
                  <a:lnTo>
                    <a:pt x="457200" y="435769"/>
                  </a:lnTo>
                  <a:lnTo>
                    <a:pt x="504825" y="450056"/>
                  </a:lnTo>
                  <a:lnTo>
                    <a:pt x="521493" y="450056"/>
                  </a:lnTo>
                  <a:lnTo>
                    <a:pt x="545306" y="431006"/>
                  </a:lnTo>
                  <a:lnTo>
                    <a:pt x="614362" y="481013"/>
                  </a:lnTo>
                  <a:lnTo>
                    <a:pt x="626268" y="445294"/>
                  </a:lnTo>
                  <a:lnTo>
                    <a:pt x="650081" y="447675"/>
                  </a:lnTo>
                  <a:lnTo>
                    <a:pt x="650081" y="438150"/>
                  </a:lnTo>
                  <a:lnTo>
                    <a:pt x="635793" y="414338"/>
                  </a:lnTo>
                  <a:lnTo>
                    <a:pt x="642937" y="404813"/>
                  </a:lnTo>
                  <a:lnTo>
                    <a:pt x="671512" y="395288"/>
                  </a:lnTo>
                  <a:lnTo>
                    <a:pt x="697706" y="397669"/>
                  </a:lnTo>
                  <a:lnTo>
                    <a:pt x="707231" y="381000"/>
                  </a:lnTo>
                  <a:lnTo>
                    <a:pt x="719137" y="340519"/>
                  </a:lnTo>
                  <a:lnTo>
                    <a:pt x="738187" y="319088"/>
                  </a:lnTo>
                  <a:lnTo>
                    <a:pt x="721518" y="304800"/>
                  </a:lnTo>
                  <a:lnTo>
                    <a:pt x="700087" y="309563"/>
                  </a:lnTo>
                  <a:lnTo>
                    <a:pt x="676275" y="307181"/>
                  </a:lnTo>
                  <a:lnTo>
                    <a:pt x="661987" y="345281"/>
                  </a:lnTo>
                  <a:lnTo>
                    <a:pt x="647700" y="376238"/>
                  </a:lnTo>
                  <a:lnTo>
                    <a:pt x="614362" y="385763"/>
                  </a:lnTo>
                  <a:lnTo>
                    <a:pt x="578643" y="383381"/>
                  </a:lnTo>
                  <a:lnTo>
                    <a:pt x="559593" y="392906"/>
                  </a:lnTo>
                  <a:lnTo>
                    <a:pt x="516731" y="373856"/>
                  </a:lnTo>
                  <a:lnTo>
                    <a:pt x="476250" y="290513"/>
                  </a:lnTo>
                  <a:cubicBezTo>
                    <a:pt x="477044" y="271463"/>
                    <a:pt x="477837" y="252413"/>
                    <a:pt x="478631" y="233363"/>
                  </a:cubicBezTo>
                  <a:lnTo>
                    <a:pt x="469106" y="202406"/>
                  </a:lnTo>
                  <a:lnTo>
                    <a:pt x="478631" y="188119"/>
                  </a:lnTo>
                  <a:lnTo>
                    <a:pt x="445293" y="180975"/>
                  </a:lnTo>
                  <a:lnTo>
                    <a:pt x="385762" y="73819"/>
                  </a:lnTo>
                  <a:lnTo>
                    <a:pt x="354806" y="76200"/>
                  </a:lnTo>
                  <a:lnTo>
                    <a:pt x="333375" y="102394"/>
                  </a:lnTo>
                  <a:lnTo>
                    <a:pt x="297656" y="52388"/>
                  </a:lnTo>
                  <a:lnTo>
                    <a:pt x="264318" y="30956"/>
                  </a:lnTo>
                  <a:lnTo>
                    <a:pt x="250031" y="14288"/>
                  </a:lnTo>
                  <a:lnTo>
                    <a:pt x="214312" y="14288"/>
                  </a:lnTo>
                  <a:lnTo>
                    <a:pt x="202406" y="38100"/>
                  </a:lnTo>
                  <a:lnTo>
                    <a:pt x="150018" y="35719"/>
                  </a:lnTo>
                  <a:lnTo>
                    <a:pt x="73818" y="0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" name="Freeform: Shape 17"/>
            <p:cNvSpPr/>
            <p:nvPr/>
          </p:nvSpPr>
          <p:spPr bwMode="auto">
            <a:xfrm>
              <a:off x="2833688" y="3212306"/>
              <a:ext cx="142875" cy="169069"/>
            </a:xfrm>
            <a:custGeom>
              <a:avLst/>
              <a:gdLst>
                <a:gd name="connsiteX0" fmla="*/ 61912 w 142875"/>
                <a:gd name="connsiteY0" fmla="*/ 0 h 169069"/>
                <a:gd name="connsiteX1" fmla="*/ 19050 w 142875"/>
                <a:gd name="connsiteY1" fmla="*/ 66675 h 169069"/>
                <a:gd name="connsiteX2" fmla="*/ 0 w 142875"/>
                <a:gd name="connsiteY2" fmla="*/ 102394 h 169069"/>
                <a:gd name="connsiteX3" fmla="*/ 2381 w 142875"/>
                <a:gd name="connsiteY3" fmla="*/ 119063 h 169069"/>
                <a:gd name="connsiteX4" fmla="*/ 2381 w 142875"/>
                <a:gd name="connsiteY4" fmla="*/ 119063 h 169069"/>
                <a:gd name="connsiteX5" fmla="*/ 21431 w 142875"/>
                <a:gd name="connsiteY5" fmla="*/ 145257 h 169069"/>
                <a:gd name="connsiteX6" fmla="*/ 64293 w 142875"/>
                <a:gd name="connsiteY6" fmla="*/ 140494 h 169069"/>
                <a:gd name="connsiteX7" fmla="*/ 64293 w 142875"/>
                <a:gd name="connsiteY7" fmla="*/ 126207 h 169069"/>
                <a:gd name="connsiteX8" fmla="*/ 83343 w 142875"/>
                <a:gd name="connsiteY8" fmla="*/ 147638 h 169069"/>
                <a:gd name="connsiteX9" fmla="*/ 97631 w 142875"/>
                <a:gd name="connsiteY9" fmla="*/ 142875 h 169069"/>
                <a:gd name="connsiteX10" fmla="*/ 88106 w 142875"/>
                <a:gd name="connsiteY10" fmla="*/ 166688 h 169069"/>
                <a:gd name="connsiteX11" fmla="*/ 121443 w 142875"/>
                <a:gd name="connsiteY11" fmla="*/ 145257 h 169069"/>
                <a:gd name="connsiteX12" fmla="*/ 142875 w 142875"/>
                <a:gd name="connsiteY12" fmla="*/ 169069 h 169069"/>
                <a:gd name="connsiteX13" fmla="*/ 140493 w 142875"/>
                <a:gd name="connsiteY13" fmla="*/ 147638 h 169069"/>
                <a:gd name="connsiteX14" fmla="*/ 130968 w 142875"/>
                <a:gd name="connsiteY14" fmla="*/ 133350 h 169069"/>
                <a:gd name="connsiteX15" fmla="*/ 121443 w 142875"/>
                <a:gd name="connsiteY15" fmla="*/ 123825 h 169069"/>
                <a:gd name="connsiteX16" fmla="*/ 130968 w 142875"/>
                <a:gd name="connsiteY16" fmla="*/ 109538 h 169069"/>
                <a:gd name="connsiteX17" fmla="*/ 111918 w 142875"/>
                <a:gd name="connsiteY17" fmla="*/ 116682 h 169069"/>
                <a:gd name="connsiteX18" fmla="*/ 121443 w 142875"/>
                <a:gd name="connsiteY18" fmla="*/ 90488 h 169069"/>
                <a:gd name="connsiteX19" fmla="*/ 88106 w 142875"/>
                <a:gd name="connsiteY19" fmla="*/ 83344 h 169069"/>
                <a:gd name="connsiteX20" fmla="*/ 71437 w 142875"/>
                <a:gd name="connsiteY20" fmla="*/ 95250 h 169069"/>
                <a:gd name="connsiteX21" fmla="*/ 57150 w 142875"/>
                <a:gd name="connsiteY21" fmla="*/ 76200 h 169069"/>
                <a:gd name="connsiteX22" fmla="*/ 64293 w 142875"/>
                <a:gd name="connsiteY22" fmla="*/ 64294 h 169069"/>
                <a:gd name="connsiteX23" fmla="*/ 47625 w 142875"/>
                <a:gd name="connsiteY23" fmla="*/ 69057 h 169069"/>
                <a:gd name="connsiteX24" fmla="*/ 42862 w 142875"/>
                <a:gd name="connsiteY24" fmla="*/ 57150 h 169069"/>
                <a:gd name="connsiteX25" fmla="*/ 61912 w 142875"/>
                <a:gd name="connsiteY25" fmla="*/ 0 h 16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2875" h="169069">
                  <a:moveTo>
                    <a:pt x="61912" y="0"/>
                  </a:moveTo>
                  <a:lnTo>
                    <a:pt x="19050" y="66675"/>
                  </a:lnTo>
                  <a:lnTo>
                    <a:pt x="0" y="102394"/>
                  </a:lnTo>
                  <a:lnTo>
                    <a:pt x="2381" y="119063"/>
                  </a:lnTo>
                  <a:lnTo>
                    <a:pt x="2381" y="119063"/>
                  </a:lnTo>
                  <a:lnTo>
                    <a:pt x="21431" y="145257"/>
                  </a:lnTo>
                  <a:lnTo>
                    <a:pt x="64293" y="140494"/>
                  </a:lnTo>
                  <a:lnTo>
                    <a:pt x="64293" y="126207"/>
                  </a:lnTo>
                  <a:lnTo>
                    <a:pt x="83343" y="147638"/>
                  </a:lnTo>
                  <a:lnTo>
                    <a:pt x="97631" y="142875"/>
                  </a:lnTo>
                  <a:lnTo>
                    <a:pt x="88106" y="166688"/>
                  </a:lnTo>
                  <a:lnTo>
                    <a:pt x="121443" y="145257"/>
                  </a:lnTo>
                  <a:lnTo>
                    <a:pt x="142875" y="169069"/>
                  </a:lnTo>
                  <a:lnTo>
                    <a:pt x="140493" y="147638"/>
                  </a:lnTo>
                  <a:lnTo>
                    <a:pt x="130968" y="133350"/>
                  </a:lnTo>
                  <a:lnTo>
                    <a:pt x="121443" y="123825"/>
                  </a:lnTo>
                  <a:lnTo>
                    <a:pt x="130968" y="109538"/>
                  </a:lnTo>
                  <a:lnTo>
                    <a:pt x="111918" y="116682"/>
                  </a:lnTo>
                  <a:lnTo>
                    <a:pt x="121443" y="90488"/>
                  </a:lnTo>
                  <a:lnTo>
                    <a:pt x="88106" y="83344"/>
                  </a:lnTo>
                  <a:lnTo>
                    <a:pt x="71437" y="95250"/>
                  </a:lnTo>
                  <a:lnTo>
                    <a:pt x="57150" y="76200"/>
                  </a:lnTo>
                  <a:lnTo>
                    <a:pt x="64293" y="64294"/>
                  </a:lnTo>
                  <a:lnTo>
                    <a:pt x="47625" y="69057"/>
                  </a:lnTo>
                  <a:lnTo>
                    <a:pt x="42862" y="57150"/>
                  </a:lnTo>
                  <a:lnTo>
                    <a:pt x="61912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" name="Freeform: Shape 18"/>
            <p:cNvSpPr/>
            <p:nvPr/>
          </p:nvSpPr>
          <p:spPr bwMode="auto">
            <a:xfrm>
              <a:off x="2655094" y="3426619"/>
              <a:ext cx="104775" cy="83344"/>
            </a:xfrm>
            <a:custGeom>
              <a:avLst/>
              <a:gdLst>
                <a:gd name="connsiteX0" fmla="*/ 104775 w 104775"/>
                <a:gd name="connsiteY0" fmla="*/ 11906 h 83344"/>
                <a:gd name="connsiteX1" fmla="*/ 40481 w 104775"/>
                <a:gd name="connsiteY1" fmla="*/ 45244 h 83344"/>
                <a:gd name="connsiteX2" fmla="*/ 2381 w 104775"/>
                <a:gd name="connsiteY2" fmla="*/ 83344 h 83344"/>
                <a:gd name="connsiteX3" fmla="*/ 0 w 104775"/>
                <a:gd name="connsiteY3" fmla="*/ 42862 h 83344"/>
                <a:gd name="connsiteX4" fmla="*/ 35719 w 104775"/>
                <a:gd name="connsiteY4" fmla="*/ 26194 h 83344"/>
                <a:gd name="connsiteX5" fmla="*/ 54769 w 104775"/>
                <a:gd name="connsiteY5" fmla="*/ 0 h 83344"/>
                <a:gd name="connsiteX6" fmla="*/ 104775 w 104775"/>
                <a:gd name="connsiteY6" fmla="*/ 11906 h 83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83344">
                  <a:moveTo>
                    <a:pt x="104775" y="11906"/>
                  </a:moveTo>
                  <a:lnTo>
                    <a:pt x="40481" y="45244"/>
                  </a:lnTo>
                  <a:lnTo>
                    <a:pt x="2381" y="83344"/>
                  </a:lnTo>
                  <a:lnTo>
                    <a:pt x="0" y="42862"/>
                  </a:lnTo>
                  <a:lnTo>
                    <a:pt x="35719" y="26194"/>
                  </a:lnTo>
                  <a:lnTo>
                    <a:pt x="54769" y="0"/>
                  </a:lnTo>
                  <a:lnTo>
                    <a:pt x="104775" y="1190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" name="Freeform: Shape 19"/>
            <p:cNvSpPr/>
            <p:nvPr/>
          </p:nvSpPr>
          <p:spPr bwMode="auto">
            <a:xfrm>
              <a:off x="2121694" y="2526506"/>
              <a:ext cx="171450" cy="145257"/>
            </a:xfrm>
            <a:custGeom>
              <a:avLst/>
              <a:gdLst>
                <a:gd name="connsiteX0" fmla="*/ 33337 w 171450"/>
                <a:gd name="connsiteY0" fmla="*/ 0 h 145257"/>
                <a:gd name="connsiteX1" fmla="*/ 26194 w 171450"/>
                <a:gd name="connsiteY1" fmla="*/ 54769 h 145257"/>
                <a:gd name="connsiteX2" fmla="*/ 23812 w 171450"/>
                <a:gd name="connsiteY2" fmla="*/ 83344 h 145257"/>
                <a:gd name="connsiteX3" fmla="*/ 0 w 171450"/>
                <a:gd name="connsiteY3" fmla="*/ 119063 h 145257"/>
                <a:gd name="connsiteX4" fmla="*/ 38100 w 171450"/>
                <a:gd name="connsiteY4" fmla="*/ 104775 h 145257"/>
                <a:gd name="connsiteX5" fmla="*/ 57150 w 171450"/>
                <a:gd name="connsiteY5" fmla="*/ 145257 h 145257"/>
                <a:gd name="connsiteX6" fmla="*/ 90487 w 171450"/>
                <a:gd name="connsiteY6" fmla="*/ 109538 h 145257"/>
                <a:gd name="connsiteX7" fmla="*/ 90487 w 171450"/>
                <a:gd name="connsiteY7" fmla="*/ 80963 h 145257"/>
                <a:gd name="connsiteX8" fmla="*/ 111919 w 171450"/>
                <a:gd name="connsiteY8" fmla="*/ 90488 h 145257"/>
                <a:gd name="connsiteX9" fmla="*/ 138112 w 171450"/>
                <a:gd name="connsiteY9" fmla="*/ 109538 h 145257"/>
                <a:gd name="connsiteX10" fmla="*/ 154781 w 171450"/>
                <a:gd name="connsiteY10" fmla="*/ 126207 h 145257"/>
                <a:gd name="connsiteX11" fmla="*/ 171450 w 171450"/>
                <a:gd name="connsiteY11" fmla="*/ 114300 h 145257"/>
                <a:gd name="connsiteX12" fmla="*/ 159544 w 171450"/>
                <a:gd name="connsiteY12" fmla="*/ 95250 h 145257"/>
                <a:gd name="connsiteX13" fmla="*/ 138112 w 171450"/>
                <a:gd name="connsiteY13" fmla="*/ 95250 h 145257"/>
                <a:gd name="connsiteX14" fmla="*/ 126206 w 171450"/>
                <a:gd name="connsiteY14" fmla="*/ 66675 h 145257"/>
                <a:gd name="connsiteX15" fmla="*/ 90487 w 171450"/>
                <a:gd name="connsiteY15" fmla="*/ 40482 h 145257"/>
                <a:gd name="connsiteX16" fmla="*/ 71437 w 171450"/>
                <a:gd name="connsiteY16" fmla="*/ 33338 h 145257"/>
                <a:gd name="connsiteX17" fmla="*/ 33337 w 171450"/>
                <a:gd name="connsiteY17" fmla="*/ 0 h 14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1450" h="145257">
                  <a:moveTo>
                    <a:pt x="33337" y="0"/>
                  </a:moveTo>
                  <a:lnTo>
                    <a:pt x="26194" y="54769"/>
                  </a:lnTo>
                  <a:lnTo>
                    <a:pt x="23812" y="83344"/>
                  </a:lnTo>
                  <a:lnTo>
                    <a:pt x="0" y="119063"/>
                  </a:lnTo>
                  <a:lnTo>
                    <a:pt x="38100" y="104775"/>
                  </a:lnTo>
                  <a:lnTo>
                    <a:pt x="57150" y="145257"/>
                  </a:lnTo>
                  <a:lnTo>
                    <a:pt x="90487" y="109538"/>
                  </a:lnTo>
                  <a:lnTo>
                    <a:pt x="90487" y="80963"/>
                  </a:lnTo>
                  <a:lnTo>
                    <a:pt x="111919" y="90488"/>
                  </a:lnTo>
                  <a:lnTo>
                    <a:pt x="138112" y="109538"/>
                  </a:lnTo>
                  <a:lnTo>
                    <a:pt x="154781" y="126207"/>
                  </a:lnTo>
                  <a:lnTo>
                    <a:pt x="171450" y="114300"/>
                  </a:lnTo>
                  <a:lnTo>
                    <a:pt x="159544" y="95250"/>
                  </a:lnTo>
                  <a:lnTo>
                    <a:pt x="138112" y="95250"/>
                  </a:lnTo>
                  <a:lnTo>
                    <a:pt x="126206" y="66675"/>
                  </a:lnTo>
                  <a:lnTo>
                    <a:pt x="90487" y="40482"/>
                  </a:lnTo>
                  <a:lnTo>
                    <a:pt x="71437" y="33338"/>
                  </a:lnTo>
                  <a:lnTo>
                    <a:pt x="33337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" name="Freeform: Shape 20"/>
            <p:cNvSpPr/>
            <p:nvPr/>
          </p:nvSpPr>
          <p:spPr bwMode="auto">
            <a:xfrm>
              <a:off x="2057400" y="1945481"/>
              <a:ext cx="695325" cy="785813"/>
            </a:xfrm>
            <a:custGeom>
              <a:avLst/>
              <a:gdLst>
                <a:gd name="connsiteX0" fmla="*/ 109538 w 695325"/>
                <a:gd name="connsiteY0" fmla="*/ 0 h 785813"/>
                <a:gd name="connsiteX1" fmla="*/ 54769 w 695325"/>
                <a:gd name="connsiteY1" fmla="*/ 4763 h 785813"/>
                <a:gd name="connsiteX2" fmla="*/ 21431 w 695325"/>
                <a:gd name="connsiteY2" fmla="*/ 38100 h 785813"/>
                <a:gd name="connsiteX3" fmla="*/ 21431 w 695325"/>
                <a:gd name="connsiteY3" fmla="*/ 69057 h 785813"/>
                <a:gd name="connsiteX4" fmla="*/ 11906 w 695325"/>
                <a:gd name="connsiteY4" fmla="*/ 88107 h 785813"/>
                <a:gd name="connsiteX5" fmla="*/ 7144 w 695325"/>
                <a:gd name="connsiteY5" fmla="*/ 126207 h 785813"/>
                <a:gd name="connsiteX6" fmla="*/ 7144 w 695325"/>
                <a:gd name="connsiteY6" fmla="*/ 126207 h 785813"/>
                <a:gd name="connsiteX7" fmla="*/ 0 w 695325"/>
                <a:gd name="connsiteY7" fmla="*/ 145257 h 785813"/>
                <a:gd name="connsiteX8" fmla="*/ 0 w 695325"/>
                <a:gd name="connsiteY8" fmla="*/ 190500 h 785813"/>
                <a:gd name="connsiteX9" fmla="*/ 38100 w 695325"/>
                <a:gd name="connsiteY9" fmla="*/ 200025 h 785813"/>
                <a:gd name="connsiteX10" fmla="*/ 64294 w 695325"/>
                <a:gd name="connsiteY10" fmla="*/ 219075 h 785813"/>
                <a:gd name="connsiteX11" fmla="*/ 66675 w 695325"/>
                <a:gd name="connsiteY11" fmla="*/ 233363 h 785813"/>
                <a:gd name="connsiteX12" fmla="*/ 35719 w 695325"/>
                <a:gd name="connsiteY12" fmla="*/ 228600 h 785813"/>
                <a:gd name="connsiteX13" fmla="*/ 9525 w 695325"/>
                <a:gd name="connsiteY13" fmla="*/ 216694 h 785813"/>
                <a:gd name="connsiteX14" fmla="*/ 47625 w 695325"/>
                <a:gd name="connsiteY14" fmla="*/ 276225 h 785813"/>
                <a:gd name="connsiteX15" fmla="*/ 76200 w 695325"/>
                <a:gd name="connsiteY15" fmla="*/ 257175 h 785813"/>
                <a:gd name="connsiteX16" fmla="*/ 102394 w 695325"/>
                <a:gd name="connsiteY16" fmla="*/ 288132 h 785813"/>
                <a:gd name="connsiteX17" fmla="*/ 147638 w 695325"/>
                <a:gd name="connsiteY17" fmla="*/ 300038 h 785813"/>
                <a:gd name="connsiteX18" fmla="*/ 188119 w 695325"/>
                <a:gd name="connsiteY18" fmla="*/ 307182 h 785813"/>
                <a:gd name="connsiteX19" fmla="*/ 209550 w 695325"/>
                <a:gd name="connsiteY19" fmla="*/ 295275 h 785813"/>
                <a:gd name="connsiteX20" fmla="*/ 197644 w 695325"/>
                <a:gd name="connsiteY20" fmla="*/ 285750 h 785813"/>
                <a:gd name="connsiteX21" fmla="*/ 219075 w 695325"/>
                <a:gd name="connsiteY21" fmla="*/ 285750 h 785813"/>
                <a:gd name="connsiteX22" fmla="*/ 247650 w 695325"/>
                <a:gd name="connsiteY22" fmla="*/ 314325 h 785813"/>
                <a:gd name="connsiteX23" fmla="*/ 266700 w 695325"/>
                <a:gd name="connsiteY23" fmla="*/ 292894 h 785813"/>
                <a:gd name="connsiteX24" fmla="*/ 252413 w 695325"/>
                <a:gd name="connsiteY24" fmla="*/ 266700 h 785813"/>
                <a:gd name="connsiteX25" fmla="*/ 266700 w 695325"/>
                <a:gd name="connsiteY25" fmla="*/ 261938 h 785813"/>
                <a:gd name="connsiteX26" fmla="*/ 345281 w 695325"/>
                <a:gd name="connsiteY26" fmla="*/ 342900 h 785813"/>
                <a:gd name="connsiteX27" fmla="*/ 352425 w 695325"/>
                <a:gd name="connsiteY27" fmla="*/ 357188 h 785813"/>
                <a:gd name="connsiteX28" fmla="*/ 330994 w 695325"/>
                <a:gd name="connsiteY28" fmla="*/ 383382 h 785813"/>
                <a:gd name="connsiteX29" fmla="*/ 373856 w 695325"/>
                <a:gd name="connsiteY29" fmla="*/ 371475 h 785813"/>
                <a:gd name="connsiteX30" fmla="*/ 395288 w 695325"/>
                <a:gd name="connsiteY30" fmla="*/ 371475 h 785813"/>
                <a:gd name="connsiteX31" fmla="*/ 381000 w 695325"/>
                <a:gd name="connsiteY31" fmla="*/ 388144 h 785813"/>
                <a:gd name="connsiteX32" fmla="*/ 395288 w 695325"/>
                <a:gd name="connsiteY32" fmla="*/ 397669 h 785813"/>
                <a:gd name="connsiteX33" fmla="*/ 421481 w 695325"/>
                <a:gd name="connsiteY33" fmla="*/ 426244 h 785813"/>
                <a:gd name="connsiteX34" fmla="*/ 438150 w 695325"/>
                <a:gd name="connsiteY34" fmla="*/ 461963 h 785813"/>
                <a:gd name="connsiteX35" fmla="*/ 440531 w 695325"/>
                <a:gd name="connsiteY35" fmla="*/ 492919 h 785813"/>
                <a:gd name="connsiteX36" fmla="*/ 423863 w 695325"/>
                <a:gd name="connsiteY36" fmla="*/ 511969 h 785813"/>
                <a:gd name="connsiteX37" fmla="*/ 423863 w 695325"/>
                <a:gd name="connsiteY37" fmla="*/ 535782 h 785813"/>
                <a:gd name="connsiteX38" fmla="*/ 402431 w 695325"/>
                <a:gd name="connsiteY38" fmla="*/ 535782 h 785813"/>
                <a:gd name="connsiteX39" fmla="*/ 383381 w 695325"/>
                <a:gd name="connsiteY39" fmla="*/ 547688 h 785813"/>
                <a:gd name="connsiteX40" fmla="*/ 407194 w 695325"/>
                <a:gd name="connsiteY40" fmla="*/ 583407 h 785813"/>
                <a:gd name="connsiteX41" fmla="*/ 395288 w 695325"/>
                <a:gd name="connsiteY41" fmla="*/ 611982 h 785813"/>
                <a:gd name="connsiteX42" fmla="*/ 359569 w 695325"/>
                <a:gd name="connsiteY42" fmla="*/ 611982 h 785813"/>
                <a:gd name="connsiteX43" fmla="*/ 328613 w 695325"/>
                <a:gd name="connsiteY43" fmla="*/ 609600 h 785813"/>
                <a:gd name="connsiteX44" fmla="*/ 309563 w 695325"/>
                <a:gd name="connsiteY44" fmla="*/ 597694 h 785813"/>
                <a:gd name="connsiteX45" fmla="*/ 297656 w 695325"/>
                <a:gd name="connsiteY45" fmla="*/ 621507 h 785813"/>
                <a:gd name="connsiteX46" fmla="*/ 297656 w 695325"/>
                <a:gd name="connsiteY46" fmla="*/ 645319 h 785813"/>
                <a:gd name="connsiteX47" fmla="*/ 330994 w 695325"/>
                <a:gd name="connsiteY47" fmla="*/ 661988 h 785813"/>
                <a:gd name="connsiteX48" fmla="*/ 354806 w 695325"/>
                <a:gd name="connsiteY48" fmla="*/ 642938 h 785813"/>
                <a:gd name="connsiteX49" fmla="*/ 371475 w 695325"/>
                <a:gd name="connsiteY49" fmla="*/ 638175 h 785813"/>
                <a:gd name="connsiteX50" fmla="*/ 378619 w 695325"/>
                <a:gd name="connsiteY50" fmla="*/ 628650 h 785813"/>
                <a:gd name="connsiteX51" fmla="*/ 400050 w 695325"/>
                <a:gd name="connsiteY51" fmla="*/ 640557 h 785813"/>
                <a:gd name="connsiteX52" fmla="*/ 414338 w 695325"/>
                <a:gd name="connsiteY52" fmla="*/ 659607 h 785813"/>
                <a:gd name="connsiteX53" fmla="*/ 438150 w 695325"/>
                <a:gd name="connsiteY53" fmla="*/ 688182 h 785813"/>
                <a:gd name="connsiteX54" fmla="*/ 452438 w 695325"/>
                <a:gd name="connsiteY54" fmla="*/ 688182 h 785813"/>
                <a:gd name="connsiteX55" fmla="*/ 464344 w 695325"/>
                <a:gd name="connsiteY55" fmla="*/ 704850 h 785813"/>
                <a:gd name="connsiteX56" fmla="*/ 450056 w 695325"/>
                <a:gd name="connsiteY56" fmla="*/ 714375 h 785813"/>
                <a:gd name="connsiteX57" fmla="*/ 481013 w 695325"/>
                <a:gd name="connsiteY57" fmla="*/ 740569 h 785813"/>
                <a:gd name="connsiteX58" fmla="*/ 497681 w 695325"/>
                <a:gd name="connsiteY58" fmla="*/ 738188 h 785813"/>
                <a:gd name="connsiteX59" fmla="*/ 526256 w 695325"/>
                <a:gd name="connsiteY59" fmla="*/ 752475 h 785813"/>
                <a:gd name="connsiteX60" fmla="*/ 566738 w 695325"/>
                <a:gd name="connsiteY60" fmla="*/ 783432 h 785813"/>
                <a:gd name="connsiteX61" fmla="*/ 578644 w 695325"/>
                <a:gd name="connsiteY61" fmla="*/ 785813 h 785813"/>
                <a:gd name="connsiteX62" fmla="*/ 588169 w 695325"/>
                <a:gd name="connsiteY62" fmla="*/ 776288 h 785813"/>
                <a:gd name="connsiteX63" fmla="*/ 566738 w 695325"/>
                <a:gd name="connsiteY63" fmla="*/ 762000 h 785813"/>
                <a:gd name="connsiteX64" fmla="*/ 535781 w 695325"/>
                <a:gd name="connsiteY64" fmla="*/ 733425 h 785813"/>
                <a:gd name="connsiteX65" fmla="*/ 523875 w 695325"/>
                <a:gd name="connsiteY65" fmla="*/ 697707 h 785813"/>
                <a:gd name="connsiteX66" fmla="*/ 531019 w 695325"/>
                <a:gd name="connsiteY66" fmla="*/ 685800 h 785813"/>
                <a:gd name="connsiteX67" fmla="*/ 557213 w 695325"/>
                <a:gd name="connsiteY67" fmla="*/ 711994 h 785813"/>
                <a:gd name="connsiteX68" fmla="*/ 597694 w 695325"/>
                <a:gd name="connsiteY68" fmla="*/ 733425 h 785813"/>
                <a:gd name="connsiteX69" fmla="*/ 619125 w 695325"/>
                <a:gd name="connsiteY69" fmla="*/ 742950 h 785813"/>
                <a:gd name="connsiteX70" fmla="*/ 611981 w 695325"/>
                <a:gd name="connsiteY70" fmla="*/ 716757 h 785813"/>
                <a:gd name="connsiteX71" fmla="*/ 623888 w 695325"/>
                <a:gd name="connsiteY71" fmla="*/ 707232 h 785813"/>
                <a:gd name="connsiteX72" fmla="*/ 619125 w 695325"/>
                <a:gd name="connsiteY72" fmla="*/ 683419 h 785813"/>
                <a:gd name="connsiteX73" fmla="*/ 602456 w 695325"/>
                <a:gd name="connsiteY73" fmla="*/ 664369 h 785813"/>
                <a:gd name="connsiteX74" fmla="*/ 607219 w 695325"/>
                <a:gd name="connsiteY74" fmla="*/ 647700 h 785813"/>
                <a:gd name="connsiteX75" fmla="*/ 592931 w 695325"/>
                <a:gd name="connsiteY75" fmla="*/ 640557 h 785813"/>
                <a:gd name="connsiteX76" fmla="*/ 585788 w 695325"/>
                <a:gd name="connsiteY76" fmla="*/ 628650 h 785813"/>
                <a:gd name="connsiteX77" fmla="*/ 564356 w 695325"/>
                <a:gd name="connsiteY77" fmla="*/ 623888 h 785813"/>
                <a:gd name="connsiteX78" fmla="*/ 550069 w 695325"/>
                <a:gd name="connsiteY78" fmla="*/ 588169 h 785813"/>
                <a:gd name="connsiteX79" fmla="*/ 540544 w 695325"/>
                <a:gd name="connsiteY79" fmla="*/ 581025 h 785813"/>
                <a:gd name="connsiteX80" fmla="*/ 550069 w 695325"/>
                <a:gd name="connsiteY80" fmla="*/ 561975 h 785813"/>
                <a:gd name="connsiteX81" fmla="*/ 545306 w 695325"/>
                <a:gd name="connsiteY81" fmla="*/ 547688 h 785813"/>
                <a:gd name="connsiteX82" fmla="*/ 540544 w 695325"/>
                <a:gd name="connsiteY82" fmla="*/ 523875 h 785813"/>
                <a:gd name="connsiteX83" fmla="*/ 571500 w 695325"/>
                <a:gd name="connsiteY83" fmla="*/ 519113 h 785813"/>
                <a:gd name="connsiteX84" fmla="*/ 595313 w 695325"/>
                <a:gd name="connsiteY84" fmla="*/ 550069 h 785813"/>
                <a:gd name="connsiteX85" fmla="*/ 626269 w 695325"/>
                <a:gd name="connsiteY85" fmla="*/ 569119 h 785813"/>
                <a:gd name="connsiteX86" fmla="*/ 631031 w 695325"/>
                <a:gd name="connsiteY86" fmla="*/ 592932 h 785813"/>
                <a:gd name="connsiteX87" fmla="*/ 659606 w 695325"/>
                <a:gd name="connsiteY87" fmla="*/ 611982 h 785813"/>
                <a:gd name="connsiteX88" fmla="*/ 650081 w 695325"/>
                <a:gd name="connsiteY88" fmla="*/ 576263 h 785813"/>
                <a:gd name="connsiteX89" fmla="*/ 669131 w 695325"/>
                <a:gd name="connsiteY89" fmla="*/ 576263 h 785813"/>
                <a:gd name="connsiteX90" fmla="*/ 683419 w 695325"/>
                <a:gd name="connsiteY90" fmla="*/ 554832 h 785813"/>
                <a:gd name="connsiteX91" fmla="*/ 671513 w 695325"/>
                <a:gd name="connsiteY91" fmla="*/ 535782 h 785813"/>
                <a:gd name="connsiteX92" fmla="*/ 695325 w 695325"/>
                <a:gd name="connsiteY92" fmla="*/ 528638 h 785813"/>
                <a:gd name="connsiteX93" fmla="*/ 676275 w 695325"/>
                <a:gd name="connsiteY93" fmla="*/ 516732 h 785813"/>
                <a:gd name="connsiteX94" fmla="*/ 645319 w 695325"/>
                <a:gd name="connsiteY94" fmla="*/ 511969 h 785813"/>
                <a:gd name="connsiteX95" fmla="*/ 652463 w 695325"/>
                <a:gd name="connsiteY95" fmla="*/ 483394 h 785813"/>
                <a:gd name="connsiteX96" fmla="*/ 631031 w 695325"/>
                <a:gd name="connsiteY96" fmla="*/ 488157 h 785813"/>
                <a:gd name="connsiteX97" fmla="*/ 631031 w 695325"/>
                <a:gd name="connsiteY97" fmla="*/ 461963 h 785813"/>
                <a:gd name="connsiteX98" fmla="*/ 609600 w 695325"/>
                <a:gd name="connsiteY98" fmla="*/ 452438 h 785813"/>
                <a:gd name="connsiteX99" fmla="*/ 602456 w 695325"/>
                <a:gd name="connsiteY99" fmla="*/ 435769 h 785813"/>
                <a:gd name="connsiteX100" fmla="*/ 585788 w 695325"/>
                <a:gd name="connsiteY100" fmla="*/ 447675 h 785813"/>
                <a:gd name="connsiteX101" fmla="*/ 576263 w 695325"/>
                <a:gd name="connsiteY101" fmla="*/ 423863 h 785813"/>
                <a:gd name="connsiteX102" fmla="*/ 545306 w 695325"/>
                <a:gd name="connsiteY102" fmla="*/ 400050 h 785813"/>
                <a:gd name="connsiteX103" fmla="*/ 526256 w 695325"/>
                <a:gd name="connsiteY103" fmla="*/ 400050 h 785813"/>
                <a:gd name="connsiteX104" fmla="*/ 540544 w 695325"/>
                <a:gd name="connsiteY104" fmla="*/ 381000 h 785813"/>
                <a:gd name="connsiteX105" fmla="*/ 540544 w 695325"/>
                <a:gd name="connsiteY105" fmla="*/ 359569 h 785813"/>
                <a:gd name="connsiteX106" fmla="*/ 535781 w 695325"/>
                <a:gd name="connsiteY106" fmla="*/ 352425 h 785813"/>
                <a:gd name="connsiteX107" fmla="*/ 578644 w 695325"/>
                <a:gd name="connsiteY107" fmla="*/ 364332 h 785813"/>
                <a:gd name="connsiteX108" fmla="*/ 566738 w 695325"/>
                <a:gd name="connsiteY108" fmla="*/ 347663 h 785813"/>
                <a:gd name="connsiteX109" fmla="*/ 528638 w 695325"/>
                <a:gd name="connsiteY109" fmla="*/ 335757 h 785813"/>
                <a:gd name="connsiteX110" fmla="*/ 519113 w 695325"/>
                <a:gd name="connsiteY110" fmla="*/ 321469 h 785813"/>
                <a:gd name="connsiteX111" fmla="*/ 557213 w 695325"/>
                <a:gd name="connsiteY111" fmla="*/ 307182 h 785813"/>
                <a:gd name="connsiteX112" fmla="*/ 545306 w 695325"/>
                <a:gd name="connsiteY112" fmla="*/ 280988 h 785813"/>
                <a:gd name="connsiteX113" fmla="*/ 538163 w 695325"/>
                <a:gd name="connsiteY113" fmla="*/ 297657 h 785813"/>
                <a:gd name="connsiteX114" fmla="*/ 514350 w 695325"/>
                <a:gd name="connsiteY114" fmla="*/ 309563 h 785813"/>
                <a:gd name="connsiteX115" fmla="*/ 507206 w 695325"/>
                <a:gd name="connsiteY115" fmla="*/ 288132 h 785813"/>
                <a:gd name="connsiteX116" fmla="*/ 500063 w 695325"/>
                <a:gd name="connsiteY116" fmla="*/ 278607 h 785813"/>
                <a:gd name="connsiteX117" fmla="*/ 523875 w 695325"/>
                <a:gd name="connsiteY117" fmla="*/ 259557 h 785813"/>
                <a:gd name="connsiteX118" fmla="*/ 504825 w 695325"/>
                <a:gd name="connsiteY118" fmla="*/ 242888 h 785813"/>
                <a:gd name="connsiteX119" fmla="*/ 485775 w 695325"/>
                <a:gd name="connsiteY119" fmla="*/ 254794 h 785813"/>
                <a:gd name="connsiteX120" fmla="*/ 473869 w 695325"/>
                <a:gd name="connsiteY120" fmla="*/ 240507 h 785813"/>
                <a:gd name="connsiteX121" fmla="*/ 471488 w 695325"/>
                <a:gd name="connsiteY121" fmla="*/ 223838 h 785813"/>
                <a:gd name="connsiteX122" fmla="*/ 452438 w 695325"/>
                <a:gd name="connsiteY122" fmla="*/ 230982 h 785813"/>
                <a:gd name="connsiteX123" fmla="*/ 450056 w 695325"/>
                <a:gd name="connsiteY123" fmla="*/ 214313 h 785813"/>
                <a:gd name="connsiteX124" fmla="*/ 457200 w 695325"/>
                <a:gd name="connsiteY124" fmla="*/ 202407 h 785813"/>
                <a:gd name="connsiteX125" fmla="*/ 433388 w 695325"/>
                <a:gd name="connsiteY125" fmla="*/ 171450 h 785813"/>
                <a:gd name="connsiteX126" fmla="*/ 423863 w 695325"/>
                <a:gd name="connsiteY126" fmla="*/ 190500 h 785813"/>
                <a:gd name="connsiteX127" fmla="*/ 416719 w 695325"/>
                <a:gd name="connsiteY127" fmla="*/ 207169 h 785813"/>
                <a:gd name="connsiteX128" fmla="*/ 397669 w 695325"/>
                <a:gd name="connsiteY128" fmla="*/ 192882 h 785813"/>
                <a:gd name="connsiteX129" fmla="*/ 395288 w 695325"/>
                <a:gd name="connsiteY129" fmla="*/ 166688 h 785813"/>
                <a:gd name="connsiteX130" fmla="*/ 383381 w 695325"/>
                <a:gd name="connsiteY130" fmla="*/ 180975 h 785813"/>
                <a:gd name="connsiteX131" fmla="*/ 376238 w 695325"/>
                <a:gd name="connsiteY131" fmla="*/ 166688 h 785813"/>
                <a:gd name="connsiteX132" fmla="*/ 376238 w 695325"/>
                <a:gd name="connsiteY132" fmla="*/ 147638 h 785813"/>
                <a:gd name="connsiteX133" fmla="*/ 364331 w 695325"/>
                <a:gd name="connsiteY133" fmla="*/ 142875 h 785813"/>
                <a:gd name="connsiteX134" fmla="*/ 364331 w 695325"/>
                <a:gd name="connsiteY134" fmla="*/ 116682 h 785813"/>
                <a:gd name="connsiteX135" fmla="*/ 309563 w 695325"/>
                <a:gd name="connsiteY135" fmla="*/ 90488 h 785813"/>
                <a:gd name="connsiteX136" fmla="*/ 288131 w 695325"/>
                <a:gd name="connsiteY136" fmla="*/ 97632 h 785813"/>
                <a:gd name="connsiteX137" fmla="*/ 292894 w 695325"/>
                <a:gd name="connsiteY137" fmla="*/ 123825 h 785813"/>
                <a:gd name="connsiteX138" fmla="*/ 273844 w 695325"/>
                <a:gd name="connsiteY138" fmla="*/ 126207 h 785813"/>
                <a:gd name="connsiteX139" fmla="*/ 259556 w 695325"/>
                <a:gd name="connsiteY139" fmla="*/ 121444 h 785813"/>
                <a:gd name="connsiteX140" fmla="*/ 247650 w 695325"/>
                <a:gd name="connsiteY140" fmla="*/ 140494 h 785813"/>
                <a:gd name="connsiteX141" fmla="*/ 223838 w 695325"/>
                <a:gd name="connsiteY141" fmla="*/ 152400 h 785813"/>
                <a:gd name="connsiteX142" fmla="*/ 221456 w 695325"/>
                <a:gd name="connsiteY142" fmla="*/ 130969 h 785813"/>
                <a:gd name="connsiteX143" fmla="*/ 223838 w 695325"/>
                <a:gd name="connsiteY143" fmla="*/ 92869 h 785813"/>
                <a:gd name="connsiteX144" fmla="*/ 216694 w 695325"/>
                <a:gd name="connsiteY144" fmla="*/ 66675 h 785813"/>
                <a:gd name="connsiteX145" fmla="*/ 214313 w 695325"/>
                <a:gd name="connsiteY145" fmla="*/ 50007 h 785813"/>
                <a:gd name="connsiteX146" fmla="*/ 204788 w 695325"/>
                <a:gd name="connsiteY146" fmla="*/ 28575 h 785813"/>
                <a:gd name="connsiteX147" fmla="*/ 202406 w 695325"/>
                <a:gd name="connsiteY147" fmla="*/ 0 h 785813"/>
                <a:gd name="connsiteX148" fmla="*/ 183356 w 695325"/>
                <a:gd name="connsiteY148" fmla="*/ 7144 h 785813"/>
                <a:gd name="connsiteX149" fmla="*/ 109538 w 695325"/>
                <a:gd name="connsiteY149" fmla="*/ 0 h 785813"/>
                <a:gd name="connsiteX0" fmla="*/ 114300 w 695325"/>
                <a:gd name="connsiteY0" fmla="*/ 223837 h 785813"/>
                <a:gd name="connsiteX1" fmla="*/ 54769 w 695325"/>
                <a:gd name="connsiteY1" fmla="*/ 4763 h 785813"/>
                <a:gd name="connsiteX2" fmla="*/ 21431 w 695325"/>
                <a:gd name="connsiteY2" fmla="*/ 38100 h 785813"/>
                <a:gd name="connsiteX3" fmla="*/ 21431 w 695325"/>
                <a:gd name="connsiteY3" fmla="*/ 69057 h 785813"/>
                <a:gd name="connsiteX4" fmla="*/ 11906 w 695325"/>
                <a:gd name="connsiteY4" fmla="*/ 88107 h 785813"/>
                <a:gd name="connsiteX5" fmla="*/ 7144 w 695325"/>
                <a:gd name="connsiteY5" fmla="*/ 126207 h 785813"/>
                <a:gd name="connsiteX6" fmla="*/ 7144 w 695325"/>
                <a:gd name="connsiteY6" fmla="*/ 126207 h 785813"/>
                <a:gd name="connsiteX7" fmla="*/ 0 w 695325"/>
                <a:gd name="connsiteY7" fmla="*/ 145257 h 785813"/>
                <a:gd name="connsiteX8" fmla="*/ 0 w 695325"/>
                <a:gd name="connsiteY8" fmla="*/ 190500 h 785813"/>
                <a:gd name="connsiteX9" fmla="*/ 38100 w 695325"/>
                <a:gd name="connsiteY9" fmla="*/ 200025 h 785813"/>
                <a:gd name="connsiteX10" fmla="*/ 64294 w 695325"/>
                <a:gd name="connsiteY10" fmla="*/ 219075 h 785813"/>
                <a:gd name="connsiteX11" fmla="*/ 66675 w 695325"/>
                <a:gd name="connsiteY11" fmla="*/ 233363 h 785813"/>
                <a:gd name="connsiteX12" fmla="*/ 35719 w 695325"/>
                <a:gd name="connsiteY12" fmla="*/ 228600 h 785813"/>
                <a:gd name="connsiteX13" fmla="*/ 9525 w 695325"/>
                <a:gd name="connsiteY13" fmla="*/ 216694 h 785813"/>
                <a:gd name="connsiteX14" fmla="*/ 47625 w 695325"/>
                <a:gd name="connsiteY14" fmla="*/ 276225 h 785813"/>
                <a:gd name="connsiteX15" fmla="*/ 76200 w 695325"/>
                <a:gd name="connsiteY15" fmla="*/ 257175 h 785813"/>
                <a:gd name="connsiteX16" fmla="*/ 102394 w 695325"/>
                <a:gd name="connsiteY16" fmla="*/ 288132 h 785813"/>
                <a:gd name="connsiteX17" fmla="*/ 147638 w 695325"/>
                <a:gd name="connsiteY17" fmla="*/ 300038 h 785813"/>
                <a:gd name="connsiteX18" fmla="*/ 188119 w 695325"/>
                <a:gd name="connsiteY18" fmla="*/ 307182 h 785813"/>
                <a:gd name="connsiteX19" fmla="*/ 209550 w 695325"/>
                <a:gd name="connsiteY19" fmla="*/ 295275 h 785813"/>
                <a:gd name="connsiteX20" fmla="*/ 197644 w 695325"/>
                <a:gd name="connsiteY20" fmla="*/ 285750 h 785813"/>
                <a:gd name="connsiteX21" fmla="*/ 219075 w 695325"/>
                <a:gd name="connsiteY21" fmla="*/ 285750 h 785813"/>
                <a:gd name="connsiteX22" fmla="*/ 247650 w 695325"/>
                <a:gd name="connsiteY22" fmla="*/ 314325 h 785813"/>
                <a:gd name="connsiteX23" fmla="*/ 266700 w 695325"/>
                <a:gd name="connsiteY23" fmla="*/ 292894 h 785813"/>
                <a:gd name="connsiteX24" fmla="*/ 252413 w 695325"/>
                <a:gd name="connsiteY24" fmla="*/ 266700 h 785813"/>
                <a:gd name="connsiteX25" fmla="*/ 266700 w 695325"/>
                <a:gd name="connsiteY25" fmla="*/ 261938 h 785813"/>
                <a:gd name="connsiteX26" fmla="*/ 345281 w 695325"/>
                <a:gd name="connsiteY26" fmla="*/ 342900 h 785813"/>
                <a:gd name="connsiteX27" fmla="*/ 352425 w 695325"/>
                <a:gd name="connsiteY27" fmla="*/ 357188 h 785813"/>
                <a:gd name="connsiteX28" fmla="*/ 330994 w 695325"/>
                <a:gd name="connsiteY28" fmla="*/ 383382 h 785813"/>
                <a:gd name="connsiteX29" fmla="*/ 373856 w 695325"/>
                <a:gd name="connsiteY29" fmla="*/ 371475 h 785813"/>
                <a:gd name="connsiteX30" fmla="*/ 395288 w 695325"/>
                <a:gd name="connsiteY30" fmla="*/ 371475 h 785813"/>
                <a:gd name="connsiteX31" fmla="*/ 381000 w 695325"/>
                <a:gd name="connsiteY31" fmla="*/ 388144 h 785813"/>
                <a:gd name="connsiteX32" fmla="*/ 395288 w 695325"/>
                <a:gd name="connsiteY32" fmla="*/ 397669 h 785813"/>
                <a:gd name="connsiteX33" fmla="*/ 421481 w 695325"/>
                <a:gd name="connsiteY33" fmla="*/ 426244 h 785813"/>
                <a:gd name="connsiteX34" fmla="*/ 438150 w 695325"/>
                <a:gd name="connsiteY34" fmla="*/ 461963 h 785813"/>
                <a:gd name="connsiteX35" fmla="*/ 440531 w 695325"/>
                <a:gd name="connsiteY35" fmla="*/ 492919 h 785813"/>
                <a:gd name="connsiteX36" fmla="*/ 423863 w 695325"/>
                <a:gd name="connsiteY36" fmla="*/ 511969 h 785813"/>
                <a:gd name="connsiteX37" fmla="*/ 423863 w 695325"/>
                <a:gd name="connsiteY37" fmla="*/ 535782 h 785813"/>
                <a:gd name="connsiteX38" fmla="*/ 402431 w 695325"/>
                <a:gd name="connsiteY38" fmla="*/ 535782 h 785813"/>
                <a:gd name="connsiteX39" fmla="*/ 383381 w 695325"/>
                <a:gd name="connsiteY39" fmla="*/ 547688 h 785813"/>
                <a:gd name="connsiteX40" fmla="*/ 407194 w 695325"/>
                <a:gd name="connsiteY40" fmla="*/ 583407 h 785813"/>
                <a:gd name="connsiteX41" fmla="*/ 395288 w 695325"/>
                <a:gd name="connsiteY41" fmla="*/ 611982 h 785813"/>
                <a:gd name="connsiteX42" fmla="*/ 359569 w 695325"/>
                <a:gd name="connsiteY42" fmla="*/ 611982 h 785813"/>
                <a:gd name="connsiteX43" fmla="*/ 328613 w 695325"/>
                <a:gd name="connsiteY43" fmla="*/ 609600 h 785813"/>
                <a:gd name="connsiteX44" fmla="*/ 309563 w 695325"/>
                <a:gd name="connsiteY44" fmla="*/ 597694 h 785813"/>
                <a:gd name="connsiteX45" fmla="*/ 297656 w 695325"/>
                <a:gd name="connsiteY45" fmla="*/ 621507 h 785813"/>
                <a:gd name="connsiteX46" fmla="*/ 297656 w 695325"/>
                <a:gd name="connsiteY46" fmla="*/ 645319 h 785813"/>
                <a:gd name="connsiteX47" fmla="*/ 330994 w 695325"/>
                <a:gd name="connsiteY47" fmla="*/ 661988 h 785813"/>
                <a:gd name="connsiteX48" fmla="*/ 354806 w 695325"/>
                <a:gd name="connsiteY48" fmla="*/ 642938 h 785813"/>
                <a:gd name="connsiteX49" fmla="*/ 371475 w 695325"/>
                <a:gd name="connsiteY49" fmla="*/ 638175 h 785813"/>
                <a:gd name="connsiteX50" fmla="*/ 378619 w 695325"/>
                <a:gd name="connsiteY50" fmla="*/ 628650 h 785813"/>
                <a:gd name="connsiteX51" fmla="*/ 400050 w 695325"/>
                <a:gd name="connsiteY51" fmla="*/ 640557 h 785813"/>
                <a:gd name="connsiteX52" fmla="*/ 414338 w 695325"/>
                <a:gd name="connsiteY52" fmla="*/ 659607 h 785813"/>
                <a:gd name="connsiteX53" fmla="*/ 438150 w 695325"/>
                <a:gd name="connsiteY53" fmla="*/ 688182 h 785813"/>
                <a:gd name="connsiteX54" fmla="*/ 452438 w 695325"/>
                <a:gd name="connsiteY54" fmla="*/ 688182 h 785813"/>
                <a:gd name="connsiteX55" fmla="*/ 464344 w 695325"/>
                <a:gd name="connsiteY55" fmla="*/ 704850 h 785813"/>
                <a:gd name="connsiteX56" fmla="*/ 450056 w 695325"/>
                <a:gd name="connsiteY56" fmla="*/ 714375 h 785813"/>
                <a:gd name="connsiteX57" fmla="*/ 481013 w 695325"/>
                <a:gd name="connsiteY57" fmla="*/ 740569 h 785813"/>
                <a:gd name="connsiteX58" fmla="*/ 497681 w 695325"/>
                <a:gd name="connsiteY58" fmla="*/ 738188 h 785813"/>
                <a:gd name="connsiteX59" fmla="*/ 526256 w 695325"/>
                <a:gd name="connsiteY59" fmla="*/ 752475 h 785813"/>
                <a:gd name="connsiteX60" fmla="*/ 566738 w 695325"/>
                <a:gd name="connsiteY60" fmla="*/ 783432 h 785813"/>
                <a:gd name="connsiteX61" fmla="*/ 578644 w 695325"/>
                <a:gd name="connsiteY61" fmla="*/ 785813 h 785813"/>
                <a:gd name="connsiteX62" fmla="*/ 588169 w 695325"/>
                <a:gd name="connsiteY62" fmla="*/ 776288 h 785813"/>
                <a:gd name="connsiteX63" fmla="*/ 566738 w 695325"/>
                <a:gd name="connsiteY63" fmla="*/ 762000 h 785813"/>
                <a:gd name="connsiteX64" fmla="*/ 535781 w 695325"/>
                <a:gd name="connsiteY64" fmla="*/ 733425 h 785813"/>
                <a:gd name="connsiteX65" fmla="*/ 523875 w 695325"/>
                <a:gd name="connsiteY65" fmla="*/ 697707 h 785813"/>
                <a:gd name="connsiteX66" fmla="*/ 531019 w 695325"/>
                <a:gd name="connsiteY66" fmla="*/ 685800 h 785813"/>
                <a:gd name="connsiteX67" fmla="*/ 557213 w 695325"/>
                <a:gd name="connsiteY67" fmla="*/ 711994 h 785813"/>
                <a:gd name="connsiteX68" fmla="*/ 597694 w 695325"/>
                <a:gd name="connsiteY68" fmla="*/ 733425 h 785813"/>
                <a:gd name="connsiteX69" fmla="*/ 619125 w 695325"/>
                <a:gd name="connsiteY69" fmla="*/ 742950 h 785813"/>
                <a:gd name="connsiteX70" fmla="*/ 611981 w 695325"/>
                <a:gd name="connsiteY70" fmla="*/ 716757 h 785813"/>
                <a:gd name="connsiteX71" fmla="*/ 623888 w 695325"/>
                <a:gd name="connsiteY71" fmla="*/ 707232 h 785813"/>
                <a:gd name="connsiteX72" fmla="*/ 619125 w 695325"/>
                <a:gd name="connsiteY72" fmla="*/ 683419 h 785813"/>
                <a:gd name="connsiteX73" fmla="*/ 602456 w 695325"/>
                <a:gd name="connsiteY73" fmla="*/ 664369 h 785813"/>
                <a:gd name="connsiteX74" fmla="*/ 607219 w 695325"/>
                <a:gd name="connsiteY74" fmla="*/ 647700 h 785813"/>
                <a:gd name="connsiteX75" fmla="*/ 592931 w 695325"/>
                <a:gd name="connsiteY75" fmla="*/ 640557 h 785813"/>
                <a:gd name="connsiteX76" fmla="*/ 585788 w 695325"/>
                <a:gd name="connsiteY76" fmla="*/ 628650 h 785813"/>
                <a:gd name="connsiteX77" fmla="*/ 564356 w 695325"/>
                <a:gd name="connsiteY77" fmla="*/ 623888 h 785813"/>
                <a:gd name="connsiteX78" fmla="*/ 550069 w 695325"/>
                <a:gd name="connsiteY78" fmla="*/ 588169 h 785813"/>
                <a:gd name="connsiteX79" fmla="*/ 540544 w 695325"/>
                <a:gd name="connsiteY79" fmla="*/ 581025 h 785813"/>
                <a:gd name="connsiteX80" fmla="*/ 550069 w 695325"/>
                <a:gd name="connsiteY80" fmla="*/ 561975 h 785813"/>
                <a:gd name="connsiteX81" fmla="*/ 545306 w 695325"/>
                <a:gd name="connsiteY81" fmla="*/ 547688 h 785813"/>
                <a:gd name="connsiteX82" fmla="*/ 540544 w 695325"/>
                <a:gd name="connsiteY82" fmla="*/ 523875 h 785813"/>
                <a:gd name="connsiteX83" fmla="*/ 571500 w 695325"/>
                <a:gd name="connsiteY83" fmla="*/ 519113 h 785813"/>
                <a:gd name="connsiteX84" fmla="*/ 595313 w 695325"/>
                <a:gd name="connsiteY84" fmla="*/ 550069 h 785813"/>
                <a:gd name="connsiteX85" fmla="*/ 626269 w 695325"/>
                <a:gd name="connsiteY85" fmla="*/ 569119 h 785813"/>
                <a:gd name="connsiteX86" fmla="*/ 631031 w 695325"/>
                <a:gd name="connsiteY86" fmla="*/ 592932 h 785813"/>
                <a:gd name="connsiteX87" fmla="*/ 659606 w 695325"/>
                <a:gd name="connsiteY87" fmla="*/ 611982 h 785813"/>
                <a:gd name="connsiteX88" fmla="*/ 650081 w 695325"/>
                <a:gd name="connsiteY88" fmla="*/ 576263 h 785813"/>
                <a:gd name="connsiteX89" fmla="*/ 669131 w 695325"/>
                <a:gd name="connsiteY89" fmla="*/ 576263 h 785813"/>
                <a:gd name="connsiteX90" fmla="*/ 683419 w 695325"/>
                <a:gd name="connsiteY90" fmla="*/ 554832 h 785813"/>
                <a:gd name="connsiteX91" fmla="*/ 671513 w 695325"/>
                <a:gd name="connsiteY91" fmla="*/ 535782 h 785813"/>
                <a:gd name="connsiteX92" fmla="*/ 695325 w 695325"/>
                <a:gd name="connsiteY92" fmla="*/ 528638 h 785813"/>
                <a:gd name="connsiteX93" fmla="*/ 676275 w 695325"/>
                <a:gd name="connsiteY93" fmla="*/ 516732 h 785813"/>
                <a:gd name="connsiteX94" fmla="*/ 645319 w 695325"/>
                <a:gd name="connsiteY94" fmla="*/ 511969 h 785813"/>
                <a:gd name="connsiteX95" fmla="*/ 652463 w 695325"/>
                <a:gd name="connsiteY95" fmla="*/ 483394 h 785813"/>
                <a:gd name="connsiteX96" fmla="*/ 631031 w 695325"/>
                <a:gd name="connsiteY96" fmla="*/ 488157 h 785813"/>
                <a:gd name="connsiteX97" fmla="*/ 631031 w 695325"/>
                <a:gd name="connsiteY97" fmla="*/ 461963 h 785813"/>
                <a:gd name="connsiteX98" fmla="*/ 609600 w 695325"/>
                <a:gd name="connsiteY98" fmla="*/ 452438 h 785813"/>
                <a:gd name="connsiteX99" fmla="*/ 602456 w 695325"/>
                <a:gd name="connsiteY99" fmla="*/ 435769 h 785813"/>
                <a:gd name="connsiteX100" fmla="*/ 585788 w 695325"/>
                <a:gd name="connsiteY100" fmla="*/ 447675 h 785813"/>
                <a:gd name="connsiteX101" fmla="*/ 576263 w 695325"/>
                <a:gd name="connsiteY101" fmla="*/ 423863 h 785813"/>
                <a:gd name="connsiteX102" fmla="*/ 545306 w 695325"/>
                <a:gd name="connsiteY102" fmla="*/ 400050 h 785813"/>
                <a:gd name="connsiteX103" fmla="*/ 526256 w 695325"/>
                <a:gd name="connsiteY103" fmla="*/ 400050 h 785813"/>
                <a:gd name="connsiteX104" fmla="*/ 540544 w 695325"/>
                <a:gd name="connsiteY104" fmla="*/ 381000 h 785813"/>
                <a:gd name="connsiteX105" fmla="*/ 540544 w 695325"/>
                <a:gd name="connsiteY105" fmla="*/ 359569 h 785813"/>
                <a:gd name="connsiteX106" fmla="*/ 535781 w 695325"/>
                <a:gd name="connsiteY106" fmla="*/ 352425 h 785813"/>
                <a:gd name="connsiteX107" fmla="*/ 578644 w 695325"/>
                <a:gd name="connsiteY107" fmla="*/ 364332 h 785813"/>
                <a:gd name="connsiteX108" fmla="*/ 566738 w 695325"/>
                <a:gd name="connsiteY108" fmla="*/ 347663 h 785813"/>
                <a:gd name="connsiteX109" fmla="*/ 528638 w 695325"/>
                <a:gd name="connsiteY109" fmla="*/ 335757 h 785813"/>
                <a:gd name="connsiteX110" fmla="*/ 519113 w 695325"/>
                <a:gd name="connsiteY110" fmla="*/ 321469 h 785813"/>
                <a:gd name="connsiteX111" fmla="*/ 557213 w 695325"/>
                <a:gd name="connsiteY111" fmla="*/ 307182 h 785813"/>
                <a:gd name="connsiteX112" fmla="*/ 545306 w 695325"/>
                <a:gd name="connsiteY112" fmla="*/ 280988 h 785813"/>
                <a:gd name="connsiteX113" fmla="*/ 538163 w 695325"/>
                <a:gd name="connsiteY113" fmla="*/ 297657 h 785813"/>
                <a:gd name="connsiteX114" fmla="*/ 514350 w 695325"/>
                <a:gd name="connsiteY114" fmla="*/ 309563 h 785813"/>
                <a:gd name="connsiteX115" fmla="*/ 507206 w 695325"/>
                <a:gd name="connsiteY115" fmla="*/ 288132 h 785813"/>
                <a:gd name="connsiteX116" fmla="*/ 500063 w 695325"/>
                <a:gd name="connsiteY116" fmla="*/ 278607 h 785813"/>
                <a:gd name="connsiteX117" fmla="*/ 523875 w 695325"/>
                <a:gd name="connsiteY117" fmla="*/ 259557 h 785813"/>
                <a:gd name="connsiteX118" fmla="*/ 504825 w 695325"/>
                <a:gd name="connsiteY118" fmla="*/ 242888 h 785813"/>
                <a:gd name="connsiteX119" fmla="*/ 485775 w 695325"/>
                <a:gd name="connsiteY119" fmla="*/ 254794 h 785813"/>
                <a:gd name="connsiteX120" fmla="*/ 473869 w 695325"/>
                <a:gd name="connsiteY120" fmla="*/ 240507 h 785813"/>
                <a:gd name="connsiteX121" fmla="*/ 471488 w 695325"/>
                <a:gd name="connsiteY121" fmla="*/ 223838 h 785813"/>
                <a:gd name="connsiteX122" fmla="*/ 452438 w 695325"/>
                <a:gd name="connsiteY122" fmla="*/ 230982 h 785813"/>
                <a:gd name="connsiteX123" fmla="*/ 450056 w 695325"/>
                <a:gd name="connsiteY123" fmla="*/ 214313 h 785813"/>
                <a:gd name="connsiteX124" fmla="*/ 457200 w 695325"/>
                <a:gd name="connsiteY124" fmla="*/ 202407 h 785813"/>
                <a:gd name="connsiteX125" fmla="*/ 433388 w 695325"/>
                <a:gd name="connsiteY125" fmla="*/ 171450 h 785813"/>
                <a:gd name="connsiteX126" fmla="*/ 423863 w 695325"/>
                <a:gd name="connsiteY126" fmla="*/ 190500 h 785813"/>
                <a:gd name="connsiteX127" fmla="*/ 416719 w 695325"/>
                <a:gd name="connsiteY127" fmla="*/ 207169 h 785813"/>
                <a:gd name="connsiteX128" fmla="*/ 397669 w 695325"/>
                <a:gd name="connsiteY128" fmla="*/ 192882 h 785813"/>
                <a:gd name="connsiteX129" fmla="*/ 395288 w 695325"/>
                <a:gd name="connsiteY129" fmla="*/ 166688 h 785813"/>
                <a:gd name="connsiteX130" fmla="*/ 383381 w 695325"/>
                <a:gd name="connsiteY130" fmla="*/ 180975 h 785813"/>
                <a:gd name="connsiteX131" fmla="*/ 376238 w 695325"/>
                <a:gd name="connsiteY131" fmla="*/ 166688 h 785813"/>
                <a:gd name="connsiteX132" fmla="*/ 376238 w 695325"/>
                <a:gd name="connsiteY132" fmla="*/ 147638 h 785813"/>
                <a:gd name="connsiteX133" fmla="*/ 364331 w 695325"/>
                <a:gd name="connsiteY133" fmla="*/ 142875 h 785813"/>
                <a:gd name="connsiteX134" fmla="*/ 364331 w 695325"/>
                <a:gd name="connsiteY134" fmla="*/ 116682 h 785813"/>
                <a:gd name="connsiteX135" fmla="*/ 309563 w 695325"/>
                <a:gd name="connsiteY135" fmla="*/ 90488 h 785813"/>
                <a:gd name="connsiteX136" fmla="*/ 288131 w 695325"/>
                <a:gd name="connsiteY136" fmla="*/ 97632 h 785813"/>
                <a:gd name="connsiteX137" fmla="*/ 292894 w 695325"/>
                <a:gd name="connsiteY137" fmla="*/ 123825 h 785813"/>
                <a:gd name="connsiteX138" fmla="*/ 273844 w 695325"/>
                <a:gd name="connsiteY138" fmla="*/ 126207 h 785813"/>
                <a:gd name="connsiteX139" fmla="*/ 259556 w 695325"/>
                <a:gd name="connsiteY139" fmla="*/ 121444 h 785813"/>
                <a:gd name="connsiteX140" fmla="*/ 247650 w 695325"/>
                <a:gd name="connsiteY140" fmla="*/ 140494 h 785813"/>
                <a:gd name="connsiteX141" fmla="*/ 223838 w 695325"/>
                <a:gd name="connsiteY141" fmla="*/ 152400 h 785813"/>
                <a:gd name="connsiteX142" fmla="*/ 221456 w 695325"/>
                <a:gd name="connsiteY142" fmla="*/ 130969 h 785813"/>
                <a:gd name="connsiteX143" fmla="*/ 223838 w 695325"/>
                <a:gd name="connsiteY143" fmla="*/ 92869 h 785813"/>
                <a:gd name="connsiteX144" fmla="*/ 216694 w 695325"/>
                <a:gd name="connsiteY144" fmla="*/ 66675 h 785813"/>
                <a:gd name="connsiteX145" fmla="*/ 214313 w 695325"/>
                <a:gd name="connsiteY145" fmla="*/ 50007 h 785813"/>
                <a:gd name="connsiteX146" fmla="*/ 204788 w 695325"/>
                <a:gd name="connsiteY146" fmla="*/ 28575 h 785813"/>
                <a:gd name="connsiteX147" fmla="*/ 202406 w 695325"/>
                <a:gd name="connsiteY147" fmla="*/ 0 h 785813"/>
                <a:gd name="connsiteX148" fmla="*/ 183356 w 695325"/>
                <a:gd name="connsiteY148" fmla="*/ 7144 h 785813"/>
                <a:gd name="connsiteX149" fmla="*/ 114300 w 695325"/>
                <a:gd name="connsiteY149" fmla="*/ 223837 h 785813"/>
                <a:gd name="connsiteX0" fmla="*/ 114300 w 695325"/>
                <a:gd name="connsiteY0" fmla="*/ 223837 h 785813"/>
                <a:gd name="connsiteX1" fmla="*/ 54769 w 695325"/>
                <a:gd name="connsiteY1" fmla="*/ 4763 h 785813"/>
                <a:gd name="connsiteX2" fmla="*/ 21431 w 695325"/>
                <a:gd name="connsiteY2" fmla="*/ 38100 h 785813"/>
                <a:gd name="connsiteX3" fmla="*/ 21431 w 695325"/>
                <a:gd name="connsiteY3" fmla="*/ 69057 h 785813"/>
                <a:gd name="connsiteX4" fmla="*/ 11906 w 695325"/>
                <a:gd name="connsiteY4" fmla="*/ 88107 h 785813"/>
                <a:gd name="connsiteX5" fmla="*/ 7144 w 695325"/>
                <a:gd name="connsiteY5" fmla="*/ 126207 h 785813"/>
                <a:gd name="connsiteX6" fmla="*/ 7144 w 695325"/>
                <a:gd name="connsiteY6" fmla="*/ 126207 h 785813"/>
                <a:gd name="connsiteX7" fmla="*/ 0 w 695325"/>
                <a:gd name="connsiteY7" fmla="*/ 145257 h 785813"/>
                <a:gd name="connsiteX8" fmla="*/ 0 w 695325"/>
                <a:gd name="connsiteY8" fmla="*/ 190500 h 785813"/>
                <a:gd name="connsiteX9" fmla="*/ 38100 w 695325"/>
                <a:gd name="connsiteY9" fmla="*/ 200025 h 785813"/>
                <a:gd name="connsiteX10" fmla="*/ 64294 w 695325"/>
                <a:gd name="connsiteY10" fmla="*/ 219075 h 785813"/>
                <a:gd name="connsiteX11" fmla="*/ 66675 w 695325"/>
                <a:gd name="connsiteY11" fmla="*/ 233363 h 785813"/>
                <a:gd name="connsiteX12" fmla="*/ 35719 w 695325"/>
                <a:gd name="connsiteY12" fmla="*/ 228600 h 785813"/>
                <a:gd name="connsiteX13" fmla="*/ 9525 w 695325"/>
                <a:gd name="connsiteY13" fmla="*/ 216694 h 785813"/>
                <a:gd name="connsiteX14" fmla="*/ 47625 w 695325"/>
                <a:gd name="connsiteY14" fmla="*/ 276225 h 785813"/>
                <a:gd name="connsiteX15" fmla="*/ 76200 w 695325"/>
                <a:gd name="connsiteY15" fmla="*/ 257175 h 785813"/>
                <a:gd name="connsiteX16" fmla="*/ 102394 w 695325"/>
                <a:gd name="connsiteY16" fmla="*/ 288132 h 785813"/>
                <a:gd name="connsiteX17" fmla="*/ 147638 w 695325"/>
                <a:gd name="connsiteY17" fmla="*/ 300038 h 785813"/>
                <a:gd name="connsiteX18" fmla="*/ 188119 w 695325"/>
                <a:gd name="connsiteY18" fmla="*/ 307182 h 785813"/>
                <a:gd name="connsiteX19" fmla="*/ 209550 w 695325"/>
                <a:gd name="connsiteY19" fmla="*/ 295275 h 785813"/>
                <a:gd name="connsiteX20" fmla="*/ 197644 w 695325"/>
                <a:gd name="connsiteY20" fmla="*/ 285750 h 785813"/>
                <a:gd name="connsiteX21" fmla="*/ 219075 w 695325"/>
                <a:gd name="connsiteY21" fmla="*/ 285750 h 785813"/>
                <a:gd name="connsiteX22" fmla="*/ 247650 w 695325"/>
                <a:gd name="connsiteY22" fmla="*/ 314325 h 785813"/>
                <a:gd name="connsiteX23" fmla="*/ 266700 w 695325"/>
                <a:gd name="connsiteY23" fmla="*/ 292894 h 785813"/>
                <a:gd name="connsiteX24" fmla="*/ 252413 w 695325"/>
                <a:gd name="connsiteY24" fmla="*/ 266700 h 785813"/>
                <a:gd name="connsiteX25" fmla="*/ 266700 w 695325"/>
                <a:gd name="connsiteY25" fmla="*/ 261938 h 785813"/>
                <a:gd name="connsiteX26" fmla="*/ 345281 w 695325"/>
                <a:gd name="connsiteY26" fmla="*/ 342900 h 785813"/>
                <a:gd name="connsiteX27" fmla="*/ 352425 w 695325"/>
                <a:gd name="connsiteY27" fmla="*/ 357188 h 785813"/>
                <a:gd name="connsiteX28" fmla="*/ 330994 w 695325"/>
                <a:gd name="connsiteY28" fmla="*/ 383382 h 785813"/>
                <a:gd name="connsiteX29" fmla="*/ 373856 w 695325"/>
                <a:gd name="connsiteY29" fmla="*/ 371475 h 785813"/>
                <a:gd name="connsiteX30" fmla="*/ 395288 w 695325"/>
                <a:gd name="connsiteY30" fmla="*/ 371475 h 785813"/>
                <a:gd name="connsiteX31" fmla="*/ 381000 w 695325"/>
                <a:gd name="connsiteY31" fmla="*/ 388144 h 785813"/>
                <a:gd name="connsiteX32" fmla="*/ 395288 w 695325"/>
                <a:gd name="connsiteY32" fmla="*/ 397669 h 785813"/>
                <a:gd name="connsiteX33" fmla="*/ 421481 w 695325"/>
                <a:gd name="connsiteY33" fmla="*/ 426244 h 785813"/>
                <a:gd name="connsiteX34" fmla="*/ 438150 w 695325"/>
                <a:gd name="connsiteY34" fmla="*/ 461963 h 785813"/>
                <a:gd name="connsiteX35" fmla="*/ 440531 w 695325"/>
                <a:gd name="connsiteY35" fmla="*/ 492919 h 785813"/>
                <a:gd name="connsiteX36" fmla="*/ 423863 w 695325"/>
                <a:gd name="connsiteY36" fmla="*/ 511969 h 785813"/>
                <a:gd name="connsiteX37" fmla="*/ 423863 w 695325"/>
                <a:gd name="connsiteY37" fmla="*/ 535782 h 785813"/>
                <a:gd name="connsiteX38" fmla="*/ 402431 w 695325"/>
                <a:gd name="connsiteY38" fmla="*/ 535782 h 785813"/>
                <a:gd name="connsiteX39" fmla="*/ 383381 w 695325"/>
                <a:gd name="connsiteY39" fmla="*/ 547688 h 785813"/>
                <a:gd name="connsiteX40" fmla="*/ 407194 w 695325"/>
                <a:gd name="connsiteY40" fmla="*/ 583407 h 785813"/>
                <a:gd name="connsiteX41" fmla="*/ 395288 w 695325"/>
                <a:gd name="connsiteY41" fmla="*/ 611982 h 785813"/>
                <a:gd name="connsiteX42" fmla="*/ 359569 w 695325"/>
                <a:gd name="connsiteY42" fmla="*/ 611982 h 785813"/>
                <a:gd name="connsiteX43" fmla="*/ 328613 w 695325"/>
                <a:gd name="connsiteY43" fmla="*/ 609600 h 785813"/>
                <a:gd name="connsiteX44" fmla="*/ 309563 w 695325"/>
                <a:gd name="connsiteY44" fmla="*/ 597694 h 785813"/>
                <a:gd name="connsiteX45" fmla="*/ 297656 w 695325"/>
                <a:gd name="connsiteY45" fmla="*/ 621507 h 785813"/>
                <a:gd name="connsiteX46" fmla="*/ 297656 w 695325"/>
                <a:gd name="connsiteY46" fmla="*/ 645319 h 785813"/>
                <a:gd name="connsiteX47" fmla="*/ 330994 w 695325"/>
                <a:gd name="connsiteY47" fmla="*/ 661988 h 785813"/>
                <a:gd name="connsiteX48" fmla="*/ 354806 w 695325"/>
                <a:gd name="connsiteY48" fmla="*/ 642938 h 785813"/>
                <a:gd name="connsiteX49" fmla="*/ 371475 w 695325"/>
                <a:gd name="connsiteY49" fmla="*/ 638175 h 785813"/>
                <a:gd name="connsiteX50" fmla="*/ 378619 w 695325"/>
                <a:gd name="connsiteY50" fmla="*/ 628650 h 785813"/>
                <a:gd name="connsiteX51" fmla="*/ 400050 w 695325"/>
                <a:gd name="connsiteY51" fmla="*/ 640557 h 785813"/>
                <a:gd name="connsiteX52" fmla="*/ 414338 w 695325"/>
                <a:gd name="connsiteY52" fmla="*/ 659607 h 785813"/>
                <a:gd name="connsiteX53" fmla="*/ 438150 w 695325"/>
                <a:gd name="connsiteY53" fmla="*/ 688182 h 785813"/>
                <a:gd name="connsiteX54" fmla="*/ 452438 w 695325"/>
                <a:gd name="connsiteY54" fmla="*/ 688182 h 785813"/>
                <a:gd name="connsiteX55" fmla="*/ 464344 w 695325"/>
                <a:gd name="connsiteY55" fmla="*/ 704850 h 785813"/>
                <a:gd name="connsiteX56" fmla="*/ 450056 w 695325"/>
                <a:gd name="connsiteY56" fmla="*/ 714375 h 785813"/>
                <a:gd name="connsiteX57" fmla="*/ 481013 w 695325"/>
                <a:gd name="connsiteY57" fmla="*/ 740569 h 785813"/>
                <a:gd name="connsiteX58" fmla="*/ 497681 w 695325"/>
                <a:gd name="connsiteY58" fmla="*/ 738188 h 785813"/>
                <a:gd name="connsiteX59" fmla="*/ 526256 w 695325"/>
                <a:gd name="connsiteY59" fmla="*/ 752475 h 785813"/>
                <a:gd name="connsiteX60" fmla="*/ 566738 w 695325"/>
                <a:gd name="connsiteY60" fmla="*/ 783432 h 785813"/>
                <a:gd name="connsiteX61" fmla="*/ 578644 w 695325"/>
                <a:gd name="connsiteY61" fmla="*/ 785813 h 785813"/>
                <a:gd name="connsiteX62" fmla="*/ 588169 w 695325"/>
                <a:gd name="connsiteY62" fmla="*/ 776288 h 785813"/>
                <a:gd name="connsiteX63" fmla="*/ 566738 w 695325"/>
                <a:gd name="connsiteY63" fmla="*/ 762000 h 785813"/>
                <a:gd name="connsiteX64" fmla="*/ 535781 w 695325"/>
                <a:gd name="connsiteY64" fmla="*/ 733425 h 785813"/>
                <a:gd name="connsiteX65" fmla="*/ 523875 w 695325"/>
                <a:gd name="connsiteY65" fmla="*/ 697707 h 785813"/>
                <a:gd name="connsiteX66" fmla="*/ 531019 w 695325"/>
                <a:gd name="connsiteY66" fmla="*/ 685800 h 785813"/>
                <a:gd name="connsiteX67" fmla="*/ 557213 w 695325"/>
                <a:gd name="connsiteY67" fmla="*/ 711994 h 785813"/>
                <a:gd name="connsiteX68" fmla="*/ 597694 w 695325"/>
                <a:gd name="connsiteY68" fmla="*/ 733425 h 785813"/>
                <a:gd name="connsiteX69" fmla="*/ 619125 w 695325"/>
                <a:gd name="connsiteY69" fmla="*/ 742950 h 785813"/>
                <a:gd name="connsiteX70" fmla="*/ 611981 w 695325"/>
                <a:gd name="connsiteY70" fmla="*/ 716757 h 785813"/>
                <a:gd name="connsiteX71" fmla="*/ 623888 w 695325"/>
                <a:gd name="connsiteY71" fmla="*/ 707232 h 785813"/>
                <a:gd name="connsiteX72" fmla="*/ 619125 w 695325"/>
                <a:gd name="connsiteY72" fmla="*/ 683419 h 785813"/>
                <a:gd name="connsiteX73" fmla="*/ 602456 w 695325"/>
                <a:gd name="connsiteY73" fmla="*/ 664369 h 785813"/>
                <a:gd name="connsiteX74" fmla="*/ 607219 w 695325"/>
                <a:gd name="connsiteY74" fmla="*/ 647700 h 785813"/>
                <a:gd name="connsiteX75" fmla="*/ 592931 w 695325"/>
                <a:gd name="connsiteY75" fmla="*/ 640557 h 785813"/>
                <a:gd name="connsiteX76" fmla="*/ 585788 w 695325"/>
                <a:gd name="connsiteY76" fmla="*/ 628650 h 785813"/>
                <a:gd name="connsiteX77" fmla="*/ 564356 w 695325"/>
                <a:gd name="connsiteY77" fmla="*/ 623888 h 785813"/>
                <a:gd name="connsiteX78" fmla="*/ 550069 w 695325"/>
                <a:gd name="connsiteY78" fmla="*/ 588169 h 785813"/>
                <a:gd name="connsiteX79" fmla="*/ 540544 w 695325"/>
                <a:gd name="connsiteY79" fmla="*/ 581025 h 785813"/>
                <a:gd name="connsiteX80" fmla="*/ 550069 w 695325"/>
                <a:gd name="connsiteY80" fmla="*/ 561975 h 785813"/>
                <a:gd name="connsiteX81" fmla="*/ 545306 w 695325"/>
                <a:gd name="connsiteY81" fmla="*/ 547688 h 785813"/>
                <a:gd name="connsiteX82" fmla="*/ 540544 w 695325"/>
                <a:gd name="connsiteY82" fmla="*/ 523875 h 785813"/>
                <a:gd name="connsiteX83" fmla="*/ 571500 w 695325"/>
                <a:gd name="connsiteY83" fmla="*/ 519113 h 785813"/>
                <a:gd name="connsiteX84" fmla="*/ 595313 w 695325"/>
                <a:gd name="connsiteY84" fmla="*/ 550069 h 785813"/>
                <a:gd name="connsiteX85" fmla="*/ 626269 w 695325"/>
                <a:gd name="connsiteY85" fmla="*/ 569119 h 785813"/>
                <a:gd name="connsiteX86" fmla="*/ 631031 w 695325"/>
                <a:gd name="connsiteY86" fmla="*/ 592932 h 785813"/>
                <a:gd name="connsiteX87" fmla="*/ 659606 w 695325"/>
                <a:gd name="connsiteY87" fmla="*/ 611982 h 785813"/>
                <a:gd name="connsiteX88" fmla="*/ 650081 w 695325"/>
                <a:gd name="connsiteY88" fmla="*/ 576263 h 785813"/>
                <a:gd name="connsiteX89" fmla="*/ 669131 w 695325"/>
                <a:gd name="connsiteY89" fmla="*/ 576263 h 785813"/>
                <a:gd name="connsiteX90" fmla="*/ 683419 w 695325"/>
                <a:gd name="connsiteY90" fmla="*/ 554832 h 785813"/>
                <a:gd name="connsiteX91" fmla="*/ 671513 w 695325"/>
                <a:gd name="connsiteY91" fmla="*/ 535782 h 785813"/>
                <a:gd name="connsiteX92" fmla="*/ 695325 w 695325"/>
                <a:gd name="connsiteY92" fmla="*/ 528638 h 785813"/>
                <a:gd name="connsiteX93" fmla="*/ 676275 w 695325"/>
                <a:gd name="connsiteY93" fmla="*/ 516732 h 785813"/>
                <a:gd name="connsiteX94" fmla="*/ 645319 w 695325"/>
                <a:gd name="connsiteY94" fmla="*/ 511969 h 785813"/>
                <a:gd name="connsiteX95" fmla="*/ 652463 w 695325"/>
                <a:gd name="connsiteY95" fmla="*/ 483394 h 785813"/>
                <a:gd name="connsiteX96" fmla="*/ 631031 w 695325"/>
                <a:gd name="connsiteY96" fmla="*/ 488157 h 785813"/>
                <a:gd name="connsiteX97" fmla="*/ 631031 w 695325"/>
                <a:gd name="connsiteY97" fmla="*/ 461963 h 785813"/>
                <a:gd name="connsiteX98" fmla="*/ 609600 w 695325"/>
                <a:gd name="connsiteY98" fmla="*/ 452438 h 785813"/>
                <a:gd name="connsiteX99" fmla="*/ 602456 w 695325"/>
                <a:gd name="connsiteY99" fmla="*/ 435769 h 785813"/>
                <a:gd name="connsiteX100" fmla="*/ 585788 w 695325"/>
                <a:gd name="connsiteY100" fmla="*/ 447675 h 785813"/>
                <a:gd name="connsiteX101" fmla="*/ 576263 w 695325"/>
                <a:gd name="connsiteY101" fmla="*/ 423863 h 785813"/>
                <a:gd name="connsiteX102" fmla="*/ 545306 w 695325"/>
                <a:gd name="connsiteY102" fmla="*/ 400050 h 785813"/>
                <a:gd name="connsiteX103" fmla="*/ 526256 w 695325"/>
                <a:gd name="connsiteY103" fmla="*/ 400050 h 785813"/>
                <a:gd name="connsiteX104" fmla="*/ 540544 w 695325"/>
                <a:gd name="connsiteY104" fmla="*/ 381000 h 785813"/>
                <a:gd name="connsiteX105" fmla="*/ 540544 w 695325"/>
                <a:gd name="connsiteY105" fmla="*/ 359569 h 785813"/>
                <a:gd name="connsiteX106" fmla="*/ 535781 w 695325"/>
                <a:gd name="connsiteY106" fmla="*/ 352425 h 785813"/>
                <a:gd name="connsiteX107" fmla="*/ 578644 w 695325"/>
                <a:gd name="connsiteY107" fmla="*/ 364332 h 785813"/>
                <a:gd name="connsiteX108" fmla="*/ 566738 w 695325"/>
                <a:gd name="connsiteY108" fmla="*/ 347663 h 785813"/>
                <a:gd name="connsiteX109" fmla="*/ 528638 w 695325"/>
                <a:gd name="connsiteY109" fmla="*/ 335757 h 785813"/>
                <a:gd name="connsiteX110" fmla="*/ 519113 w 695325"/>
                <a:gd name="connsiteY110" fmla="*/ 321469 h 785813"/>
                <a:gd name="connsiteX111" fmla="*/ 557213 w 695325"/>
                <a:gd name="connsiteY111" fmla="*/ 307182 h 785813"/>
                <a:gd name="connsiteX112" fmla="*/ 545306 w 695325"/>
                <a:gd name="connsiteY112" fmla="*/ 280988 h 785813"/>
                <a:gd name="connsiteX113" fmla="*/ 538163 w 695325"/>
                <a:gd name="connsiteY113" fmla="*/ 297657 h 785813"/>
                <a:gd name="connsiteX114" fmla="*/ 514350 w 695325"/>
                <a:gd name="connsiteY114" fmla="*/ 309563 h 785813"/>
                <a:gd name="connsiteX115" fmla="*/ 507206 w 695325"/>
                <a:gd name="connsiteY115" fmla="*/ 288132 h 785813"/>
                <a:gd name="connsiteX116" fmla="*/ 500063 w 695325"/>
                <a:gd name="connsiteY116" fmla="*/ 278607 h 785813"/>
                <a:gd name="connsiteX117" fmla="*/ 523875 w 695325"/>
                <a:gd name="connsiteY117" fmla="*/ 259557 h 785813"/>
                <a:gd name="connsiteX118" fmla="*/ 504825 w 695325"/>
                <a:gd name="connsiteY118" fmla="*/ 242888 h 785813"/>
                <a:gd name="connsiteX119" fmla="*/ 485775 w 695325"/>
                <a:gd name="connsiteY119" fmla="*/ 254794 h 785813"/>
                <a:gd name="connsiteX120" fmla="*/ 473869 w 695325"/>
                <a:gd name="connsiteY120" fmla="*/ 240507 h 785813"/>
                <a:gd name="connsiteX121" fmla="*/ 471488 w 695325"/>
                <a:gd name="connsiteY121" fmla="*/ 223838 h 785813"/>
                <a:gd name="connsiteX122" fmla="*/ 452438 w 695325"/>
                <a:gd name="connsiteY122" fmla="*/ 230982 h 785813"/>
                <a:gd name="connsiteX123" fmla="*/ 450056 w 695325"/>
                <a:gd name="connsiteY123" fmla="*/ 214313 h 785813"/>
                <a:gd name="connsiteX124" fmla="*/ 457200 w 695325"/>
                <a:gd name="connsiteY124" fmla="*/ 202407 h 785813"/>
                <a:gd name="connsiteX125" fmla="*/ 433388 w 695325"/>
                <a:gd name="connsiteY125" fmla="*/ 171450 h 785813"/>
                <a:gd name="connsiteX126" fmla="*/ 423863 w 695325"/>
                <a:gd name="connsiteY126" fmla="*/ 190500 h 785813"/>
                <a:gd name="connsiteX127" fmla="*/ 416719 w 695325"/>
                <a:gd name="connsiteY127" fmla="*/ 207169 h 785813"/>
                <a:gd name="connsiteX128" fmla="*/ 397669 w 695325"/>
                <a:gd name="connsiteY128" fmla="*/ 192882 h 785813"/>
                <a:gd name="connsiteX129" fmla="*/ 395288 w 695325"/>
                <a:gd name="connsiteY129" fmla="*/ 166688 h 785813"/>
                <a:gd name="connsiteX130" fmla="*/ 383381 w 695325"/>
                <a:gd name="connsiteY130" fmla="*/ 180975 h 785813"/>
                <a:gd name="connsiteX131" fmla="*/ 376238 w 695325"/>
                <a:gd name="connsiteY131" fmla="*/ 166688 h 785813"/>
                <a:gd name="connsiteX132" fmla="*/ 376238 w 695325"/>
                <a:gd name="connsiteY132" fmla="*/ 147638 h 785813"/>
                <a:gd name="connsiteX133" fmla="*/ 364331 w 695325"/>
                <a:gd name="connsiteY133" fmla="*/ 142875 h 785813"/>
                <a:gd name="connsiteX134" fmla="*/ 364331 w 695325"/>
                <a:gd name="connsiteY134" fmla="*/ 116682 h 785813"/>
                <a:gd name="connsiteX135" fmla="*/ 309563 w 695325"/>
                <a:gd name="connsiteY135" fmla="*/ 90488 h 785813"/>
                <a:gd name="connsiteX136" fmla="*/ 288131 w 695325"/>
                <a:gd name="connsiteY136" fmla="*/ 97632 h 785813"/>
                <a:gd name="connsiteX137" fmla="*/ 292894 w 695325"/>
                <a:gd name="connsiteY137" fmla="*/ 123825 h 785813"/>
                <a:gd name="connsiteX138" fmla="*/ 273844 w 695325"/>
                <a:gd name="connsiteY138" fmla="*/ 126207 h 785813"/>
                <a:gd name="connsiteX139" fmla="*/ 259556 w 695325"/>
                <a:gd name="connsiteY139" fmla="*/ 121444 h 785813"/>
                <a:gd name="connsiteX140" fmla="*/ 247650 w 695325"/>
                <a:gd name="connsiteY140" fmla="*/ 140494 h 785813"/>
                <a:gd name="connsiteX141" fmla="*/ 223838 w 695325"/>
                <a:gd name="connsiteY141" fmla="*/ 152400 h 785813"/>
                <a:gd name="connsiteX142" fmla="*/ 221456 w 695325"/>
                <a:gd name="connsiteY142" fmla="*/ 130969 h 785813"/>
                <a:gd name="connsiteX143" fmla="*/ 223838 w 695325"/>
                <a:gd name="connsiteY143" fmla="*/ 92869 h 785813"/>
                <a:gd name="connsiteX144" fmla="*/ 216694 w 695325"/>
                <a:gd name="connsiteY144" fmla="*/ 66675 h 785813"/>
                <a:gd name="connsiteX145" fmla="*/ 214313 w 695325"/>
                <a:gd name="connsiteY145" fmla="*/ 50007 h 785813"/>
                <a:gd name="connsiteX146" fmla="*/ 204788 w 695325"/>
                <a:gd name="connsiteY146" fmla="*/ 28575 h 785813"/>
                <a:gd name="connsiteX147" fmla="*/ 202406 w 695325"/>
                <a:gd name="connsiteY147" fmla="*/ 0 h 785813"/>
                <a:gd name="connsiteX148" fmla="*/ 183356 w 695325"/>
                <a:gd name="connsiteY148" fmla="*/ 7144 h 785813"/>
                <a:gd name="connsiteX149" fmla="*/ 169069 w 695325"/>
                <a:gd name="connsiteY149" fmla="*/ 52388 h 785813"/>
                <a:gd name="connsiteX150" fmla="*/ 114300 w 695325"/>
                <a:gd name="connsiteY150" fmla="*/ 223837 h 785813"/>
                <a:gd name="connsiteX0" fmla="*/ 114300 w 695325"/>
                <a:gd name="connsiteY0" fmla="*/ 223837 h 785813"/>
                <a:gd name="connsiteX1" fmla="*/ 54769 w 695325"/>
                <a:gd name="connsiteY1" fmla="*/ 4763 h 785813"/>
                <a:gd name="connsiteX2" fmla="*/ 21431 w 695325"/>
                <a:gd name="connsiteY2" fmla="*/ 38100 h 785813"/>
                <a:gd name="connsiteX3" fmla="*/ 21431 w 695325"/>
                <a:gd name="connsiteY3" fmla="*/ 69057 h 785813"/>
                <a:gd name="connsiteX4" fmla="*/ 11906 w 695325"/>
                <a:gd name="connsiteY4" fmla="*/ 88107 h 785813"/>
                <a:gd name="connsiteX5" fmla="*/ 7144 w 695325"/>
                <a:gd name="connsiteY5" fmla="*/ 126207 h 785813"/>
                <a:gd name="connsiteX6" fmla="*/ 7144 w 695325"/>
                <a:gd name="connsiteY6" fmla="*/ 126207 h 785813"/>
                <a:gd name="connsiteX7" fmla="*/ 0 w 695325"/>
                <a:gd name="connsiteY7" fmla="*/ 145257 h 785813"/>
                <a:gd name="connsiteX8" fmla="*/ 0 w 695325"/>
                <a:gd name="connsiteY8" fmla="*/ 190500 h 785813"/>
                <a:gd name="connsiteX9" fmla="*/ 38100 w 695325"/>
                <a:gd name="connsiteY9" fmla="*/ 200025 h 785813"/>
                <a:gd name="connsiteX10" fmla="*/ 64294 w 695325"/>
                <a:gd name="connsiteY10" fmla="*/ 219075 h 785813"/>
                <a:gd name="connsiteX11" fmla="*/ 66675 w 695325"/>
                <a:gd name="connsiteY11" fmla="*/ 233363 h 785813"/>
                <a:gd name="connsiteX12" fmla="*/ 35719 w 695325"/>
                <a:gd name="connsiteY12" fmla="*/ 228600 h 785813"/>
                <a:gd name="connsiteX13" fmla="*/ 9525 w 695325"/>
                <a:gd name="connsiteY13" fmla="*/ 216694 h 785813"/>
                <a:gd name="connsiteX14" fmla="*/ 47625 w 695325"/>
                <a:gd name="connsiteY14" fmla="*/ 276225 h 785813"/>
                <a:gd name="connsiteX15" fmla="*/ 76200 w 695325"/>
                <a:gd name="connsiteY15" fmla="*/ 257175 h 785813"/>
                <a:gd name="connsiteX16" fmla="*/ 102394 w 695325"/>
                <a:gd name="connsiteY16" fmla="*/ 288132 h 785813"/>
                <a:gd name="connsiteX17" fmla="*/ 147638 w 695325"/>
                <a:gd name="connsiteY17" fmla="*/ 300038 h 785813"/>
                <a:gd name="connsiteX18" fmla="*/ 188119 w 695325"/>
                <a:gd name="connsiteY18" fmla="*/ 307182 h 785813"/>
                <a:gd name="connsiteX19" fmla="*/ 209550 w 695325"/>
                <a:gd name="connsiteY19" fmla="*/ 295275 h 785813"/>
                <a:gd name="connsiteX20" fmla="*/ 197644 w 695325"/>
                <a:gd name="connsiteY20" fmla="*/ 285750 h 785813"/>
                <a:gd name="connsiteX21" fmla="*/ 219075 w 695325"/>
                <a:gd name="connsiteY21" fmla="*/ 285750 h 785813"/>
                <a:gd name="connsiteX22" fmla="*/ 247650 w 695325"/>
                <a:gd name="connsiteY22" fmla="*/ 314325 h 785813"/>
                <a:gd name="connsiteX23" fmla="*/ 266700 w 695325"/>
                <a:gd name="connsiteY23" fmla="*/ 292894 h 785813"/>
                <a:gd name="connsiteX24" fmla="*/ 252413 w 695325"/>
                <a:gd name="connsiteY24" fmla="*/ 266700 h 785813"/>
                <a:gd name="connsiteX25" fmla="*/ 266700 w 695325"/>
                <a:gd name="connsiteY25" fmla="*/ 261938 h 785813"/>
                <a:gd name="connsiteX26" fmla="*/ 345281 w 695325"/>
                <a:gd name="connsiteY26" fmla="*/ 342900 h 785813"/>
                <a:gd name="connsiteX27" fmla="*/ 352425 w 695325"/>
                <a:gd name="connsiteY27" fmla="*/ 357188 h 785813"/>
                <a:gd name="connsiteX28" fmla="*/ 330994 w 695325"/>
                <a:gd name="connsiteY28" fmla="*/ 383382 h 785813"/>
                <a:gd name="connsiteX29" fmla="*/ 373856 w 695325"/>
                <a:gd name="connsiteY29" fmla="*/ 371475 h 785813"/>
                <a:gd name="connsiteX30" fmla="*/ 395288 w 695325"/>
                <a:gd name="connsiteY30" fmla="*/ 371475 h 785813"/>
                <a:gd name="connsiteX31" fmla="*/ 381000 w 695325"/>
                <a:gd name="connsiteY31" fmla="*/ 388144 h 785813"/>
                <a:gd name="connsiteX32" fmla="*/ 395288 w 695325"/>
                <a:gd name="connsiteY32" fmla="*/ 397669 h 785813"/>
                <a:gd name="connsiteX33" fmla="*/ 421481 w 695325"/>
                <a:gd name="connsiteY33" fmla="*/ 426244 h 785813"/>
                <a:gd name="connsiteX34" fmla="*/ 438150 w 695325"/>
                <a:gd name="connsiteY34" fmla="*/ 461963 h 785813"/>
                <a:gd name="connsiteX35" fmla="*/ 440531 w 695325"/>
                <a:gd name="connsiteY35" fmla="*/ 492919 h 785813"/>
                <a:gd name="connsiteX36" fmla="*/ 423863 w 695325"/>
                <a:gd name="connsiteY36" fmla="*/ 511969 h 785813"/>
                <a:gd name="connsiteX37" fmla="*/ 423863 w 695325"/>
                <a:gd name="connsiteY37" fmla="*/ 535782 h 785813"/>
                <a:gd name="connsiteX38" fmla="*/ 402431 w 695325"/>
                <a:gd name="connsiteY38" fmla="*/ 535782 h 785813"/>
                <a:gd name="connsiteX39" fmla="*/ 383381 w 695325"/>
                <a:gd name="connsiteY39" fmla="*/ 547688 h 785813"/>
                <a:gd name="connsiteX40" fmla="*/ 407194 w 695325"/>
                <a:gd name="connsiteY40" fmla="*/ 583407 h 785813"/>
                <a:gd name="connsiteX41" fmla="*/ 395288 w 695325"/>
                <a:gd name="connsiteY41" fmla="*/ 611982 h 785813"/>
                <a:gd name="connsiteX42" fmla="*/ 359569 w 695325"/>
                <a:gd name="connsiteY42" fmla="*/ 611982 h 785813"/>
                <a:gd name="connsiteX43" fmla="*/ 328613 w 695325"/>
                <a:gd name="connsiteY43" fmla="*/ 609600 h 785813"/>
                <a:gd name="connsiteX44" fmla="*/ 309563 w 695325"/>
                <a:gd name="connsiteY44" fmla="*/ 597694 h 785813"/>
                <a:gd name="connsiteX45" fmla="*/ 297656 w 695325"/>
                <a:gd name="connsiteY45" fmla="*/ 621507 h 785813"/>
                <a:gd name="connsiteX46" fmla="*/ 297656 w 695325"/>
                <a:gd name="connsiteY46" fmla="*/ 645319 h 785813"/>
                <a:gd name="connsiteX47" fmla="*/ 330994 w 695325"/>
                <a:gd name="connsiteY47" fmla="*/ 661988 h 785813"/>
                <a:gd name="connsiteX48" fmla="*/ 354806 w 695325"/>
                <a:gd name="connsiteY48" fmla="*/ 642938 h 785813"/>
                <a:gd name="connsiteX49" fmla="*/ 371475 w 695325"/>
                <a:gd name="connsiteY49" fmla="*/ 638175 h 785813"/>
                <a:gd name="connsiteX50" fmla="*/ 378619 w 695325"/>
                <a:gd name="connsiteY50" fmla="*/ 628650 h 785813"/>
                <a:gd name="connsiteX51" fmla="*/ 400050 w 695325"/>
                <a:gd name="connsiteY51" fmla="*/ 640557 h 785813"/>
                <a:gd name="connsiteX52" fmla="*/ 414338 w 695325"/>
                <a:gd name="connsiteY52" fmla="*/ 659607 h 785813"/>
                <a:gd name="connsiteX53" fmla="*/ 438150 w 695325"/>
                <a:gd name="connsiteY53" fmla="*/ 688182 h 785813"/>
                <a:gd name="connsiteX54" fmla="*/ 452438 w 695325"/>
                <a:gd name="connsiteY54" fmla="*/ 688182 h 785813"/>
                <a:gd name="connsiteX55" fmla="*/ 464344 w 695325"/>
                <a:gd name="connsiteY55" fmla="*/ 704850 h 785813"/>
                <a:gd name="connsiteX56" fmla="*/ 450056 w 695325"/>
                <a:gd name="connsiteY56" fmla="*/ 714375 h 785813"/>
                <a:gd name="connsiteX57" fmla="*/ 481013 w 695325"/>
                <a:gd name="connsiteY57" fmla="*/ 740569 h 785813"/>
                <a:gd name="connsiteX58" fmla="*/ 497681 w 695325"/>
                <a:gd name="connsiteY58" fmla="*/ 738188 h 785813"/>
                <a:gd name="connsiteX59" fmla="*/ 526256 w 695325"/>
                <a:gd name="connsiteY59" fmla="*/ 752475 h 785813"/>
                <a:gd name="connsiteX60" fmla="*/ 566738 w 695325"/>
                <a:gd name="connsiteY60" fmla="*/ 783432 h 785813"/>
                <a:gd name="connsiteX61" fmla="*/ 578644 w 695325"/>
                <a:gd name="connsiteY61" fmla="*/ 785813 h 785813"/>
                <a:gd name="connsiteX62" fmla="*/ 588169 w 695325"/>
                <a:gd name="connsiteY62" fmla="*/ 776288 h 785813"/>
                <a:gd name="connsiteX63" fmla="*/ 566738 w 695325"/>
                <a:gd name="connsiteY63" fmla="*/ 762000 h 785813"/>
                <a:gd name="connsiteX64" fmla="*/ 535781 w 695325"/>
                <a:gd name="connsiteY64" fmla="*/ 733425 h 785813"/>
                <a:gd name="connsiteX65" fmla="*/ 523875 w 695325"/>
                <a:gd name="connsiteY65" fmla="*/ 697707 h 785813"/>
                <a:gd name="connsiteX66" fmla="*/ 531019 w 695325"/>
                <a:gd name="connsiteY66" fmla="*/ 685800 h 785813"/>
                <a:gd name="connsiteX67" fmla="*/ 557213 w 695325"/>
                <a:gd name="connsiteY67" fmla="*/ 711994 h 785813"/>
                <a:gd name="connsiteX68" fmla="*/ 597694 w 695325"/>
                <a:gd name="connsiteY68" fmla="*/ 733425 h 785813"/>
                <a:gd name="connsiteX69" fmla="*/ 619125 w 695325"/>
                <a:gd name="connsiteY69" fmla="*/ 742950 h 785813"/>
                <a:gd name="connsiteX70" fmla="*/ 611981 w 695325"/>
                <a:gd name="connsiteY70" fmla="*/ 716757 h 785813"/>
                <a:gd name="connsiteX71" fmla="*/ 623888 w 695325"/>
                <a:gd name="connsiteY71" fmla="*/ 707232 h 785813"/>
                <a:gd name="connsiteX72" fmla="*/ 619125 w 695325"/>
                <a:gd name="connsiteY72" fmla="*/ 683419 h 785813"/>
                <a:gd name="connsiteX73" fmla="*/ 602456 w 695325"/>
                <a:gd name="connsiteY73" fmla="*/ 664369 h 785813"/>
                <a:gd name="connsiteX74" fmla="*/ 607219 w 695325"/>
                <a:gd name="connsiteY74" fmla="*/ 647700 h 785813"/>
                <a:gd name="connsiteX75" fmla="*/ 592931 w 695325"/>
                <a:gd name="connsiteY75" fmla="*/ 640557 h 785813"/>
                <a:gd name="connsiteX76" fmla="*/ 585788 w 695325"/>
                <a:gd name="connsiteY76" fmla="*/ 628650 h 785813"/>
                <a:gd name="connsiteX77" fmla="*/ 564356 w 695325"/>
                <a:gd name="connsiteY77" fmla="*/ 623888 h 785813"/>
                <a:gd name="connsiteX78" fmla="*/ 550069 w 695325"/>
                <a:gd name="connsiteY78" fmla="*/ 588169 h 785813"/>
                <a:gd name="connsiteX79" fmla="*/ 540544 w 695325"/>
                <a:gd name="connsiteY79" fmla="*/ 581025 h 785813"/>
                <a:gd name="connsiteX80" fmla="*/ 550069 w 695325"/>
                <a:gd name="connsiteY80" fmla="*/ 561975 h 785813"/>
                <a:gd name="connsiteX81" fmla="*/ 545306 w 695325"/>
                <a:gd name="connsiteY81" fmla="*/ 547688 h 785813"/>
                <a:gd name="connsiteX82" fmla="*/ 540544 w 695325"/>
                <a:gd name="connsiteY82" fmla="*/ 523875 h 785813"/>
                <a:gd name="connsiteX83" fmla="*/ 571500 w 695325"/>
                <a:gd name="connsiteY83" fmla="*/ 519113 h 785813"/>
                <a:gd name="connsiteX84" fmla="*/ 595313 w 695325"/>
                <a:gd name="connsiteY84" fmla="*/ 550069 h 785813"/>
                <a:gd name="connsiteX85" fmla="*/ 626269 w 695325"/>
                <a:gd name="connsiteY85" fmla="*/ 569119 h 785813"/>
                <a:gd name="connsiteX86" fmla="*/ 631031 w 695325"/>
                <a:gd name="connsiteY86" fmla="*/ 592932 h 785813"/>
                <a:gd name="connsiteX87" fmla="*/ 659606 w 695325"/>
                <a:gd name="connsiteY87" fmla="*/ 611982 h 785813"/>
                <a:gd name="connsiteX88" fmla="*/ 650081 w 695325"/>
                <a:gd name="connsiteY88" fmla="*/ 576263 h 785813"/>
                <a:gd name="connsiteX89" fmla="*/ 669131 w 695325"/>
                <a:gd name="connsiteY89" fmla="*/ 576263 h 785813"/>
                <a:gd name="connsiteX90" fmla="*/ 683419 w 695325"/>
                <a:gd name="connsiteY90" fmla="*/ 554832 h 785813"/>
                <a:gd name="connsiteX91" fmla="*/ 671513 w 695325"/>
                <a:gd name="connsiteY91" fmla="*/ 535782 h 785813"/>
                <a:gd name="connsiteX92" fmla="*/ 695325 w 695325"/>
                <a:gd name="connsiteY92" fmla="*/ 528638 h 785813"/>
                <a:gd name="connsiteX93" fmla="*/ 676275 w 695325"/>
                <a:gd name="connsiteY93" fmla="*/ 516732 h 785813"/>
                <a:gd name="connsiteX94" fmla="*/ 645319 w 695325"/>
                <a:gd name="connsiteY94" fmla="*/ 511969 h 785813"/>
                <a:gd name="connsiteX95" fmla="*/ 652463 w 695325"/>
                <a:gd name="connsiteY95" fmla="*/ 483394 h 785813"/>
                <a:gd name="connsiteX96" fmla="*/ 631031 w 695325"/>
                <a:gd name="connsiteY96" fmla="*/ 488157 h 785813"/>
                <a:gd name="connsiteX97" fmla="*/ 631031 w 695325"/>
                <a:gd name="connsiteY97" fmla="*/ 461963 h 785813"/>
                <a:gd name="connsiteX98" fmla="*/ 609600 w 695325"/>
                <a:gd name="connsiteY98" fmla="*/ 452438 h 785813"/>
                <a:gd name="connsiteX99" fmla="*/ 602456 w 695325"/>
                <a:gd name="connsiteY99" fmla="*/ 435769 h 785813"/>
                <a:gd name="connsiteX100" fmla="*/ 585788 w 695325"/>
                <a:gd name="connsiteY100" fmla="*/ 447675 h 785813"/>
                <a:gd name="connsiteX101" fmla="*/ 576263 w 695325"/>
                <a:gd name="connsiteY101" fmla="*/ 423863 h 785813"/>
                <a:gd name="connsiteX102" fmla="*/ 545306 w 695325"/>
                <a:gd name="connsiteY102" fmla="*/ 400050 h 785813"/>
                <a:gd name="connsiteX103" fmla="*/ 526256 w 695325"/>
                <a:gd name="connsiteY103" fmla="*/ 400050 h 785813"/>
                <a:gd name="connsiteX104" fmla="*/ 540544 w 695325"/>
                <a:gd name="connsiteY104" fmla="*/ 381000 h 785813"/>
                <a:gd name="connsiteX105" fmla="*/ 540544 w 695325"/>
                <a:gd name="connsiteY105" fmla="*/ 359569 h 785813"/>
                <a:gd name="connsiteX106" fmla="*/ 535781 w 695325"/>
                <a:gd name="connsiteY106" fmla="*/ 352425 h 785813"/>
                <a:gd name="connsiteX107" fmla="*/ 578644 w 695325"/>
                <a:gd name="connsiteY107" fmla="*/ 364332 h 785813"/>
                <a:gd name="connsiteX108" fmla="*/ 566738 w 695325"/>
                <a:gd name="connsiteY108" fmla="*/ 347663 h 785813"/>
                <a:gd name="connsiteX109" fmla="*/ 528638 w 695325"/>
                <a:gd name="connsiteY109" fmla="*/ 335757 h 785813"/>
                <a:gd name="connsiteX110" fmla="*/ 519113 w 695325"/>
                <a:gd name="connsiteY110" fmla="*/ 321469 h 785813"/>
                <a:gd name="connsiteX111" fmla="*/ 557213 w 695325"/>
                <a:gd name="connsiteY111" fmla="*/ 307182 h 785813"/>
                <a:gd name="connsiteX112" fmla="*/ 545306 w 695325"/>
                <a:gd name="connsiteY112" fmla="*/ 280988 h 785813"/>
                <a:gd name="connsiteX113" fmla="*/ 538163 w 695325"/>
                <a:gd name="connsiteY113" fmla="*/ 297657 h 785813"/>
                <a:gd name="connsiteX114" fmla="*/ 514350 w 695325"/>
                <a:gd name="connsiteY114" fmla="*/ 309563 h 785813"/>
                <a:gd name="connsiteX115" fmla="*/ 507206 w 695325"/>
                <a:gd name="connsiteY115" fmla="*/ 288132 h 785813"/>
                <a:gd name="connsiteX116" fmla="*/ 500063 w 695325"/>
                <a:gd name="connsiteY116" fmla="*/ 278607 h 785813"/>
                <a:gd name="connsiteX117" fmla="*/ 523875 w 695325"/>
                <a:gd name="connsiteY117" fmla="*/ 259557 h 785813"/>
                <a:gd name="connsiteX118" fmla="*/ 504825 w 695325"/>
                <a:gd name="connsiteY118" fmla="*/ 242888 h 785813"/>
                <a:gd name="connsiteX119" fmla="*/ 485775 w 695325"/>
                <a:gd name="connsiteY119" fmla="*/ 254794 h 785813"/>
                <a:gd name="connsiteX120" fmla="*/ 473869 w 695325"/>
                <a:gd name="connsiteY120" fmla="*/ 240507 h 785813"/>
                <a:gd name="connsiteX121" fmla="*/ 471488 w 695325"/>
                <a:gd name="connsiteY121" fmla="*/ 223838 h 785813"/>
                <a:gd name="connsiteX122" fmla="*/ 452438 w 695325"/>
                <a:gd name="connsiteY122" fmla="*/ 230982 h 785813"/>
                <a:gd name="connsiteX123" fmla="*/ 450056 w 695325"/>
                <a:gd name="connsiteY123" fmla="*/ 214313 h 785813"/>
                <a:gd name="connsiteX124" fmla="*/ 457200 w 695325"/>
                <a:gd name="connsiteY124" fmla="*/ 202407 h 785813"/>
                <a:gd name="connsiteX125" fmla="*/ 433388 w 695325"/>
                <a:gd name="connsiteY125" fmla="*/ 171450 h 785813"/>
                <a:gd name="connsiteX126" fmla="*/ 423863 w 695325"/>
                <a:gd name="connsiteY126" fmla="*/ 190500 h 785813"/>
                <a:gd name="connsiteX127" fmla="*/ 416719 w 695325"/>
                <a:gd name="connsiteY127" fmla="*/ 207169 h 785813"/>
                <a:gd name="connsiteX128" fmla="*/ 397669 w 695325"/>
                <a:gd name="connsiteY128" fmla="*/ 192882 h 785813"/>
                <a:gd name="connsiteX129" fmla="*/ 395288 w 695325"/>
                <a:gd name="connsiteY129" fmla="*/ 166688 h 785813"/>
                <a:gd name="connsiteX130" fmla="*/ 383381 w 695325"/>
                <a:gd name="connsiteY130" fmla="*/ 180975 h 785813"/>
                <a:gd name="connsiteX131" fmla="*/ 376238 w 695325"/>
                <a:gd name="connsiteY131" fmla="*/ 166688 h 785813"/>
                <a:gd name="connsiteX132" fmla="*/ 376238 w 695325"/>
                <a:gd name="connsiteY132" fmla="*/ 147638 h 785813"/>
                <a:gd name="connsiteX133" fmla="*/ 364331 w 695325"/>
                <a:gd name="connsiteY133" fmla="*/ 142875 h 785813"/>
                <a:gd name="connsiteX134" fmla="*/ 364331 w 695325"/>
                <a:gd name="connsiteY134" fmla="*/ 116682 h 785813"/>
                <a:gd name="connsiteX135" fmla="*/ 309563 w 695325"/>
                <a:gd name="connsiteY135" fmla="*/ 90488 h 785813"/>
                <a:gd name="connsiteX136" fmla="*/ 288131 w 695325"/>
                <a:gd name="connsiteY136" fmla="*/ 97632 h 785813"/>
                <a:gd name="connsiteX137" fmla="*/ 292894 w 695325"/>
                <a:gd name="connsiteY137" fmla="*/ 123825 h 785813"/>
                <a:gd name="connsiteX138" fmla="*/ 273844 w 695325"/>
                <a:gd name="connsiteY138" fmla="*/ 126207 h 785813"/>
                <a:gd name="connsiteX139" fmla="*/ 259556 w 695325"/>
                <a:gd name="connsiteY139" fmla="*/ 121444 h 785813"/>
                <a:gd name="connsiteX140" fmla="*/ 247650 w 695325"/>
                <a:gd name="connsiteY140" fmla="*/ 140494 h 785813"/>
                <a:gd name="connsiteX141" fmla="*/ 223838 w 695325"/>
                <a:gd name="connsiteY141" fmla="*/ 152400 h 785813"/>
                <a:gd name="connsiteX142" fmla="*/ 221456 w 695325"/>
                <a:gd name="connsiteY142" fmla="*/ 130969 h 785813"/>
                <a:gd name="connsiteX143" fmla="*/ 223838 w 695325"/>
                <a:gd name="connsiteY143" fmla="*/ 92869 h 785813"/>
                <a:gd name="connsiteX144" fmla="*/ 216694 w 695325"/>
                <a:gd name="connsiteY144" fmla="*/ 66675 h 785813"/>
                <a:gd name="connsiteX145" fmla="*/ 214313 w 695325"/>
                <a:gd name="connsiteY145" fmla="*/ 50007 h 785813"/>
                <a:gd name="connsiteX146" fmla="*/ 204788 w 695325"/>
                <a:gd name="connsiteY146" fmla="*/ 28575 h 785813"/>
                <a:gd name="connsiteX147" fmla="*/ 202406 w 695325"/>
                <a:gd name="connsiteY147" fmla="*/ 0 h 785813"/>
                <a:gd name="connsiteX148" fmla="*/ 183356 w 695325"/>
                <a:gd name="connsiteY148" fmla="*/ 7144 h 785813"/>
                <a:gd name="connsiteX149" fmla="*/ 161926 w 695325"/>
                <a:gd name="connsiteY149" fmla="*/ 23813 h 785813"/>
                <a:gd name="connsiteX150" fmla="*/ 114300 w 695325"/>
                <a:gd name="connsiteY150" fmla="*/ 223837 h 785813"/>
                <a:gd name="connsiteX0" fmla="*/ 114300 w 695325"/>
                <a:gd name="connsiteY0" fmla="*/ 223837 h 785813"/>
                <a:gd name="connsiteX1" fmla="*/ 54769 w 695325"/>
                <a:gd name="connsiteY1" fmla="*/ 4763 h 785813"/>
                <a:gd name="connsiteX2" fmla="*/ 21431 w 695325"/>
                <a:gd name="connsiteY2" fmla="*/ 38100 h 785813"/>
                <a:gd name="connsiteX3" fmla="*/ 21431 w 695325"/>
                <a:gd name="connsiteY3" fmla="*/ 69057 h 785813"/>
                <a:gd name="connsiteX4" fmla="*/ 11906 w 695325"/>
                <a:gd name="connsiteY4" fmla="*/ 88107 h 785813"/>
                <a:gd name="connsiteX5" fmla="*/ 7144 w 695325"/>
                <a:gd name="connsiteY5" fmla="*/ 126207 h 785813"/>
                <a:gd name="connsiteX6" fmla="*/ 7144 w 695325"/>
                <a:gd name="connsiteY6" fmla="*/ 126207 h 785813"/>
                <a:gd name="connsiteX7" fmla="*/ 0 w 695325"/>
                <a:gd name="connsiteY7" fmla="*/ 145257 h 785813"/>
                <a:gd name="connsiteX8" fmla="*/ 0 w 695325"/>
                <a:gd name="connsiteY8" fmla="*/ 190500 h 785813"/>
                <a:gd name="connsiteX9" fmla="*/ 38100 w 695325"/>
                <a:gd name="connsiteY9" fmla="*/ 200025 h 785813"/>
                <a:gd name="connsiteX10" fmla="*/ 64294 w 695325"/>
                <a:gd name="connsiteY10" fmla="*/ 219075 h 785813"/>
                <a:gd name="connsiteX11" fmla="*/ 66675 w 695325"/>
                <a:gd name="connsiteY11" fmla="*/ 233363 h 785813"/>
                <a:gd name="connsiteX12" fmla="*/ 35719 w 695325"/>
                <a:gd name="connsiteY12" fmla="*/ 228600 h 785813"/>
                <a:gd name="connsiteX13" fmla="*/ 9525 w 695325"/>
                <a:gd name="connsiteY13" fmla="*/ 216694 h 785813"/>
                <a:gd name="connsiteX14" fmla="*/ 47625 w 695325"/>
                <a:gd name="connsiteY14" fmla="*/ 276225 h 785813"/>
                <a:gd name="connsiteX15" fmla="*/ 76200 w 695325"/>
                <a:gd name="connsiteY15" fmla="*/ 257175 h 785813"/>
                <a:gd name="connsiteX16" fmla="*/ 102394 w 695325"/>
                <a:gd name="connsiteY16" fmla="*/ 288132 h 785813"/>
                <a:gd name="connsiteX17" fmla="*/ 147638 w 695325"/>
                <a:gd name="connsiteY17" fmla="*/ 300038 h 785813"/>
                <a:gd name="connsiteX18" fmla="*/ 188119 w 695325"/>
                <a:gd name="connsiteY18" fmla="*/ 307182 h 785813"/>
                <a:gd name="connsiteX19" fmla="*/ 209550 w 695325"/>
                <a:gd name="connsiteY19" fmla="*/ 295275 h 785813"/>
                <a:gd name="connsiteX20" fmla="*/ 197644 w 695325"/>
                <a:gd name="connsiteY20" fmla="*/ 285750 h 785813"/>
                <a:gd name="connsiteX21" fmla="*/ 219075 w 695325"/>
                <a:gd name="connsiteY21" fmla="*/ 285750 h 785813"/>
                <a:gd name="connsiteX22" fmla="*/ 247650 w 695325"/>
                <a:gd name="connsiteY22" fmla="*/ 314325 h 785813"/>
                <a:gd name="connsiteX23" fmla="*/ 266700 w 695325"/>
                <a:gd name="connsiteY23" fmla="*/ 292894 h 785813"/>
                <a:gd name="connsiteX24" fmla="*/ 252413 w 695325"/>
                <a:gd name="connsiteY24" fmla="*/ 266700 h 785813"/>
                <a:gd name="connsiteX25" fmla="*/ 266700 w 695325"/>
                <a:gd name="connsiteY25" fmla="*/ 261938 h 785813"/>
                <a:gd name="connsiteX26" fmla="*/ 345281 w 695325"/>
                <a:gd name="connsiteY26" fmla="*/ 342900 h 785813"/>
                <a:gd name="connsiteX27" fmla="*/ 352425 w 695325"/>
                <a:gd name="connsiteY27" fmla="*/ 357188 h 785813"/>
                <a:gd name="connsiteX28" fmla="*/ 330994 w 695325"/>
                <a:gd name="connsiteY28" fmla="*/ 383382 h 785813"/>
                <a:gd name="connsiteX29" fmla="*/ 373856 w 695325"/>
                <a:gd name="connsiteY29" fmla="*/ 371475 h 785813"/>
                <a:gd name="connsiteX30" fmla="*/ 395288 w 695325"/>
                <a:gd name="connsiteY30" fmla="*/ 371475 h 785813"/>
                <a:gd name="connsiteX31" fmla="*/ 381000 w 695325"/>
                <a:gd name="connsiteY31" fmla="*/ 388144 h 785813"/>
                <a:gd name="connsiteX32" fmla="*/ 395288 w 695325"/>
                <a:gd name="connsiteY32" fmla="*/ 397669 h 785813"/>
                <a:gd name="connsiteX33" fmla="*/ 421481 w 695325"/>
                <a:gd name="connsiteY33" fmla="*/ 426244 h 785813"/>
                <a:gd name="connsiteX34" fmla="*/ 438150 w 695325"/>
                <a:gd name="connsiteY34" fmla="*/ 461963 h 785813"/>
                <a:gd name="connsiteX35" fmla="*/ 440531 w 695325"/>
                <a:gd name="connsiteY35" fmla="*/ 492919 h 785813"/>
                <a:gd name="connsiteX36" fmla="*/ 423863 w 695325"/>
                <a:gd name="connsiteY36" fmla="*/ 511969 h 785813"/>
                <a:gd name="connsiteX37" fmla="*/ 423863 w 695325"/>
                <a:gd name="connsiteY37" fmla="*/ 535782 h 785813"/>
                <a:gd name="connsiteX38" fmla="*/ 402431 w 695325"/>
                <a:gd name="connsiteY38" fmla="*/ 535782 h 785813"/>
                <a:gd name="connsiteX39" fmla="*/ 383381 w 695325"/>
                <a:gd name="connsiteY39" fmla="*/ 547688 h 785813"/>
                <a:gd name="connsiteX40" fmla="*/ 407194 w 695325"/>
                <a:gd name="connsiteY40" fmla="*/ 583407 h 785813"/>
                <a:gd name="connsiteX41" fmla="*/ 395288 w 695325"/>
                <a:gd name="connsiteY41" fmla="*/ 611982 h 785813"/>
                <a:gd name="connsiteX42" fmla="*/ 359569 w 695325"/>
                <a:gd name="connsiteY42" fmla="*/ 611982 h 785813"/>
                <a:gd name="connsiteX43" fmla="*/ 328613 w 695325"/>
                <a:gd name="connsiteY43" fmla="*/ 609600 h 785813"/>
                <a:gd name="connsiteX44" fmla="*/ 309563 w 695325"/>
                <a:gd name="connsiteY44" fmla="*/ 597694 h 785813"/>
                <a:gd name="connsiteX45" fmla="*/ 297656 w 695325"/>
                <a:gd name="connsiteY45" fmla="*/ 621507 h 785813"/>
                <a:gd name="connsiteX46" fmla="*/ 297656 w 695325"/>
                <a:gd name="connsiteY46" fmla="*/ 645319 h 785813"/>
                <a:gd name="connsiteX47" fmla="*/ 330994 w 695325"/>
                <a:gd name="connsiteY47" fmla="*/ 661988 h 785813"/>
                <a:gd name="connsiteX48" fmla="*/ 354806 w 695325"/>
                <a:gd name="connsiteY48" fmla="*/ 642938 h 785813"/>
                <a:gd name="connsiteX49" fmla="*/ 371475 w 695325"/>
                <a:gd name="connsiteY49" fmla="*/ 638175 h 785813"/>
                <a:gd name="connsiteX50" fmla="*/ 378619 w 695325"/>
                <a:gd name="connsiteY50" fmla="*/ 628650 h 785813"/>
                <a:gd name="connsiteX51" fmla="*/ 400050 w 695325"/>
                <a:gd name="connsiteY51" fmla="*/ 640557 h 785813"/>
                <a:gd name="connsiteX52" fmla="*/ 414338 w 695325"/>
                <a:gd name="connsiteY52" fmla="*/ 659607 h 785813"/>
                <a:gd name="connsiteX53" fmla="*/ 438150 w 695325"/>
                <a:gd name="connsiteY53" fmla="*/ 688182 h 785813"/>
                <a:gd name="connsiteX54" fmla="*/ 452438 w 695325"/>
                <a:gd name="connsiteY54" fmla="*/ 688182 h 785813"/>
                <a:gd name="connsiteX55" fmla="*/ 464344 w 695325"/>
                <a:gd name="connsiteY55" fmla="*/ 704850 h 785813"/>
                <a:gd name="connsiteX56" fmla="*/ 450056 w 695325"/>
                <a:gd name="connsiteY56" fmla="*/ 714375 h 785813"/>
                <a:gd name="connsiteX57" fmla="*/ 481013 w 695325"/>
                <a:gd name="connsiteY57" fmla="*/ 740569 h 785813"/>
                <a:gd name="connsiteX58" fmla="*/ 497681 w 695325"/>
                <a:gd name="connsiteY58" fmla="*/ 738188 h 785813"/>
                <a:gd name="connsiteX59" fmla="*/ 526256 w 695325"/>
                <a:gd name="connsiteY59" fmla="*/ 752475 h 785813"/>
                <a:gd name="connsiteX60" fmla="*/ 566738 w 695325"/>
                <a:gd name="connsiteY60" fmla="*/ 783432 h 785813"/>
                <a:gd name="connsiteX61" fmla="*/ 578644 w 695325"/>
                <a:gd name="connsiteY61" fmla="*/ 785813 h 785813"/>
                <a:gd name="connsiteX62" fmla="*/ 588169 w 695325"/>
                <a:gd name="connsiteY62" fmla="*/ 776288 h 785813"/>
                <a:gd name="connsiteX63" fmla="*/ 566738 w 695325"/>
                <a:gd name="connsiteY63" fmla="*/ 762000 h 785813"/>
                <a:gd name="connsiteX64" fmla="*/ 535781 w 695325"/>
                <a:gd name="connsiteY64" fmla="*/ 733425 h 785813"/>
                <a:gd name="connsiteX65" fmla="*/ 523875 w 695325"/>
                <a:gd name="connsiteY65" fmla="*/ 697707 h 785813"/>
                <a:gd name="connsiteX66" fmla="*/ 531019 w 695325"/>
                <a:gd name="connsiteY66" fmla="*/ 685800 h 785813"/>
                <a:gd name="connsiteX67" fmla="*/ 557213 w 695325"/>
                <a:gd name="connsiteY67" fmla="*/ 711994 h 785813"/>
                <a:gd name="connsiteX68" fmla="*/ 597694 w 695325"/>
                <a:gd name="connsiteY68" fmla="*/ 733425 h 785813"/>
                <a:gd name="connsiteX69" fmla="*/ 619125 w 695325"/>
                <a:gd name="connsiteY69" fmla="*/ 742950 h 785813"/>
                <a:gd name="connsiteX70" fmla="*/ 611981 w 695325"/>
                <a:gd name="connsiteY70" fmla="*/ 716757 h 785813"/>
                <a:gd name="connsiteX71" fmla="*/ 623888 w 695325"/>
                <a:gd name="connsiteY71" fmla="*/ 707232 h 785813"/>
                <a:gd name="connsiteX72" fmla="*/ 619125 w 695325"/>
                <a:gd name="connsiteY72" fmla="*/ 683419 h 785813"/>
                <a:gd name="connsiteX73" fmla="*/ 602456 w 695325"/>
                <a:gd name="connsiteY73" fmla="*/ 664369 h 785813"/>
                <a:gd name="connsiteX74" fmla="*/ 607219 w 695325"/>
                <a:gd name="connsiteY74" fmla="*/ 647700 h 785813"/>
                <a:gd name="connsiteX75" fmla="*/ 592931 w 695325"/>
                <a:gd name="connsiteY75" fmla="*/ 640557 h 785813"/>
                <a:gd name="connsiteX76" fmla="*/ 585788 w 695325"/>
                <a:gd name="connsiteY76" fmla="*/ 628650 h 785813"/>
                <a:gd name="connsiteX77" fmla="*/ 564356 w 695325"/>
                <a:gd name="connsiteY77" fmla="*/ 623888 h 785813"/>
                <a:gd name="connsiteX78" fmla="*/ 550069 w 695325"/>
                <a:gd name="connsiteY78" fmla="*/ 588169 h 785813"/>
                <a:gd name="connsiteX79" fmla="*/ 540544 w 695325"/>
                <a:gd name="connsiteY79" fmla="*/ 581025 h 785813"/>
                <a:gd name="connsiteX80" fmla="*/ 550069 w 695325"/>
                <a:gd name="connsiteY80" fmla="*/ 561975 h 785813"/>
                <a:gd name="connsiteX81" fmla="*/ 545306 w 695325"/>
                <a:gd name="connsiteY81" fmla="*/ 547688 h 785813"/>
                <a:gd name="connsiteX82" fmla="*/ 540544 w 695325"/>
                <a:gd name="connsiteY82" fmla="*/ 523875 h 785813"/>
                <a:gd name="connsiteX83" fmla="*/ 571500 w 695325"/>
                <a:gd name="connsiteY83" fmla="*/ 519113 h 785813"/>
                <a:gd name="connsiteX84" fmla="*/ 595313 w 695325"/>
                <a:gd name="connsiteY84" fmla="*/ 550069 h 785813"/>
                <a:gd name="connsiteX85" fmla="*/ 626269 w 695325"/>
                <a:gd name="connsiteY85" fmla="*/ 569119 h 785813"/>
                <a:gd name="connsiteX86" fmla="*/ 631031 w 695325"/>
                <a:gd name="connsiteY86" fmla="*/ 592932 h 785813"/>
                <a:gd name="connsiteX87" fmla="*/ 659606 w 695325"/>
                <a:gd name="connsiteY87" fmla="*/ 611982 h 785813"/>
                <a:gd name="connsiteX88" fmla="*/ 650081 w 695325"/>
                <a:gd name="connsiteY88" fmla="*/ 576263 h 785813"/>
                <a:gd name="connsiteX89" fmla="*/ 669131 w 695325"/>
                <a:gd name="connsiteY89" fmla="*/ 576263 h 785813"/>
                <a:gd name="connsiteX90" fmla="*/ 683419 w 695325"/>
                <a:gd name="connsiteY90" fmla="*/ 554832 h 785813"/>
                <a:gd name="connsiteX91" fmla="*/ 671513 w 695325"/>
                <a:gd name="connsiteY91" fmla="*/ 535782 h 785813"/>
                <a:gd name="connsiteX92" fmla="*/ 695325 w 695325"/>
                <a:gd name="connsiteY92" fmla="*/ 528638 h 785813"/>
                <a:gd name="connsiteX93" fmla="*/ 676275 w 695325"/>
                <a:gd name="connsiteY93" fmla="*/ 516732 h 785813"/>
                <a:gd name="connsiteX94" fmla="*/ 645319 w 695325"/>
                <a:gd name="connsiteY94" fmla="*/ 511969 h 785813"/>
                <a:gd name="connsiteX95" fmla="*/ 652463 w 695325"/>
                <a:gd name="connsiteY95" fmla="*/ 483394 h 785813"/>
                <a:gd name="connsiteX96" fmla="*/ 631031 w 695325"/>
                <a:gd name="connsiteY96" fmla="*/ 488157 h 785813"/>
                <a:gd name="connsiteX97" fmla="*/ 631031 w 695325"/>
                <a:gd name="connsiteY97" fmla="*/ 461963 h 785813"/>
                <a:gd name="connsiteX98" fmla="*/ 609600 w 695325"/>
                <a:gd name="connsiteY98" fmla="*/ 452438 h 785813"/>
                <a:gd name="connsiteX99" fmla="*/ 602456 w 695325"/>
                <a:gd name="connsiteY99" fmla="*/ 435769 h 785813"/>
                <a:gd name="connsiteX100" fmla="*/ 585788 w 695325"/>
                <a:gd name="connsiteY100" fmla="*/ 447675 h 785813"/>
                <a:gd name="connsiteX101" fmla="*/ 576263 w 695325"/>
                <a:gd name="connsiteY101" fmla="*/ 423863 h 785813"/>
                <a:gd name="connsiteX102" fmla="*/ 545306 w 695325"/>
                <a:gd name="connsiteY102" fmla="*/ 400050 h 785813"/>
                <a:gd name="connsiteX103" fmla="*/ 526256 w 695325"/>
                <a:gd name="connsiteY103" fmla="*/ 400050 h 785813"/>
                <a:gd name="connsiteX104" fmla="*/ 540544 w 695325"/>
                <a:gd name="connsiteY104" fmla="*/ 381000 h 785813"/>
                <a:gd name="connsiteX105" fmla="*/ 540544 w 695325"/>
                <a:gd name="connsiteY105" fmla="*/ 359569 h 785813"/>
                <a:gd name="connsiteX106" fmla="*/ 535781 w 695325"/>
                <a:gd name="connsiteY106" fmla="*/ 352425 h 785813"/>
                <a:gd name="connsiteX107" fmla="*/ 578644 w 695325"/>
                <a:gd name="connsiteY107" fmla="*/ 364332 h 785813"/>
                <a:gd name="connsiteX108" fmla="*/ 566738 w 695325"/>
                <a:gd name="connsiteY108" fmla="*/ 347663 h 785813"/>
                <a:gd name="connsiteX109" fmla="*/ 528638 w 695325"/>
                <a:gd name="connsiteY109" fmla="*/ 335757 h 785813"/>
                <a:gd name="connsiteX110" fmla="*/ 519113 w 695325"/>
                <a:gd name="connsiteY110" fmla="*/ 321469 h 785813"/>
                <a:gd name="connsiteX111" fmla="*/ 557213 w 695325"/>
                <a:gd name="connsiteY111" fmla="*/ 307182 h 785813"/>
                <a:gd name="connsiteX112" fmla="*/ 545306 w 695325"/>
                <a:gd name="connsiteY112" fmla="*/ 280988 h 785813"/>
                <a:gd name="connsiteX113" fmla="*/ 538163 w 695325"/>
                <a:gd name="connsiteY113" fmla="*/ 297657 h 785813"/>
                <a:gd name="connsiteX114" fmla="*/ 514350 w 695325"/>
                <a:gd name="connsiteY114" fmla="*/ 309563 h 785813"/>
                <a:gd name="connsiteX115" fmla="*/ 507206 w 695325"/>
                <a:gd name="connsiteY115" fmla="*/ 288132 h 785813"/>
                <a:gd name="connsiteX116" fmla="*/ 500063 w 695325"/>
                <a:gd name="connsiteY116" fmla="*/ 278607 h 785813"/>
                <a:gd name="connsiteX117" fmla="*/ 523875 w 695325"/>
                <a:gd name="connsiteY117" fmla="*/ 259557 h 785813"/>
                <a:gd name="connsiteX118" fmla="*/ 504825 w 695325"/>
                <a:gd name="connsiteY118" fmla="*/ 242888 h 785813"/>
                <a:gd name="connsiteX119" fmla="*/ 485775 w 695325"/>
                <a:gd name="connsiteY119" fmla="*/ 254794 h 785813"/>
                <a:gd name="connsiteX120" fmla="*/ 473869 w 695325"/>
                <a:gd name="connsiteY120" fmla="*/ 240507 h 785813"/>
                <a:gd name="connsiteX121" fmla="*/ 471488 w 695325"/>
                <a:gd name="connsiteY121" fmla="*/ 223838 h 785813"/>
                <a:gd name="connsiteX122" fmla="*/ 452438 w 695325"/>
                <a:gd name="connsiteY122" fmla="*/ 230982 h 785813"/>
                <a:gd name="connsiteX123" fmla="*/ 450056 w 695325"/>
                <a:gd name="connsiteY123" fmla="*/ 214313 h 785813"/>
                <a:gd name="connsiteX124" fmla="*/ 457200 w 695325"/>
                <a:gd name="connsiteY124" fmla="*/ 202407 h 785813"/>
                <a:gd name="connsiteX125" fmla="*/ 433388 w 695325"/>
                <a:gd name="connsiteY125" fmla="*/ 171450 h 785813"/>
                <a:gd name="connsiteX126" fmla="*/ 423863 w 695325"/>
                <a:gd name="connsiteY126" fmla="*/ 190500 h 785813"/>
                <a:gd name="connsiteX127" fmla="*/ 416719 w 695325"/>
                <a:gd name="connsiteY127" fmla="*/ 207169 h 785813"/>
                <a:gd name="connsiteX128" fmla="*/ 397669 w 695325"/>
                <a:gd name="connsiteY128" fmla="*/ 192882 h 785813"/>
                <a:gd name="connsiteX129" fmla="*/ 395288 w 695325"/>
                <a:gd name="connsiteY129" fmla="*/ 166688 h 785813"/>
                <a:gd name="connsiteX130" fmla="*/ 383381 w 695325"/>
                <a:gd name="connsiteY130" fmla="*/ 180975 h 785813"/>
                <a:gd name="connsiteX131" fmla="*/ 376238 w 695325"/>
                <a:gd name="connsiteY131" fmla="*/ 166688 h 785813"/>
                <a:gd name="connsiteX132" fmla="*/ 376238 w 695325"/>
                <a:gd name="connsiteY132" fmla="*/ 147638 h 785813"/>
                <a:gd name="connsiteX133" fmla="*/ 364331 w 695325"/>
                <a:gd name="connsiteY133" fmla="*/ 142875 h 785813"/>
                <a:gd name="connsiteX134" fmla="*/ 364331 w 695325"/>
                <a:gd name="connsiteY134" fmla="*/ 116682 h 785813"/>
                <a:gd name="connsiteX135" fmla="*/ 309563 w 695325"/>
                <a:gd name="connsiteY135" fmla="*/ 90488 h 785813"/>
                <a:gd name="connsiteX136" fmla="*/ 288131 w 695325"/>
                <a:gd name="connsiteY136" fmla="*/ 97632 h 785813"/>
                <a:gd name="connsiteX137" fmla="*/ 292894 w 695325"/>
                <a:gd name="connsiteY137" fmla="*/ 123825 h 785813"/>
                <a:gd name="connsiteX138" fmla="*/ 273844 w 695325"/>
                <a:gd name="connsiteY138" fmla="*/ 126207 h 785813"/>
                <a:gd name="connsiteX139" fmla="*/ 259556 w 695325"/>
                <a:gd name="connsiteY139" fmla="*/ 121444 h 785813"/>
                <a:gd name="connsiteX140" fmla="*/ 247650 w 695325"/>
                <a:gd name="connsiteY140" fmla="*/ 140494 h 785813"/>
                <a:gd name="connsiteX141" fmla="*/ 223838 w 695325"/>
                <a:gd name="connsiteY141" fmla="*/ 152400 h 785813"/>
                <a:gd name="connsiteX142" fmla="*/ 221456 w 695325"/>
                <a:gd name="connsiteY142" fmla="*/ 130969 h 785813"/>
                <a:gd name="connsiteX143" fmla="*/ 223838 w 695325"/>
                <a:gd name="connsiteY143" fmla="*/ 92869 h 785813"/>
                <a:gd name="connsiteX144" fmla="*/ 216694 w 695325"/>
                <a:gd name="connsiteY144" fmla="*/ 66675 h 785813"/>
                <a:gd name="connsiteX145" fmla="*/ 214313 w 695325"/>
                <a:gd name="connsiteY145" fmla="*/ 50007 h 785813"/>
                <a:gd name="connsiteX146" fmla="*/ 204788 w 695325"/>
                <a:gd name="connsiteY146" fmla="*/ 28575 h 785813"/>
                <a:gd name="connsiteX147" fmla="*/ 202406 w 695325"/>
                <a:gd name="connsiteY147" fmla="*/ 0 h 785813"/>
                <a:gd name="connsiteX148" fmla="*/ 183356 w 695325"/>
                <a:gd name="connsiteY148" fmla="*/ 7144 h 785813"/>
                <a:gd name="connsiteX149" fmla="*/ 161926 w 695325"/>
                <a:gd name="connsiteY149" fmla="*/ 23813 h 785813"/>
                <a:gd name="connsiteX150" fmla="*/ 150019 w 695325"/>
                <a:gd name="connsiteY150" fmla="*/ 57150 h 785813"/>
                <a:gd name="connsiteX151" fmla="*/ 114300 w 695325"/>
                <a:gd name="connsiteY151" fmla="*/ 223837 h 785813"/>
                <a:gd name="connsiteX0" fmla="*/ 114300 w 695325"/>
                <a:gd name="connsiteY0" fmla="*/ 223837 h 785813"/>
                <a:gd name="connsiteX1" fmla="*/ 54769 w 695325"/>
                <a:gd name="connsiteY1" fmla="*/ 4763 h 785813"/>
                <a:gd name="connsiteX2" fmla="*/ 21431 w 695325"/>
                <a:gd name="connsiteY2" fmla="*/ 38100 h 785813"/>
                <a:gd name="connsiteX3" fmla="*/ 21431 w 695325"/>
                <a:gd name="connsiteY3" fmla="*/ 69057 h 785813"/>
                <a:gd name="connsiteX4" fmla="*/ 11906 w 695325"/>
                <a:gd name="connsiteY4" fmla="*/ 88107 h 785813"/>
                <a:gd name="connsiteX5" fmla="*/ 7144 w 695325"/>
                <a:gd name="connsiteY5" fmla="*/ 126207 h 785813"/>
                <a:gd name="connsiteX6" fmla="*/ 7144 w 695325"/>
                <a:gd name="connsiteY6" fmla="*/ 126207 h 785813"/>
                <a:gd name="connsiteX7" fmla="*/ 0 w 695325"/>
                <a:gd name="connsiteY7" fmla="*/ 145257 h 785813"/>
                <a:gd name="connsiteX8" fmla="*/ 0 w 695325"/>
                <a:gd name="connsiteY8" fmla="*/ 190500 h 785813"/>
                <a:gd name="connsiteX9" fmla="*/ 38100 w 695325"/>
                <a:gd name="connsiteY9" fmla="*/ 200025 h 785813"/>
                <a:gd name="connsiteX10" fmla="*/ 64294 w 695325"/>
                <a:gd name="connsiteY10" fmla="*/ 219075 h 785813"/>
                <a:gd name="connsiteX11" fmla="*/ 66675 w 695325"/>
                <a:gd name="connsiteY11" fmla="*/ 233363 h 785813"/>
                <a:gd name="connsiteX12" fmla="*/ 35719 w 695325"/>
                <a:gd name="connsiteY12" fmla="*/ 228600 h 785813"/>
                <a:gd name="connsiteX13" fmla="*/ 9525 w 695325"/>
                <a:gd name="connsiteY13" fmla="*/ 216694 h 785813"/>
                <a:gd name="connsiteX14" fmla="*/ 47625 w 695325"/>
                <a:gd name="connsiteY14" fmla="*/ 276225 h 785813"/>
                <a:gd name="connsiteX15" fmla="*/ 76200 w 695325"/>
                <a:gd name="connsiteY15" fmla="*/ 257175 h 785813"/>
                <a:gd name="connsiteX16" fmla="*/ 102394 w 695325"/>
                <a:gd name="connsiteY16" fmla="*/ 288132 h 785813"/>
                <a:gd name="connsiteX17" fmla="*/ 147638 w 695325"/>
                <a:gd name="connsiteY17" fmla="*/ 300038 h 785813"/>
                <a:gd name="connsiteX18" fmla="*/ 188119 w 695325"/>
                <a:gd name="connsiteY18" fmla="*/ 307182 h 785813"/>
                <a:gd name="connsiteX19" fmla="*/ 209550 w 695325"/>
                <a:gd name="connsiteY19" fmla="*/ 295275 h 785813"/>
                <a:gd name="connsiteX20" fmla="*/ 197644 w 695325"/>
                <a:gd name="connsiteY20" fmla="*/ 285750 h 785813"/>
                <a:gd name="connsiteX21" fmla="*/ 219075 w 695325"/>
                <a:gd name="connsiteY21" fmla="*/ 285750 h 785813"/>
                <a:gd name="connsiteX22" fmla="*/ 247650 w 695325"/>
                <a:gd name="connsiteY22" fmla="*/ 314325 h 785813"/>
                <a:gd name="connsiteX23" fmla="*/ 266700 w 695325"/>
                <a:gd name="connsiteY23" fmla="*/ 292894 h 785813"/>
                <a:gd name="connsiteX24" fmla="*/ 252413 w 695325"/>
                <a:gd name="connsiteY24" fmla="*/ 266700 h 785813"/>
                <a:gd name="connsiteX25" fmla="*/ 266700 w 695325"/>
                <a:gd name="connsiteY25" fmla="*/ 261938 h 785813"/>
                <a:gd name="connsiteX26" fmla="*/ 345281 w 695325"/>
                <a:gd name="connsiteY26" fmla="*/ 342900 h 785813"/>
                <a:gd name="connsiteX27" fmla="*/ 352425 w 695325"/>
                <a:gd name="connsiteY27" fmla="*/ 357188 h 785813"/>
                <a:gd name="connsiteX28" fmla="*/ 330994 w 695325"/>
                <a:gd name="connsiteY28" fmla="*/ 383382 h 785813"/>
                <a:gd name="connsiteX29" fmla="*/ 373856 w 695325"/>
                <a:gd name="connsiteY29" fmla="*/ 371475 h 785813"/>
                <a:gd name="connsiteX30" fmla="*/ 395288 w 695325"/>
                <a:gd name="connsiteY30" fmla="*/ 371475 h 785813"/>
                <a:gd name="connsiteX31" fmla="*/ 381000 w 695325"/>
                <a:gd name="connsiteY31" fmla="*/ 388144 h 785813"/>
                <a:gd name="connsiteX32" fmla="*/ 395288 w 695325"/>
                <a:gd name="connsiteY32" fmla="*/ 397669 h 785813"/>
                <a:gd name="connsiteX33" fmla="*/ 421481 w 695325"/>
                <a:gd name="connsiteY33" fmla="*/ 426244 h 785813"/>
                <a:gd name="connsiteX34" fmla="*/ 438150 w 695325"/>
                <a:gd name="connsiteY34" fmla="*/ 461963 h 785813"/>
                <a:gd name="connsiteX35" fmla="*/ 440531 w 695325"/>
                <a:gd name="connsiteY35" fmla="*/ 492919 h 785813"/>
                <a:gd name="connsiteX36" fmla="*/ 423863 w 695325"/>
                <a:gd name="connsiteY36" fmla="*/ 511969 h 785813"/>
                <a:gd name="connsiteX37" fmla="*/ 423863 w 695325"/>
                <a:gd name="connsiteY37" fmla="*/ 535782 h 785813"/>
                <a:gd name="connsiteX38" fmla="*/ 402431 w 695325"/>
                <a:gd name="connsiteY38" fmla="*/ 535782 h 785813"/>
                <a:gd name="connsiteX39" fmla="*/ 383381 w 695325"/>
                <a:gd name="connsiteY39" fmla="*/ 547688 h 785813"/>
                <a:gd name="connsiteX40" fmla="*/ 407194 w 695325"/>
                <a:gd name="connsiteY40" fmla="*/ 583407 h 785813"/>
                <a:gd name="connsiteX41" fmla="*/ 395288 w 695325"/>
                <a:gd name="connsiteY41" fmla="*/ 611982 h 785813"/>
                <a:gd name="connsiteX42" fmla="*/ 359569 w 695325"/>
                <a:gd name="connsiteY42" fmla="*/ 611982 h 785813"/>
                <a:gd name="connsiteX43" fmla="*/ 328613 w 695325"/>
                <a:gd name="connsiteY43" fmla="*/ 609600 h 785813"/>
                <a:gd name="connsiteX44" fmla="*/ 309563 w 695325"/>
                <a:gd name="connsiteY44" fmla="*/ 597694 h 785813"/>
                <a:gd name="connsiteX45" fmla="*/ 297656 w 695325"/>
                <a:gd name="connsiteY45" fmla="*/ 621507 h 785813"/>
                <a:gd name="connsiteX46" fmla="*/ 297656 w 695325"/>
                <a:gd name="connsiteY46" fmla="*/ 645319 h 785813"/>
                <a:gd name="connsiteX47" fmla="*/ 330994 w 695325"/>
                <a:gd name="connsiteY47" fmla="*/ 661988 h 785813"/>
                <a:gd name="connsiteX48" fmla="*/ 354806 w 695325"/>
                <a:gd name="connsiteY48" fmla="*/ 642938 h 785813"/>
                <a:gd name="connsiteX49" fmla="*/ 371475 w 695325"/>
                <a:gd name="connsiteY49" fmla="*/ 638175 h 785813"/>
                <a:gd name="connsiteX50" fmla="*/ 378619 w 695325"/>
                <a:gd name="connsiteY50" fmla="*/ 628650 h 785813"/>
                <a:gd name="connsiteX51" fmla="*/ 400050 w 695325"/>
                <a:gd name="connsiteY51" fmla="*/ 640557 h 785813"/>
                <a:gd name="connsiteX52" fmla="*/ 414338 w 695325"/>
                <a:gd name="connsiteY52" fmla="*/ 659607 h 785813"/>
                <a:gd name="connsiteX53" fmla="*/ 438150 w 695325"/>
                <a:gd name="connsiteY53" fmla="*/ 688182 h 785813"/>
                <a:gd name="connsiteX54" fmla="*/ 452438 w 695325"/>
                <a:gd name="connsiteY54" fmla="*/ 688182 h 785813"/>
                <a:gd name="connsiteX55" fmla="*/ 464344 w 695325"/>
                <a:gd name="connsiteY55" fmla="*/ 704850 h 785813"/>
                <a:gd name="connsiteX56" fmla="*/ 450056 w 695325"/>
                <a:gd name="connsiteY56" fmla="*/ 714375 h 785813"/>
                <a:gd name="connsiteX57" fmla="*/ 481013 w 695325"/>
                <a:gd name="connsiteY57" fmla="*/ 740569 h 785813"/>
                <a:gd name="connsiteX58" fmla="*/ 497681 w 695325"/>
                <a:gd name="connsiteY58" fmla="*/ 738188 h 785813"/>
                <a:gd name="connsiteX59" fmla="*/ 526256 w 695325"/>
                <a:gd name="connsiteY59" fmla="*/ 752475 h 785813"/>
                <a:gd name="connsiteX60" fmla="*/ 566738 w 695325"/>
                <a:gd name="connsiteY60" fmla="*/ 783432 h 785813"/>
                <a:gd name="connsiteX61" fmla="*/ 578644 w 695325"/>
                <a:gd name="connsiteY61" fmla="*/ 785813 h 785813"/>
                <a:gd name="connsiteX62" fmla="*/ 588169 w 695325"/>
                <a:gd name="connsiteY62" fmla="*/ 776288 h 785813"/>
                <a:gd name="connsiteX63" fmla="*/ 566738 w 695325"/>
                <a:gd name="connsiteY63" fmla="*/ 762000 h 785813"/>
                <a:gd name="connsiteX64" fmla="*/ 535781 w 695325"/>
                <a:gd name="connsiteY64" fmla="*/ 733425 h 785813"/>
                <a:gd name="connsiteX65" fmla="*/ 523875 w 695325"/>
                <a:gd name="connsiteY65" fmla="*/ 697707 h 785813"/>
                <a:gd name="connsiteX66" fmla="*/ 531019 w 695325"/>
                <a:gd name="connsiteY66" fmla="*/ 685800 h 785813"/>
                <a:gd name="connsiteX67" fmla="*/ 557213 w 695325"/>
                <a:gd name="connsiteY67" fmla="*/ 711994 h 785813"/>
                <a:gd name="connsiteX68" fmla="*/ 597694 w 695325"/>
                <a:gd name="connsiteY68" fmla="*/ 733425 h 785813"/>
                <a:gd name="connsiteX69" fmla="*/ 619125 w 695325"/>
                <a:gd name="connsiteY69" fmla="*/ 742950 h 785813"/>
                <a:gd name="connsiteX70" fmla="*/ 611981 w 695325"/>
                <a:gd name="connsiteY70" fmla="*/ 716757 h 785813"/>
                <a:gd name="connsiteX71" fmla="*/ 623888 w 695325"/>
                <a:gd name="connsiteY71" fmla="*/ 707232 h 785813"/>
                <a:gd name="connsiteX72" fmla="*/ 619125 w 695325"/>
                <a:gd name="connsiteY72" fmla="*/ 683419 h 785813"/>
                <a:gd name="connsiteX73" fmla="*/ 602456 w 695325"/>
                <a:gd name="connsiteY73" fmla="*/ 664369 h 785813"/>
                <a:gd name="connsiteX74" fmla="*/ 607219 w 695325"/>
                <a:gd name="connsiteY74" fmla="*/ 647700 h 785813"/>
                <a:gd name="connsiteX75" fmla="*/ 592931 w 695325"/>
                <a:gd name="connsiteY75" fmla="*/ 640557 h 785813"/>
                <a:gd name="connsiteX76" fmla="*/ 585788 w 695325"/>
                <a:gd name="connsiteY76" fmla="*/ 628650 h 785813"/>
                <a:gd name="connsiteX77" fmla="*/ 564356 w 695325"/>
                <a:gd name="connsiteY77" fmla="*/ 623888 h 785813"/>
                <a:gd name="connsiteX78" fmla="*/ 550069 w 695325"/>
                <a:gd name="connsiteY78" fmla="*/ 588169 h 785813"/>
                <a:gd name="connsiteX79" fmla="*/ 540544 w 695325"/>
                <a:gd name="connsiteY79" fmla="*/ 581025 h 785813"/>
                <a:gd name="connsiteX80" fmla="*/ 550069 w 695325"/>
                <a:gd name="connsiteY80" fmla="*/ 561975 h 785813"/>
                <a:gd name="connsiteX81" fmla="*/ 545306 w 695325"/>
                <a:gd name="connsiteY81" fmla="*/ 547688 h 785813"/>
                <a:gd name="connsiteX82" fmla="*/ 540544 w 695325"/>
                <a:gd name="connsiteY82" fmla="*/ 523875 h 785813"/>
                <a:gd name="connsiteX83" fmla="*/ 571500 w 695325"/>
                <a:gd name="connsiteY83" fmla="*/ 519113 h 785813"/>
                <a:gd name="connsiteX84" fmla="*/ 595313 w 695325"/>
                <a:gd name="connsiteY84" fmla="*/ 550069 h 785813"/>
                <a:gd name="connsiteX85" fmla="*/ 626269 w 695325"/>
                <a:gd name="connsiteY85" fmla="*/ 569119 h 785813"/>
                <a:gd name="connsiteX86" fmla="*/ 631031 w 695325"/>
                <a:gd name="connsiteY86" fmla="*/ 592932 h 785813"/>
                <a:gd name="connsiteX87" fmla="*/ 659606 w 695325"/>
                <a:gd name="connsiteY87" fmla="*/ 611982 h 785813"/>
                <a:gd name="connsiteX88" fmla="*/ 650081 w 695325"/>
                <a:gd name="connsiteY88" fmla="*/ 576263 h 785813"/>
                <a:gd name="connsiteX89" fmla="*/ 669131 w 695325"/>
                <a:gd name="connsiteY89" fmla="*/ 576263 h 785813"/>
                <a:gd name="connsiteX90" fmla="*/ 683419 w 695325"/>
                <a:gd name="connsiteY90" fmla="*/ 554832 h 785813"/>
                <a:gd name="connsiteX91" fmla="*/ 671513 w 695325"/>
                <a:gd name="connsiteY91" fmla="*/ 535782 h 785813"/>
                <a:gd name="connsiteX92" fmla="*/ 695325 w 695325"/>
                <a:gd name="connsiteY92" fmla="*/ 528638 h 785813"/>
                <a:gd name="connsiteX93" fmla="*/ 676275 w 695325"/>
                <a:gd name="connsiteY93" fmla="*/ 516732 h 785813"/>
                <a:gd name="connsiteX94" fmla="*/ 645319 w 695325"/>
                <a:gd name="connsiteY94" fmla="*/ 511969 h 785813"/>
                <a:gd name="connsiteX95" fmla="*/ 652463 w 695325"/>
                <a:gd name="connsiteY95" fmla="*/ 483394 h 785813"/>
                <a:gd name="connsiteX96" fmla="*/ 631031 w 695325"/>
                <a:gd name="connsiteY96" fmla="*/ 488157 h 785813"/>
                <a:gd name="connsiteX97" fmla="*/ 631031 w 695325"/>
                <a:gd name="connsiteY97" fmla="*/ 461963 h 785813"/>
                <a:gd name="connsiteX98" fmla="*/ 609600 w 695325"/>
                <a:gd name="connsiteY98" fmla="*/ 452438 h 785813"/>
                <a:gd name="connsiteX99" fmla="*/ 602456 w 695325"/>
                <a:gd name="connsiteY99" fmla="*/ 435769 h 785813"/>
                <a:gd name="connsiteX100" fmla="*/ 585788 w 695325"/>
                <a:gd name="connsiteY100" fmla="*/ 447675 h 785813"/>
                <a:gd name="connsiteX101" fmla="*/ 576263 w 695325"/>
                <a:gd name="connsiteY101" fmla="*/ 423863 h 785813"/>
                <a:gd name="connsiteX102" fmla="*/ 545306 w 695325"/>
                <a:gd name="connsiteY102" fmla="*/ 400050 h 785813"/>
                <a:gd name="connsiteX103" fmla="*/ 526256 w 695325"/>
                <a:gd name="connsiteY103" fmla="*/ 400050 h 785813"/>
                <a:gd name="connsiteX104" fmla="*/ 540544 w 695325"/>
                <a:gd name="connsiteY104" fmla="*/ 381000 h 785813"/>
                <a:gd name="connsiteX105" fmla="*/ 540544 w 695325"/>
                <a:gd name="connsiteY105" fmla="*/ 359569 h 785813"/>
                <a:gd name="connsiteX106" fmla="*/ 535781 w 695325"/>
                <a:gd name="connsiteY106" fmla="*/ 352425 h 785813"/>
                <a:gd name="connsiteX107" fmla="*/ 578644 w 695325"/>
                <a:gd name="connsiteY107" fmla="*/ 364332 h 785813"/>
                <a:gd name="connsiteX108" fmla="*/ 566738 w 695325"/>
                <a:gd name="connsiteY108" fmla="*/ 347663 h 785813"/>
                <a:gd name="connsiteX109" fmla="*/ 528638 w 695325"/>
                <a:gd name="connsiteY109" fmla="*/ 335757 h 785813"/>
                <a:gd name="connsiteX110" fmla="*/ 519113 w 695325"/>
                <a:gd name="connsiteY110" fmla="*/ 321469 h 785813"/>
                <a:gd name="connsiteX111" fmla="*/ 557213 w 695325"/>
                <a:gd name="connsiteY111" fmla="*/ 307182 h 785813"/>
                <a:gd name="connsiteX112" fmla="*/ 545306 w 695325"/>
                <a:gd name="connsiteY112" fmla="*/ 280988 h 785813"/>
                <a:gd name="connsiteX113" fmla="*/ 538163 w 695325"/>
                <a:gd name="connsiteY113" fmla="*/ 297657 h 785813"/>
                <a:gd name="connsiteX114" fmla="*/ 514350 w 695325"/>
                <a:gd name="connsiteY114" fmla="*/ 309563 h 785813"/>
                <a:gd name="connsiteX115" fmla="*/ 507206 w 695325"/>
                <a:gd name="connsiteY115" fmla="*/ 288132 h 785813"/>
                <a:gd name="connsiteX116" fmla="*/ 500063 w 695325"/>
                <a:gd name="connsiteY116" fmla="*/ 278607 h 785813"/>
                <a:gd name="connsiteX117" fmla="*/ 523875 w 695325"/>
                <a:gd name="connsiteY117" fmla="*/ 259557 h 785813"/>
                <a:gd name="connsiteX118" fmla="*/ 504825 w 695325"/>
                <a:gd name="connsiteY118" fmla="*/ 242888 h 785813"/>
                <a:gd name="connsiteX119" fmla="*/ 485775 w 695325"/>
                <a:gd name="connsiteY119" fmla="*/ 254794 h 785813"/>
                <a:gd name="connsiteX120" fmla="*/ 473869 w 695325"/>
                <a:gd name="connsiteY120" fmla="*/ 240507 h 785813"/>
                <a:gd name="connsiteX121" fmla="*/ 471488 w 695325"/>
                <a:gd name="connsiteY121" fmla="*/ 223838 h 785813"/>
                <a:gd name="connsiteX122" fmla="*/ 452438 w 695325"/>
                <a:gd name="connsiteY122" fmla="*/ 230982 h 785813"/>
                <a:gd name="connsiteX123" fmla="*/ 450056 w 695325"/>
                <a:gd name="connsiteY123" fmla="*/ 214313 h 785813"/>
                <a:gd name="connsiteX124" fmla="*/ 457200 w 695325"/>
                <a:gd name="connsiteY124" fmla="*/ 202407 h 785813"/>
                <a:gd name="connsiteX125" fmla="*/ 433388 w 695325"/>
                <a:gd name="connsiteY125" fmla="*/ 171450 h 785813"/>
                <a:gd name="connsiteX126" fmla="*/ 423863 w 695325"/>
                <a:gd name="connsiteY126" fmla="*/ 190500 h 785813"/>
                <a:gd name="connsiteX127" fmla="*/ 416719 w 695325"/>
                <a:gd name="connsiteY127" fmla="*/ 207169 h 785813"/>
                <a:gd name="connsiteX128" fmla="*/ 397669 w 695325"/>
                <a:gd name="connsiteY128" fmla="*/ 192882 h 785813"/>
                <a:gd name="connsiteX129" fmla="*/ 395288 w 695325"/>
                <a:gd name="connsiteY129" fmla="*/ 166688 h 785813"/>
                <a:gd name="connsiteX130" fmla="*/ 383381 w 695325"/>
                <a:gd name="connsiteY130" fmla="*/ 180975 h 785813"/>
                <a:gd name="connsiteX131" fmla="*/ 376238 w 695325"/>
                <a:gd name="connsiteY131" fmla="*/ 166688 h 785813"/>
                <a:gd name="connsiteX132" fmla="*/ 376238 w 695325"/>
                <a:gd name="connsiteY132" fmla="*/ 147638 h 785813"/>
                <a:gd name="connsiteX133" fmla="*/ 364331 w 695325"/>
                <a:gd name="connsiteY133" fmla="*/ 142875 h 785813"/>
                <a:gd name="connsiteX134" fmla="*/ 364331 w 695325"/>
                <a:gd name="connsiteY134" fmla="*/ 116682 h 785813"/>
                <a:gd name="connsiteX135" fmla="*/ 309563 w 695325"/>
                <a:gd name="connsiteY135" fmla="*/ 90488 h 785813"/>
                <a:gd name="connsiteX136" fmla="*/ 288131 w 695325"/>
                <a:gd name="connsiteY136" fmla="*/ 97632 h 785813"/>
                <a:gd name="connsiteX137" fmla="*/ 292894 w 695325"/>
                <a:gd name="connsiteY137" fmla="*/ 123825 h 785813"/>
                <a:gd name="connsiteX138" fmla="*/ 273844 w 695325"/>
                <a:gd name="connsiteY138" fmla="*/ 126207 h 785813"/>
                <a:gd name="connsiteX139" fmla="*/ 259556 w 695325"/>
                <a:gd name="connsiteY139" fmla="*/ 121444 h 785813"/>
                <a:gd name="connsiteX140" fmla="*/ 247650 w 695325"/>
                <a:gd name="connsiteY140" fmla="*/ 140494 h 785813"/>
                <a:gd name="connsiteX141" fmla="*/ 223838 w 695325"/>
                <a:gd name="connsiteY141" fmla="*/ 152400 h 785813"/>
                <a:gd name="connsiteX142" fmla="*/ 221456 w 695325"/>
                <a:gd name="connsiteY142" fmla="*/ 130969 h 785813"/>
                <a:gd name="connsiteX143" fmla="*/ 223838 w 695325"/>
                <a:gd name="connsiteY143" fmla="*/ 92869 h 785813"/>
                <a:gd name="connsiteX144" fmla="*/ 216694 w 695325"/>
                <a:gd name="connsiteY144" fmla="*/ 66675 h 785813"/>
                <a:gd name="connsiteX145" fmla="*/ 214313 w 695325"/>
                <a:gd name="connsiteY145" fmla="*/ 50007 h 785813"/>
                <a:gd name="connsiteX146" fmla="*/ 204788 w 695325"/>
                <a:gd name="connsiteY146" fmla="*/ 28575 h 785813"/>
                <a:gd name="connsiteX147" fmla="*/ 202406 w 695325"/>
                <a:gd name="connsiteY147" fmla="*/ 0 h 785813"/>
                <a:gd name="connsiteX148" fmla="*/ 183356 w 695325"/>
                <a:gd name="connsiteY148" fmla="*/ 7144 h 785813"/>
                <a:gd name="connsiteX149" fmla="*/ 161926 w 695325"/>
                <a:gd name="connsiteY149" fmla="*/ 23813 h 785813"/>
                <a:gd name="connsiteX150" fmla="*/ 147638 w 695325"/>
                <a:gd name="connsiteY150" fmla="*/ 33338 h 785813"/>
                <a:gd name="connsiteX151" fmla="*/ 114300 w 695325"/>
                <a:gd name="connsiteY151" fmla="*/ 223837 h 785813"/>
                <a:gd name="connsiteX0" fmla="*/ 114300 w 695325"/>
                <a:gd name="connsiteY0" fmla="*/ 223837 h 785813"/>
                <a:gd name="connsiteX1" fmla="*/ 140494 w 695325"/>
                <a:gd name="connsiteY1" fmla="*/ 78582 h 785813"/>
                <a:gd name="connsiteX2" fmla="*/ 54769 w 695325"/>
                <a:gd name="connsiteY2" fmla="*/ 4763 h 785813"/>
                <a:gd name="connsiteX3" fmla="*/ 21431 w 695325"/>
                <a:gd name="connsiteY3" fmla="*/ 38100 h 785813"/>
                <a:gd name="connsiteX4" fmla="*/ 21431 w 695325"/>
                <a:gd name="connsiteY4" fmla="*/ 69057 h 785813"/>
                <a:gd name="connsiteX5" fmla="*/ 11906 w 695325"/>
                <a:gd name="connsiteY5" fmla="*/ 88107 h 785813"/>
                <a:gd name="connsiteX6" fmla="*/ 7144 w 695325"/>
                <a:gd name="connsiteY6" fmla="*/ 126207 h 785813"/>
                <a:gd name="connsiteX7" fmla="*/ 7144 w 695325"/>
                <a:gd name="connsiteY7" fmla="*/ 126207 h 785813"/>
                <a:gd name="connsiteX8" fmla="*/ 0 w 695325"/>
                <a:gd name="connsiteY8" fmla="*/ 145257 h 785813"/>
                <a:gd name="connsiteX9" fmla="*/ 0 w 695325"/>
                <a:gd name="connsiteY9" fmla="*/ 190500 h 785813"/>
                <a:gd name="connsiteX10" fmla="*/ 38100 w 695325"/>
                <a:gd name="connsiteY10" fmla="*/ 200025 h 785813"/>
                <a:gd name="connsiteX11" fmla="*/ 64294 w 695325"/>
                <a:gd name="connsiteY11" fmla="*/ 219075 h 785813"/>
                <a:gd name="connsiteX12" fmla="*/ 66675 w 695325"/>
                <a:gd name="connsiteY12" fmla="*/ 233363 h 785813"/>
                <a:gd name="connsiteX13" fmla="*/ 35719 w 695325"/>
                <a:gd name="connsiteY13" fmla="*/ 228600 h 785813"/>
                <a:gd name="connsiteX14" fmla="*/ 9525 w 695325"/>
                <a:gd name="connsiteY14" fmla="*/ 216694 h 785813"/>
                <a:gd name="connsiteX15" fmla="*/ 47625 w 695325"/>
                <a:gd name="connsiteY15" fmla="*/ 276225 h 785813"/>
                <a:gd name="connsiteX16" fmla="*/ 76200 w 695325"/>
                <a:gd name="connsiteY16" fmla="*/ 257175 h 785813"/>
                <a:gd name="connsiteX17" fmla="*/ 102394 w 695325"/>
                <a:gd name="connsiteY17" fmla="*/ 288132 h 785813"/>
                <a:gd name="connsiteX18" fmla="*/ 147638 w 695325"/>
                <a:gd name="connsiteY18" fmla="*/ 300038 h 785813"/>
                <a:gd name="connsiteX19" fmla="*/ 188119 w 695325"/>
                <a:gd name="connsiteY19" fmla="*/ 307182 h 785813"/>
                <a:gd name="connsiteX20" fmla="*/ 209550 w 695325"/>
                <a:gd name="connsiteY20" fmla="*/ 295275 h 785813"/>
                <a:gd name="connsiteX21" fmla="*/ 197644 w 695325"/>
                <a:gd name="connsiteY21" fmla="*/ 285750 h 785813"/>
                <a:gd name="connsiteX22" fmla="*/ 219075 w 695325"/>
                <a:gd name="connsiteY22" fmla="*/ 285750 h 785813"/>
                <a:gd name="connsiteX23" fmla="*/ 247650 w 695325"/>
                <a:gd name="connsiteY23" fmla="*/ 314325 h 785813"/>
                <a:gd name="connsiteX24" fmla="*/ 266700 w 695325"/>
                <a:gd name="connsiteY24" fmla="*/ 292894 h 785813"/>
                <a:gd name="connsiteX25" fmla="*/ 252413 w 695325"/>
                <a:gd name="connsiteY25" fmla="*/ 266700 h 785813"/>
                <a:gd name="connsiteX26" fmla="*/ 266700 w 695325"/>
                <a:gd name="connsiteY26" fmla="*/ 261938 h 785813"/>
                <a:gd name="connsiteX27" fmla="*/ 345281 w 695325"/>
                <a:gd name="connsiteY27" fmla="*/ 342900 h 785813"/>
                <a:gd name="connsiteX28" fmla="*/ 352425 w 695325"/>
                <a:gd name="connsiteY28" fmla="*/ 357188 h 785813"/>
                <a:gd name="connsiteX29" fmla="*/ 330994 w 695325"/>
                <a:gd name="connsiteY29" fmla="*/ 383382 h 785813"/>
                <a:gd name="connsiteX30" fmla="*/ 373856 w 695325"/>
                <a:gd name="connsiteY30" fmla="*/ 371475 h 785813"/>
                <a:gd name="connsiteX31" fmla="*/ 395288 w 695325"/>
                <a:gd name="connsiteY31" fmla="*/ 371475 h 785813"/>
                <a:gd name="connsiteX32" fmla="*/ 381000 w 695325"/>
                <a:gd name="connsiteY32" fmla="*/ 388144 h 785813"/>
                <a:gd name="connsiteX33" fmla="*/ 395288 w 695325"/>
                <a:gd name="connsiteY33" fmla="*/ 397669 h 785813"/>
                <a:gd name="connsiteX34" fmla="*/ 421481 w 695325"/>
                <a:gd name="connsiteY34" fmla="*/ 426244 h 785813"/>
                <a:gd name="connsiteX35" fmla="*/ 438150 w 695325"/>
                <a:gd name="connsiteY35" fmla="*/ 461963 h 785813"/>
                <a:gd name="connsiteX36" fmla="*/ 440531 w 695325"/>
                <a:gd name="connsiteY36" fmla="*/ 492919 h 785813"/>
                <a:gd name="connsiteX37" fmla="*/ 423863 w 695325"/>
                <a:gd name="connsiteY37" fmla="*/ 511969 h 785813"/>
                <a:gd name="connsiteX38" fmla="*/ 423863 w 695325"/>
                <a:gd name="connsiteY38" fmla="*/ 535782 h 785813"/>
                <a:gd name="connsiteX39" fmla="*/ 402431 w 695325"/>
                <a:gd name="connsiteY39" fmla="*/ 535782 h 785813"/>
                <a:gd name="connsiteX40" fmla="*/ 383381 w 695325"/>
                <a:gd name="connsiteY40" fmla="*/ 547688 h 785813"/>
                <a:gd name="connsiteX41" fmla="*/ 407194 w 695325"/>
                <a:gd name="connsiteY41" fmla="*/ 583407 h 785813"/>
                <a:gd name="connsiteX42" fmla="*/ 395288 w 695325"/>
                <a:gd name="connsiteY42" fmla="*/ 611982 h 785813"/>
                <a:gd name="connsiteX43" fmla="*/ 359569 w 695325"/>
                <a:gd name="connsiteY43" fmla="*/ 611982 h 785813"/>
                <a:gd name="connsiteX44" fmla="*/ 328613 w 695325"/>
                <a:gd name="connsiteY44" fmla="*/ 609600 h 785813"/>
                <a:gd name="connsiteX45" fmla="*/ 309563 w 695325"/>
                <a:gd name="connsiteY45" fmla="*/ 597694 h 785813"/>
                <a:gd name="connsiteX46" fmla="*/ 297656 w 695325"/>
                <a:gd name="connsiteY46" fmla="*/ 621507 h 785813"/>
                <a:gd name="connsiteX47" fmla="*/ 297656 w 695325"/>
                <a:gd name="connsiteY47" fmla="*/ 645319 h 785813"/>
                <a:gd name="connsiteX48" fmla="*/ 330994 w 695325"/>
                <a:gd name="connsiteY48" fmla="*/ 661988 h 785813"/>
                <a:gd name="connsiteX49" fmla="*/ 354806 w 695325"/>
                <a:gd name="connsiteY49" fmla="*/ 642938 h 785813"/>
                <a:gd name="connsiteX50" fmla="*/ 371475 w 695325"/>
                <a:gd name="connsiteY50" fmla="*/ 638175 h 785813"/>
                <a:gd name="connsiteX51" fmla="*/ 378619 w 695325"/>
                <a:gd name="connsiteY51" fmla="*/ 628650 h 785813"/>
                <a:gd name="connsiteX52" fmla="*/ 400050 w 695325"/>
                <a:gd name="connsiteY52" fmla="*/ 640557 h 785813"/>
                <a:gd name="connsiteX53" fmla="*/ 414338 w 695325"/>
                <a:gd name="connsiteY53" fmla="*/ 659607 h 785813"/>
                <a:gd name="connsiteX54" fmla="*/ 438150 w 695325"/>
                <a:gd name="connsiteY54" fmla="*/ 688182 h 785813"/>
                <a:gd name="connsiteX55" fmla="*/ 452438 w 695325"/>
                <a:gd name="connsiteY55" fmla="*/ 688182 h 785813"/>
                <a:gd name="connsiteX56" fmla="*/ 464344 w 695325"/>
                <a:gd name="connsiteY56" fmla="*/ 704850 h 785813"/>
                <a:gd name="connsiteX57" fmla="*/ 450056 w 695325"/>
                <a:gd name="connsiteY57" fmla="*/ 714375 h 785813"/>
                <a:gd name="connsiteX58" fmla="*/ 481013 w 695325"/>
                <a:gd name="connsiteY58" fmla="*/ 740569 h 785813"/>
                <a:gd name="connsiteX59" fmla="*/ 497681 w 695325"/>
                <a:gd name="connsiteY59" fmla="*/ 738188 h 785813"/>
                <a:gd name="connsiteX60" fmla="*/ 526256 w 695325"/>
                <a:gd name="connsiteY60" fmla="*/ 752475 h 785813"/>
                <a:gd name="connsiteX61" fmla="*/ 566738 w 695325"/>
                <a:gd name="connsiteY61" fmla="*/ 783432 h 785813"/>
                <a:gd name="connsiteX62" fmla="*/ 578644 w 695325"/>
                <a:gd name="connsiteY62" fmla="*/ 785813 h 785813"/>
                <a:gd name="connsiteX63" fmla="*/ 588169 w 695325"/>
                <a:gd name="connsiteY63" fmla="*/ 776288 h 785813"/>
                <a:gd name="connsiteX64" fmla="*/ 566738 w 695325"/>
                <a:gd name="connsiteY64" fmla="*/ 762000 h 785813"/>
                <a:gd name="connsiteX65" fmla="*/ 535781 w 695325"/>
                <a:gd name="connsiteY65" fmla="*/ 733425 h 785813"/>
                <a:gd name="connsiteX66" fmla="*/ 523875 w 695325"/>
                <a:gd name="connsiteY66" fmla="*/ 697707 h 785813"/>
                <a:gd name="connsiteX67" fmla="*/ 531019 w 695325"/>
                <a:gd name="connsiteY67" fmla="*/ 685800 h 785813"/>
                <a:gd name="connsiteX68" fmla="*/ 557213 w 695325"/>
                <a:gd name="connsiteY68" fmla="*/ 711994 h 785813"/>
                <a:gd name="connsiteX69" fmla="*/ 597694 w 695325"/>
                <a:gd name="connsiteY69" fmla="*/ 733425 h 785813"/>
                <a:gd name="connsiteX70" fmla="*/ 619125 w 695325"/>
                <a:gd name="connsiteY70" fmla="*/ 742950 h 785813"/>
                <a:gd name="connsiteX71" fmla="*/ 611981 w 695325"/>
                <a:gd name="connsiteY71" fmla="*/ 716757 h 785813"/>
                <a:gd name="connsiteX72" fmla="*/ 623888 w 695325"/>
                <a:gd name="connsiteY72" fmla="*/ 707232 h 785813"/>
                <a:gd name="connsiteX73" fmla="*/ 619125 w 695325"/>
                <a:gd name="connsiteY73" fmla="*/ 683419 h 785813"/>
                <a:gd name="connsiteX74" fmla="*/ 602456 w 695325"/>
                <a:gd name="connsiteY74" fmla="*/ 664369 h 785813"/>
                <a:gd name="connsiteX75" fmla="*/ 607219 w 695325"/>
                <a:gd name="connsiteY75" fmla="*/ 647700 h 785813"/>
                <a:gd name="connsiteX76" fmla="*/ 592931 w 695325"/>
                <a:gd name="connsiteY76" fmla="*/ 640557 h 785813"/>
                <a:gd name="connsiteX77" fmla="*/ 585788 w 695325"/>
                <a:gd name="connsiteY77" fmla="*/ 628650 h 785813"/>
                <a:gd name="connsiteX78" fmla="*/ 564356 w 695325"/>
                <a:gd name="connsiteY78" fmla="*/ 623888 h 785813"/>
                <a:gd name="connsiteX79" fmla="*/ 550069 w 695325"/>
                <a:gd name="connsiteY79" fmla="*/ 588169 h 785813"/>
                <a:gd name="connsiteX80" fmla="*/ 540544 w 695325"/>
                <a:gd name="connsiteY80" fmla="*/ 581025 h 785813"/>
                <a:gd name="connsiteX81" fmla="*/ 550069 w 695325"/>
                <a:gd name="connsiteY81" fmla="*/ 561975 h 785813"/>
                <a:gd name="connsiteX82" fmla="*/ 545306 w 695325"/>
                <a:gd name="connsiteY82" fmla="*/ 547688 h 785813"/>
                <a:gd name="connsiteX83" fmla="*/ 540544 w 695325"/>
                <a:gd name="connsiteY83" fmla="*/ 523875 h 785813"/>
                <a:gd name="connsiteX84" fmla="*/ 571500 w 695325"/>
                <a:gd name="connsiteY84" fmla="*/ 519113 h 785813"/>
                <a:gd name="connsiteX85" fmla="*/ 595313 w 695325"/>
                <a:gd name="connsiteY85" fmla="*/ 550069 h 785813"/>
                <a:gd name="connsiteX86" fmla="*/ 626269 w 695325"/>
                <a:gd name="connsiteY86" fmla="*/ 569119 h 785813"/>
                <a:gd name="connsiteX87" fmla="*/ 631031 w 695325"/>
                <a:gd name="connsiteY87" fmla="*/ 592932 h 785813"/>
                <a:gd name="connsiteX88" fmla="*/ 659606 w 695325"/>
                <a:gd name="connsiteY88" fmla="*/ 611982 h 785813"/>
                <a:gd name="connsiteX89" fmla="*/ 650081 w 695325"/>
                <a:gd name="connsiteY89" fmla="*/ 576263 h 785813"/>
                <a:gd name="connsiteX90" fmla="*/ 669131 w 695325"/>
                <a:gd name="connsiteY90" fmla="*/ 576263 h 785813"/>
                <a:gd name="connsiteX91" fmla="*/ 683419 w 695325"/>
                <a:gd name="connsiteY91" fmla="*/ 554832 h 785813"/>
                <a:gd name="connsiteX92" fmla="*/ 671513 w 695325"/>
                <a:gd name="connsiteY92" fmla="*/ 535782 h 785813"/>
                <a:gd name="connsiteX93" fmla="*/ 695325 w 695325"/>
                <a:gd name="connsiteY93" fmla="*/ 528638 h 785813"/>
                <a:gd name="connsiteX94" fmla="*/ 676275 w 695325"/>
                <a:gd name="connsiteY94" fmla="*/ 516732 h 785813"/>
                <a:gd name="connsiteX95" fmla="*/ 645319 w 695325"/>
                <a:gd name="connsiteY95" fmla="*/ 511969 h 785813"/>
                <a:gd name="connsiteX96" fmla="*/ 652463 w 695325"/>
                <a:gd name="connsiteY96" fmla="*/ 483394 h 785813"/>
                <a:gd name="connsiteX97" fmla="*/ 631031 w 695325"/>
                <a:gd name="connsiteY97" fmla="*/ 488157 h 785813"/>
                <a:gd name="connsiteX98" fmla="*/ 631031 w 695325"/>
                <a:gd name="connsiteY98" fmla="*/ 461963 h 785813"/>
                <a:gd name="connsiteX99" fmla="*/ 609600 w 695325"/>
                <a:gd name="connsiteY99" fmla="*/ 452438 h 785813"/>
                <a:gd name="connsiteX100" fmla="*/ 602456 w 695325"/>
                <a:gd name="connsiteY100" fmla="*/ 435769 h 785813"/>
                <a:gd name="connsiteX101" fmla="*/ 585788 w 695325"/>
                <a:gd name="connsiteY101" fmla="*/ 447675 h 785813"/>
                <a:gd name="connsiteX102" fmla="*/ 576263 w 695325"/>
                <a:gd name="connsiteY102" fmla="*/ 423863 h 785813"/>
                <a:gd name="connsiteX103" fmla="*/ 545306 w 695325"/>
                <a:gd name="connsiteY103" fmla="*/ 400050 h 785813"/>
                <a:gd name="connsiteX104" fmla="*/ 526256 w 695325"/>
                <a:gd name="connsiteY104" fmla="*/ 400050 h 785813"/>
                <a:gd name="connsiteX105" fmla="*/ 540544 w 695325"/>
                <a:gd name="connsiteY105" fmla="*/ 381000 h 785813"/>
                <a:gd name="connsiteX106" fmla="*/ 540544 w 695325"/>
                <a:gd name="connsiteY106" fmla="*/ 359569 h 785813"/>
                <a:gd name="connsiteX107" fmla="*/ 535781 w 695325"/>
                <a:gd name="connsiteY107" fmla="*/ 352425 h 785813"/>
                <a:gd name="connsiteX108" fmla="*/ 578644 w 695325"/>
                <a:gd name="connsiteY108" fmla="*/ 364332 h 785813"/>
                <a:gd name="connsiteX109" fmla="*/ 566738 w 695325"/>
                <a:gd name="connsiteY109" fmla="*/ 347663 h 785813"/>
                <a:gd name="connsiteX110" fmla="*/ 528638 w 695325"/>
                <a:gd name="connsiteY110" fmla="*/ 335757 h 785813"/>
                <a:gd name="connsiteX111" fmla="*/ 519113 w 695325"/>
                <a:gd name="connsiteY111" fmla="*/ 321469 h 785813"/>
                <a:gd name="connsiteX112" fmla="*/ 557213 w 695325"/>
                <a:gd name="connsiteY112" fmla="*/ 307182 h 785813"/>
                <a:gd name="connsiteX113" fmla="*/ 545306 w 695325"/>
                <a:gd name="connsiteY113" fmla="*/ 280988 h 785813"/>
                <a:gd name="connsiteX114" fmla="*/ 538163 w 695325"/>
                <a:gd name="connsiteY114" fmla="*/ 297657 h 785813"/>
                <a:gd name="connsiteX115" fmla="*/ 514350 w 695325"/>
                <a:gd name="connsiteY115" fmla="*/ 309563 h 785813"/>
                <a:gd name="connsiteX116" fmla="*/ 507206 w 695325"/>
                <a:gd name="connsiteY116" fmla="*/ 288132 h 785813"/>
                <a:gd name="connsiteX117" fmla="*/ 500063 w 695325"/>
                <a:gd name="connsiteY117" fmla="*/ 278607 h 785813"/>
                <a:gd name="connsiteX118" fmla="*/ 523875 w 695325"/>
                <a:gd name="connsiteY118" fmla="*/ 259557 h 785813"/>
                <a:gd name="connsiteX119" fmla="*/ 504825 w 695325"/>
                <a:gd name="connsiteY119" fmla="*/ 242888 h 785813"/>
                <a:gd name="connsiteX120" fmla="*/ 485775 w 695325"/>
                <a:gd name="connsiteY120" fmla="*/ 254794 h 785813"/>
                <a:gd name="connsiteX121" fmla="*/ 473869 w 695325"/>
                <a:gd name="connsiteY121" fmla="*/ 240507 h 785813"/>
                <a:gd name="connsiteX122" fmla="*/ 471488 w 695325"/>
                <a:gd name="connsiteY122" fmla="*/ 223838 h 785813"/>
                <a:gd name="connsiteX123" fmla="*/ 452438 w 695325"/>
                <a:gd name="connsiteY123" fmla="*/ 230982 h 785813"/>
                <a:gd name="connsiteX124" fmla="*/ 450056 w 695325"/>
                <a:gd name="connsiteY124" fmla="*/ 214313 h 785813"/>
                <a:gd name="connsiteX125" fmla="*/ 457200 w 695325"/>
                <a:gd name="connsiteY125" fmla="*/ 202407 h 785813"/>
                <a:gd name="connsiteX126" fmla="*/ 433388 w 695325"/>
                <a:gd name="connsiteY126" fmla="*/ 171450 h 785813"/>
                <a:gd name="connsiteX127" fmla="*/ 423863 w 695325"/>
                <a:gd name="connsiteY127" fmla="*/ 190500 h 785813"/>
                <a:gd name="connsiteX128" fmla="*/ 416719 w 695325"/>
                <a:gd name="connsiteY128" fmla="*/ 207169 h 785813"/>
                <a:gd name="connsiteX129" fmla="*/ 397669 w 695325"/>
                <a:gd name="connsiteY129" fmla="*/ 192882 h 785813"/>
                <a:gd name="connsiteX130" fmla="*/ 395288 w 695325"/>
                <a:gd name="connsiteY130" fmla="*/ 166688 h 785813"/>
                <a:gd name="connsiteX131" fmla="*/ 383381 w 695325"/>
                <a:gd name="connsiteY131" fmla="*/ 180975 h 785813"/>
                <a:gd name="connsiteX132" fmla="*/ 376238 w 695325"/>
                <a:gd name="connsiteY132" fmla="*/ 166688 h 785813"/>
                <a:gd name="connsiteX133" fmla="*/ 376238 w 695325"/>
                <a:gd name="connsiteY133" fmla="*/ 147638 h 785813"/>
                <a:gd name="connsiteX134" fmla="*/ 364331 w 695325"/>
                <a:gd name="connsiteY134" fmla="*/ 142875 h 785813"/>
                <a:gd name="connsiteX135" fmla="*/ 364331 w 695325"/>
                <a:gd name="connsiteY135" fmla="*/ 116682 h 785813"/>
                <a:gd name="connsiteX136" fmla="*/ 309563 w 695325"/>
                <a:gd name="connsiteY136" fmla="*/ 90488 h 785813"/>
                <a:gd name="connsiteX137" fmla="*/ 288131 w 695325"/>
                <a:gd name="connsiteY137" fmla="*/ 97632 h 785813"/>
                <a:gd name="connsiteX138" fmla="*/ 292894 w 695325"/>
                <a:gd name="connsiteY138" fmla="*/ 123825 h 785813"/>
                <a:gd name="connsiteX139" fmla="*/ 273844 w 695325"/>
                <a:gd name="connsiteY139" fmla="*/ 126207 h 785813"/>
                <a:gd name="connsiteX140" fmla="*/ 259556 w 695325"/>
                <a:gd name="connsiteY140" fmla="*/ 121444 h 785813"/>
                <a:gd name="connsiteX141" fmla="*/ 247650 w 695325"/>
                <a:gd name="connsiteY141" fmla="*/ 140494 h 785813"/>
                <a:gd name="connsiteX142" fmla="*/ 223838 w 695325"/>
                <a:gd name="connsiteY142" fmla="*/ 152400 h 785813"/>
                <a:gd name="connsiteX143" fmla="*/ 221456 w 695325"/>
                <a:gd name="connsiteY143" fmla="*/ 130969 h 785813"/>
                <a:gd name="connsiteX144" fmla="*/ 223838 w 695325"/>
                <a:gd name="connsiteY144" fmla="*/ 92869 h 785813"/>
                <a:gd name="connsiteX145" fmla="*/ 216694 w 695325"/>
                <a:gd name="connsiteY145" fmla="*/ 66675 h 785813"/>
                <a:gd name="connsiteX146" fmla="*/ 214313 w 695325"/>
                <a:gd name="connsiteY146" fmla="*/ 50007 h 785813"/>
                <a:gd name="connsiteX147" fmla="*/ 204788 w 695325"/>
                <a:gd name="connsiteY147" fmla="*/ 28575 h 785813"/>
                <a:gd name="connsiteX148" fmla="*/ 202406 w 695325"/>
                <a:gd name="connsiteY148" fmla="*/ 0 h 785813"/>
                <a:gd name="connsiteX149" fmla="*/ 183356 w 695325"/>
                <a:gd name="connsiteY149" fmla="*/ 7144 h 785813"/>
                <a:gd name="connsiteX150" fmla="*/ 161926 w 695325"/>
                <a:gd name="connsiteY150" fmla="*/ 23813 h 785813"/>
                <a:gd name="connsiteX151" fmla="*/ 147638 w 695325"/>
                <a:gd name="connsiteY151" fmla="*/ 33338 h 785813"/>
                <a:gd name="connsiteX152" fmla="*/ 114300 w 695325"/>
                <a:gd name="connsiteY152" fmla="*/ 223837 h 785813"/>
                <a:gd name="connsiteX0" fmla="*/ 114300 w 695325"/>
                <a:gd name="connsiteY0" fmla="*/ 223837 h 785813"/>
                <a:gd name="connsiteX1" fmla="*/ 102394 w 695325"/>
                <a:gd name="connsiteY1" fmla="*/ 1 h 785813"/>
                <a:gd name="connsiteX2" fmla="*/ 54769 w 695325"/>
                <a:gd name="connsiteY2" fmla="*/ 4763 h 785813"/>
                <a:gd name="connsiteX3" fmla="*/ 21431 w 695325"/>
                <a:gd name="connsiteY3" fmla="*/ 38100 h 785813"/>
                <a:gd name="connsiteX4" fmla="*/ 21431 w 695325"/>
                <a:gd name="connsiteY4" fmla="*/ 69057 h 785813"/>
                <a:gd name="connsiteX5" fmla="*/ 11906 w 695325"/>
                <a:gd name="connsiteY5" fmla="*/ 88107 h 785813"/>
                <a:gd name="connsiteX6" fmla="*/ 7144 w 695325"/>
                <a:gd name="connsiteY6" fmla="*/ 126207 h 785813"/>
                <a:gd name="connsiteX7" fmla="*/ 7144 w 695325"/>
                <a:gd name="connsiteY7" fmla="*/ 126207 h 785813"/>
                <a:gd name="connsiteX8" fmla="*/ 0 w 695325"/>
                <a:gd name="connsiteY8" fmla="*/ 145257 h 785813"/>
                <a:gd name="connsiteX9" fmla="*/ 0 w 695325"/>
                <a:gd name="connsiteY9" fmla="*/ 190500 h 785813"/>
                <a:gd name="connsiteX10" fmla="*/ 38100 w 695325"/>
                <a:gd name="connsiteY10" fmla="*/ 200025 h 785813"/>
                <a:gd name="connsiteX11" fmla="*/ 64294 w 695325"/>
                <a:gd name="connsiteY11" fmla="*/ 219075 h 785813"/>
                <a:gd name="connsiteX12" fmla="*/ 66675 w 695325"/>
                <a:gd name="connsiteY12" fmla="*/ 233363 h 785813"/>
                <a:gd name="connsiteX13" fmla="*/ 35719 w 695325"/>
                <a:gd name="connsiteY13" fmla="*/ 228600 h 785813"/>
                <a:gd name="connsiteX14" fmla="*/ 9525 w 695325"/>
                <a:gd name="connsiteY14" fmla="*/ 216694 h 785813"/>
                <a:gd name="connsiteX15" fmla="*/ 47625 w 695325"/>
                <a:gd name="connsiteY15" fmla="*/ 276225 h 785813"/>
                <a:gd name="connsiteX16" fmla="*/ 76200 w 695325"/>
                <a:gd name="connsiteY16" fmla="*/ 257175 h 785813"/>
                <a:gd name="connsiteX17" fmla="*/ 102394 w 695325"/>
                <a:gd name="connsiteY17" fmla="*/ 288132 h 785813"/>
                <a:gd name="connsiteX18" fmla="*/ 147638 w 695325"/>
                <a:gd name="connsiteY18" fmla="*/ 300038 h 785813"/>
                <a:gd name="connsiteX19" fmla="*/ 188119 w 695325"/>
                <a:gd name="connsiteY19" fmla="*/ 307182 h 785813"/>
                <a:gd name="connsiteX20" fmla="*/ 209550 w 695325"/>
                <a:gd name="connsiteY20" fmla="*/ 295275 h 785813"/>
                <a:gd name="connsiteX21" fmla="*/ 197644 w 695325"/>
                <a:gd name="connsiteY21" fmla="*/ 285750 h 785813"/>
                <a:gd name="connsiteX22" fmla="*/ 219075 w 695325"/>
                <a:gd name="connsiteY22" fmla="*/ 285750 h 785813"/>
                <a:gd name="connsiteX23" fmla="*/ 247650 w 695325"/>
                <a:gd name="connsiteY23" fmla="*/ 314325 h 785813"/>
                <a:gd name="connsiteX24" fmla="*/ 266700 w 695325"/>
                <a:gd name="connsiteY24" fmla="*/ 292894 h 785813"/>
                <a:gd name="connsiteX25" fmla="*/ 252413 w 695325"/>
                <a:gd name="connsiteY25" fmla="*/ 266700 h 785813"/>
                <a:gd name="connsiteX26" fmla="*/ 266700 w 695325"/>
                <a:gd name="connsiteY26" fmla="*/ 261938 h 785813"/>
                <a:gd name="connsiteX27" fmla="*/ 345281 w 695325"/>
                <a:gd name="connsiteY27" fmla="*/ 342900 h 785813"/>
                <a:gd name="connsiteX28" fmla="*/ 352425 w 695325"/>
                <a:gd name="connsiteY28" fmla="*/ 357188 h 785813"/>
                <a:gd name="connsiteX29" fmla="*/ 330994 w 695325"/>
                <a:gd name="connsiteY29" fmla="*/ 383382 h 785813"/>
                <a:gd name="connsiteX30" fmla="*/ 373856 w 695325"/>
                <a:gd name="connsiteY30" fmla="*/ 371475 h 785813"/>
                <a:gd name="connsiteX31" fmla="*/ 395288 w 695325"/>
                <a:gd name="connsiteY31" fmla="*/ 371475 h 785813"/>
                <a:gd name="connsiteX32" fmla="*/ 381000 w 695325"/>
                <a:gd name="connsiteY32" fmla="*/ 388144 h 785813"/>
                <a:gd name="connsiteX33" fmla="*/ 395288 w 695325"/>
                <a:gd name="connsiteY33" fmla="*/ 397669 h 785813"/>
                <a:gd name="connsiteX34" fmla="*/ 421481 w 695325"/>
                <a:gd name="connsiteY34" fmla="*/ 426244 h 785813"/>
                <a:gd name="connsiteX35" fmla="*/ 438150 w 695325"/>
                <a:gd name="connsiteY35" fmla="*/ 461963 h 785813"/>
                <a:gd name="connsiteX36" fmla="*/ 440531 w 695325"/>
                <a:gd name="connsiteY36" fmla="*/ 492919 h 785813"/>
                <a:gd name="connsiteX37" fmla="*/ 423863 w 695325"/>
                <a:gd name="connsiteY37" fmla="*/ 511969 h 785813"/>
                <a:gd name="connsiteX38" fmla="*/ 423863 w 695325"/>
                <a:gd name="connsiteY38" fmla="*/ 535782 h 785813"/>
                <a:gd name="connsiteX39" fmla="*/ 402431 w 695325"/>
                <a:gd name="connsiteY39" fmla="*/ 535782 h 785813"/>
                <a:gd name="connsiteX40" fmla="*/ 383381 w 695325"/>
                <a:gd name="connsiteY40" fmla="*/ 547688 h 785813"/>
                <a:gd name="connsiteX41" fmla="*/ 407194 w 695325"/>
                <a:gd name="connsiteY41" fmla="*/ 583407 h 785813"/>
                <a:gd name="connsiteX42" fmla="*/ 395288 w 695325"/>
                <a:gd name="connsiteY42" fmla="*/ 611982 h 785813"/>
                <a:gd name="connsiteX43" fmla="*/ 359569 w 695325"/>
                <a:gd name="connsiteY43" fmla="*/ 611982 h 785813"/>
                <a:gd name="connsiteX44" fmla="*/ 328613 w 695325"/>
                <a:gd name="connsiteY44" fmla="*/ 609600 h 785813"/>
                <a:gd name="connsiteX45" fmla="*/ 309563 w 695325"/>
                <a:gd name="connsiteY45" fmla="*/ 597694 h 785813"/>
                <a:gd name="connsiteX46" fmla="*/ 297656 w 695325"/>
                <a:gd name="connsiteY46" fmla="*/ 621507 h 785813"/>
                <a:gd name="connsiteX47" fmla="*/ 297656 w 695325"/>
                <a:gd name="connsiteY47" fmla="*/ 645319 h 785813"/>
                <a:gd name="connsiteX48" fmla="*/ 330994 w 695325"/>
                <a:gd name="connsiteY48" fmla="*/ 661988 h 785813"/>
                <a:gd name="connsiteX49" fmla="*/ 354806 w 695325"/>
                <a:gd name="connsiteY49" fmla="*/ 642938 h 785813"/>
                <a:gd name="connsiteX50" fmla="*/ 371475 w 695325"/>
                <a:gd name="connsiteY50" fmla="*/ 638175 h 785813"/>
                <a:gd name="connsiteX51" fmla="*/ 378619 w 695325"/>
                <a:gd name="connsiteY51" fmla="*/ 628650 h 785813"/>
                <a:gd name="connsiteX52" fmla="*/ 400050 w 695325"/>
                <a:gd name="connsiteY52" fmla="*/ 640557 h 785813"/>
                <a:gd name="connsiteX53" fmla="*/ 414338 w 695325"/>
                <a:gd name="connsiteY53" fmla="*/ 659607 h 785813"/>
                <a:gd name="connsiteX54" fmla="*/ 438150 w 695325"/>
                <a:gd name="connsiteY54" fmla="*/ 688182 h 785813"/>
                <a:gd name="connsiteX55" fmla="*/ 452438 w 695325"/>
                <a:gd name="connsiteY55" fmla="*/ 688182 h 785813"/>
                <a:gd name="connsiteX56" fmla="*/ 464344 w 695325"/>
                <a:gd name="connsiteY56" fmla="*/ 704850 h 785813"/>
                <a:gd name="connsiteX57" fmla="*/ 450056 w 695325"/>
                <a:gd name="connsiteY57" fmla="*/ 714375 h 785813"/>
                <a:gd name="connsiteX58" fmla="*/ 481013 w 695325"/>
                <a:gd name="connsiteY58" fmla="*/ 740569 h 785813"/>
                <a:gd name="connsiteX59" fmla="*/ 497681 w 695325"/>
                <a:gd name="connsiteY59" fmla="*/ 738188 h 785813"/>
                <a:gd name="connsiteX60" fmla="*/ 526256 w 695325"/>
                <a:gd name="connsiteY60" fmla="*/ 752475 h 785813"/>
                <a:gd name="connsiteX61" fmla="*/ 566738 w 695325"/>
                <a:gd name="connsiteY61" fmla="*/ 783432 h 785813"/>
                <a:gd name="connsiteX62" fmla="*/ 578644 w 695325"/>
                <a:gd name="connsiteY62" fmla="*/ 785813 h 785813"/>
                <a:gd name="connsiteX63" fmla="*/ 588169 w 695325"/>
                <a:gd name="connsiteY63" fmla="*/ 776288 h 785813"/>
                <a:gd name="connsiteX64" fmla="*/ 566738 w 695325"/>
                <a:gd name="connsiteY64" fmla="*/ 762000 h 785813"/>
                <a:gd name="connsiteX65" fmla="*/ 535781 w 695325"/>
                <a:gd name="connsiteY65" fmla="*/ 733425 h 785813"/>
                <a:gd name="connsiteX66" fmla="*/ 523875 w 695325"/>
                <a:gd name="connsiteY66" fmla="*/ 697707 h 785813"/>
                <a:gd name="connsiteX67" fmla="*/ 531019 w 695325"/>
                <a:gd name="connsiteY67" fmla="*/ 685800 h 785813"/>
                <a:gd name="connsiteX68" fmla="*/ 557213 w 695325"/>
                <a:gd name="connsiteY68" fmla="*/ 711994 h 785813"/>
                <a:gd name="connsiteX69" fmla="*/ 597694 w 695325"/>
                <a:gd name="connsiteY69" fmla="*/ 733425 h 785813"/>
                <a:gd name="connsiteX70" fmla="*/ 619125 w 695325"/>
                <a:gd name="connsiteY70" fmla="*/ 742950 h 785813"/>
                <a:gd name="connsiteX71" fmla="*/ 611981 w 695325"/>
                <a:gd name="connsiteY71" fmla="*/ 716757 h 785813"/>
                <a:gd name="connsiteX72" fmla="*/ 623888 w 695325"/>
                <a:gd name="connsiteY72" fmla="*/ 707232 h 785813"/>
                <a:gd name="connsiteX73" fmla="*/ 619125 w 695325"/>
                <a:gd name="connsiteY73" fmla="*/ 683419 h 785813"/>
                <a:gd name="connsiteX74" fmla="*/ 602456 w 695325"/>
                <a:gd name="connsiteY74" fmla="*/ 664369 h 785813"/>
                <a:gd name="connsiteX75" fmla="*/ 607219 w 695325"/>
                <a:gd name="connsiteY75" fmla="*/ 647700 h 785813"/>
                <a:gd name="connsiteX76" fmla="*/ 592931 w 695325"/>
                <a:gd name="connsiteY76" fmla="*/ 640557 h 785813"/>
                <a:gd name="connsiteX77" fmla="*/ 585788 w 695325"/>
                <a:gd name="connsiteY77" fmla="*/ 628650 h 785813"/>
                <a:gd name="connsiteX78" fmla="*/ 564356 w 695325"/>
                <a:gd name="connsiteY78" fmla="*/ 623888 h 785813"/>
                <a:gd name="connsiteX79" fmla="*/ 550069 w 695325"/>
                <a:gd name="connsiteY79" fmla="*/ 588169 h 785813"/>
                <a:gd name="connsiteX80" fmla="*/ 540544 w 695325"/>
                <a:gd name="connsiteY80" fmla="*/ 581025 h 785813"/>
                <a:gd name="connsiteX81" fmla="*/ 550069 w 695325"/>
                <a:gd name="connsiteY81" fmla="*/ 561975 h 785813"/>
                <a:gd name="connsiteX82" fmla="*/ 545306 w 695325"/>
                <a:gd name="connsiteY82" fmla="*/ 547688 h 785813"/>
                <a:gd name="connsiteX83" fmla="*/ 540544 w 695325"/>
                <a:gd name="connsiteY83" fmla="*/ 523875 h 785813"/>
                <a:gd name="connsiteX84" fmla="*/ 571500 w 695325"/>
                <a:gd name="connsiteY84" fmla="*/ 519113 h 785813"/>
                <a:gd name="connsiteX85" fmla="*/ 595313 w 695325"/>
                <a:gd name="connsiteY85" fmla="*/ 550069 h 785813"/>
                <a:gd name="connsiteX86" fmla="*/ 626269 w 695325"/>
                <a:gd name="connsiteY86" fmla="*/ 569119 h 785813"/>
                <a:gd name="connsiteX87" fmla="*/ 631031 w 695325"/>
                <a:gd name="connsiteY87" fmla="*/ 592932 h 785813"/>
                <a:gd name="connsiteX88" fmla="*/ 659606 w 695325"/>
                <a:gd name="connsiteY88" fmla="*/ 611982 h 785813"/>
                <a:gd name="connsiteX89" fmla="*/ 650081 w 695325"/>
                <a:gd name="connsiteY89" fmla="*/ 576263 h 785813"/>
                <a:gd name="connsiteX90" fmla="*/ 669131 w 695325"/>
                <a:gd name="connsiteY90" fmla="*/ 576263 h 785813"/>
                <a:gd name="connsiteX91" fmla="*/ 683419 w 695325"/>
                <a:gd name="connsiteY91" fmla="*/ 554832 h 785813"/>
                <a:gd name="connsiteX92" fmla="*/ 671513 w 695325"/>
                <a:gd name="connsiteY92" fmla="*/ 535782 h 785813"/>
                <a:gd name="connsiteX93" fmla="*/ 695325 w 695325"/>
                <a:gd name="connsiteY93" fmla="*/ 528638 h 785813"/>
                <a:gd name="connsiteX94" fmla="*/ 676275 w 695325"/>
                <a:gd name="connsiteY94" fmla="*/ 516732 h 785813"/>
                <a:gd name="connsiteX95" fmla="*/ 645319 w 695325"/>
                <a:gd name="connsiteY95" fmla="*/ 511969 h 785813"/>
                <a:gd name="connsiteX96" fmla="*/ 652463 w 695325"/>
                <a:gd name="connsiteY96" fmla="*/ 483394 h 785813"/>
                <a:gd name="connsiteX97" fmla="*/ 631031 w 695325"/>
                <a:gd name="connsiteY97" fmla="*/ 488157 h 785813"/>
                <a:gd name="connsiteX98" fmla="*/ 631031 w 695325"/>
                <a:gd name="connsiteY98" fmla="*/ 461963 h 785813"/>
                <a:gd name="connsiteX99" fmla="*/ 609600 w 695325"/>
                <a:gd name="connsiteY99" fmla="*/ 452438 h 785813"/>
                <a:gd name="connsiteX100" fmla="*/ 602456 w 695325"/>
                <a:gd name="connsiteY100" fmla="*/ 435769 h 785813"/>
                <a:gd name="connsiteX101" fmla="*/ 585788 w 695325"/>
                <a:gd name="connsiteY101" fmla="*/ 447675 h 785813"/>
                <a:gd name="connsiteX102" fmla="*/ 576263 w 695325"/>
                <a:gd name="connsiteY102" fmla="*/ 423863 h 785813"/>
                <a:gd name="connsiteX103" fmla="*/ 545306 w 695325"/>
                <a:gd name="connsiteY103" fmla="*/ 400050 h 785813"/>
                <a:gd name="connsiteX104" fmla="*/ 526256 w 695325"/>
                <a:gd name="connsiteY104" fmla="*/ 400050 h 785813"/>
                <a:gd name="connsiteX105" fmla="*/ 540544 w 695325"/>
                <a:gd name="connsiteY105" fmla="*/ 381000 h 785813"/>
                <a:gd name="connsiteX106" fmla="*/ 540544 w 695325"/>
                <a:gd name="connsiteY106" fmla="*/ 359569 h 785813"/>
                <a:gd name="connsiteX107" fmla="*/ 535781 w 695325"/>
                <a:gd name="connsiteY107" fmla="*/ 352425 h 785813"/>
                <a:gd name="connsiteX108" fmla="*/ 578644 w 695325"/>
                <a:gd name="connsiteY108" fmla="*/ 364332 h 785813"/>
                <a:gd name="connsiteX109" fmla="*/ 566738 w 695325"/>
                <a:gd name="connsiteY109" fmla="*/ 347663 h 785813"/>
                <a:gd name="connsiteX110" fmla="*/ 528638 w 695325"/>
                <a:gd name="connsiteY110" fmla="*/ 335757 h 785813"/>
                <a:gd name="connsiteX111" fmla="*/ 519113 w 695325"/>
                <a:gd name="connsiteY111" fmla="*/ 321469 h 785813"/>
                <a:gd name="connsiteX112" fmla="*/ 557213 w 695325"/>
                <a:gd name="connsiteY112" fmla="*/ 307182 h 785813"/>
                <a:gd name="connsiteX113" fmla="*/ 545306 w 695325"/>
                <a:gd name="connsiteY113" fmla="*/ 280988 h 785813"/>
                <a:gd name="connsiteX114" fmla="*/ 538163 w 695325"/>
                <a:gd name="connsiteY114" fmla="*/ 297657 h 785813"/>
                <a:gd name="connsiteX115" fmla="*/ 514350 w 695325"/>
                <a:gd name="connsiteY115" fmla="*/ 309563 h 785813"/>
                <a:gd name="connsiteX116" fmla="*/ 507206 w 695325"/>
                <a:gd name="connsiteY116" fmla="*/ 288132 h 785813"/>
                <a:gd name="connsiteX117" fmla="*/ 500063 w 695325"/>
                <a:gd name="connsiteY117" fmla="*/ 278607 h 785813"/>
                <a:gd name="connsiteX118" fmla="*/ 523875 w 695325"/>
                <a:gd name="connsiteY118" fmla="*/ 259557 h 785813"/>
                <a:gd name="connsiteX119" fmla="*/ 504825 w 695325"/>
                <a:gd name="connsiteY119" fmla="*/ 242888 h 785813"/>
                <a:gd name="connsiteX120" fmla="*/ 485775 w 695325"/>
                <a:gd name="connsiteY120" fmla="*/ 254794 h 785813"/>
                <a:gd name="connsiteX121" fmla="*/ 473869 w 695325"/>
                <a:gd name="connsiteY121" fmla="*/ 240507 h 785813"/>
                <a:gd name="connsiteX122" fmla="*/ 471488 w 695325"/>
                <a:gd name="connsiteY122" fmla="*/ 223838 h 785813"/>
                <a:gd name="connsiteX123" fmla="*/ 452438 w 695325"/>
                <a:gd name="connsiteY123" fmla="*/ 230982 h 785813"/>
                <a:gd name="connsiteX124" fmla="*/ 450056 w 695325"/>
                <a:gd name="connsiteY124" fmla="*/ 214313 h 785813"/>
                <a:gd name="connsiteX125" fmla="*/ 457200 w 695325"/>
                <a:gd name="connsiteY125" fmla="*/ 202407 h 785813"/>
                <a:gd name="connsiteX126" fmla="*/ 433388 w 695325"/>
                <a:gd name="connsiteY126" fmla="*/ 171450 h 785813"/>
                <a:gd name="connsiteX127" fmla="*/ 423863 w 695325"/>
                <a:gd name="connsiteY127" fmla="*/ 190500 h 785813"/>
                <a:gd name="connsiteX128" fmla="*/ 416719 w 695325"/>
                <a:gd name="connsiteY128" fmla="*/ 207169 h 785813"/>
                <a:gd name="connsiteX129" fmla="*/ 397669 w 695325"/>
                <a:gd name="connsiteY129" fmla="*/ 192882 h 785813"/>
                <a:gd name="connsiteX130" fmla="*/ 395288 w 695325"/>
                <a:gd name="connsiteY130" fmla="*/ 166688 h 785813"/>
                <a:gd name="connsiteX131" fmla="*/ 383381 w 695325"/>
                <a:gd name="connsiteY131" fmla="*/ 180975 h 785813"/>
                <a:gd name="connsiteX132" fmla="*/ 376238 w 695325"/>
                <a:gd name="connsiteY132" fmla="*/ 166688 h 785813"/>
                <a:gd name="connsiteX133" fmla="*/ 376238 w 695325"/>
                <a:gd name="connsiteY133" fmla="*/ 147638 h 785813"/>
                <a:gd name="connsiteX134" fmla="*/ 364331 w 695325"/>
                <a:gd name="connsiteY134" fmla="*/ 142875 h 785813"/>
                <a:gd name="connsiteX135" fmla="*/ 364331 w 695325"/>
                <a:gd name="connsiteY135" fmla="*/ 116682 h 785813"/>
                <a:gd name="connsiteX136" fmla="*/ 309563 w 695325"/>
                <a:gd name="connsiteY136" fmla="*/ 90488 h 785813"/>
                <a:gd name="connsiteX137" fmla="*/ 288131 w 695325"/>
                <a:gd name="connsiteY137" fmla="*/ 97632 h 785813"/>
                <a:gd name="connsiteX138" fmla="*/ 292894 w 695325"/>
                <a:gd name="connsiteY138" fmla="*/ 123825 h 785813"/>
                <a:gd name="connsiteX139" fmla="*/ 273844 w 695325"/>
                <a:gd name="connsiteY139" fmla="*/ 126207 h 785813"/>
                <a:gd name="connsiteX140" fmla="*/ 259556 w 695325"/>
                <a:gd name="connsiteY140" fmla="*/ 121444 h 785813"/>
                <a:gd name="connsiteX141" fmla="*/ 247650 w 695325"/>
                <a:gd name="connsiteY141" fmla="*/ 140494 h 785813"/>
                <a:gd name="connsiteX142" fmla="*/ 223838 w 695325"/>
                <a:gd name="connsiteY142" fmla="*/ 152400 h 785813"/>
                <a:gd name="connsiteX143" fmla="*/ 221456 w 695325"/>
                <a:gd name="connsiteY143" fmla="*/ 130969 h 785813"/>
                <a:gd name="connsiteX144" fmla="*/ 223838 w 695325"/>
                <a:gd name="connsiteY144" fmla="*/ 92869 h 785813"/>
                <a:gd name="connsiteX145" fmla="*/ 216694 w 695325"/>
                <a:gd name="connsiteY145" fmla="*/ 66675 h 785813"/>
                <a:gd name="connsiteX146" fmla="*/ 214313 w 695325"/>
                <a:gd name="connsiteY146" fmla="*/ 50007 h 785813"/>
                <a:gd name="connsiteX147" fmla="*/ 204788 w 695325"/>
                <a:gd name="connsiteY147" fmla="*/ 28575 h 785813"/>
                <a:gd name="connsiteX148" fmla="*/ 202406 w 695325"/>
                <a:gd name="connsiteY148" fmla="*/ 0 h 785813"/>
                <a:gd name="connsiteX149" fmla="*/ 183356 w 695325"/>
                <a:gd name="connsiteY149" fmla="*/ 7144 h 785813"/>
                <a:gd name="connsiteX150" fmla="*/ 161926 w 695325"/>
                <a:gd name="connsiteY150" fmla="*/ 23813 h 785813"/>
                <a:gd name="connsiteX151" fmla="*/ 147638 w 695325"/>
                <a:gd name="connsiteY151" fmla="*/ 33338 h 785813"/>
                <a:gd name="connsiteX152" fmla="*/ 114300 w 695325"/>
                <a:gd name="connsiteY152" fmla="*/ 223837 h 785813"/>
                <a:gd name="connsiteX0" fmla="*/ 114300 w 695325"/>
                <a:gd name="connsiteY0" fmla="*/ 223837 h 785813"/>
                <a:gd name="connsiteX1" fmla="*/ 104775 w 695325"/>
                <a:gd name="connsiteY1" fmla="*/ 64294 h 785813"/>
                <a:gd name="connsiteX2" fmla="*/ 102394 w 695325"/>
                <a:gd name="connsiteY2" fmla="*/ 1 h 785813"/>
                <a:gd name="connsiteX3" fmla="*/ 54769 w 695325"/>
                <a:gd name="connsiteY3" fmla="*/ 4763 h 785813"/>
                <a:gd name="connsiteX4" fmla="*/ 21431 w 695325"/>
                <a:gd name="connsiteY4" fmla="*/ 38100 h 785813"/>
                <a:gd name="connsiteX5" fmla="*/ 21431 w 695325"/>
                <a:gd name="connsiteY5" fmla="*/ 69057 h 785813"/>
                <a:gd name="connsiteX6" fmla="*/ 11906 w 695325"/>
                <a:gd name="connsiteY6" fmla="*/ 88107 h 785813"/>
                <a:gd name="connsiteX7" fmla="*/ 7144 w 695325"/>
                <a:gd name="connsiteY7" fmla="*/ 126207 h 785813"/>
                <a:gd name="connsiteX8" fmla="*/ 7144 w 695325"/>
                <a:gd name="connsiteY8" fmla="*/ 126207 h 785813"/>
                <a:gd name="connsiteX9" fmla="*/ 0 w 695325"/>
                <a:gd name="connsiteY9" fmla="*/ 145257 h 785813"/>
                <a:gd name="connsiteX10" fmla="*/ 0 w 695325"/>
                <a:gd name="connsiteY10" fmla="*/ 190500 h 785813"/>
                <a:gd name="connsiteX11" fmla="*/ 38100 w 695325"/>
                <a:gd name="connsiteY11" fmla="*/ 200025 h 785813"/>
                <a:gd name="connsiteX12" fmla="*/ 64294 w 695325"/>
                <a:gd name="connsiteY12" fmla="*/ 219075 h 785813"/>
                <a:gd name="connsiteX13" fmla="*/ 66675 w 695325"/>
                <a:gd name="connsiteY13" fmla="*/ 233363 h 785813"/>
                <a:gd name="connsiteX14" fmla="*/ 35719 w 695325"/>
                <a:gd name="connsiteY14" fmla="*/ 228600 h 785813"/>
                <a:gd name="connsiteX15" fmla="*/ 9525 w 695325"/>
                <a:gd name="connsiteY15" fmla="*/ 216694 h 785813"/>
                <a:gd name="connsiteX16" fmla="*/ 47625 w 695325"/>
                <a:gd name="connsiteY16" fmla="*/ 276225 h 785813"/>
                <a:gd name="connsiteX17" fmla="*/ 76200 w 695325"/>
                <a:gd name="connsiteY17" fmla="*/ 257175 h 785813"/>
                <a:gd name="connsiteX18" fmla="*/ 102394 w 695325"/>
                <a:gd name="connsiteY18" fmla="*/ 288132 h 785813"/>
                <a:gd name="connsiteX19" fmla="*/ 147638 w 695325"/>
                <a:gd name="connsiteY19" fmla="*/ 300038 h 785813"/>
                <a:gd name="connsiteX20" fmla="*/ 188119 w 695325"/>
                <a:gd name="connsiteY20" fmla="*/ 307182 h 785813"/>
                <a:gd name="connsiteX21" fmla="*/ 209550 w 695325"/>
                <a:gd name="connsiteY21" fmla="*/ 295275 h 785813"/>
                <a:gd name="connsiteX22" fmla="*/ 197644 w 695325"/>
                <a:gd name="connsiteY22" fmla="*/ 285750 h 785813"/>
                <a:gd name="connsiteX23" fmla="*/ 219075 w 695325"/>
                <a:gd name="connsiteY23" fmla="*/ 285750 h 785813"/>
                <a:gd name="connsiteX24" fmla="*/ 247650 w 695325"/>
                <a:gd name="connsiteY24" fmla="*/ 314325 h 785813"/>
                <a:gd name="connsiteX25" fmla="*/ 266700 w 695325"/>
                <a:gd name="connsiteY25" fmla="*/ 292894 h 785813"/>
                <a:gd name="connsiteX26" fmla="*/ 252413 w 695325"/>
                <a:gd name="connsiteY26" fmla="*/ 266700 h 785813"/>
                <a:gd name="connsiteX27" fmla="*/ 266700 w 695325"/>
                <a:gd name="connsiteY27" fmla="*/ 261938 h 785813"/>
                <a:gd name="connsiteX28" fmla="*/ 345281 w 695325"/>
                <a:gd name="connsiteY28" fmla="*/ 342900 h 785813"/>
                <a:gd name="connsiteX29" fmla="*/ 352425 w 695325"/>
                <a:gd name="connsiteY29" fmla="*/ 357188 h 785813"/>
                <a:gd name="connsiteX30" fmla="*/ 330994 w 695325"/>
                <a:gd name="connsiteY30" fmla="*/ 383382 h 785813"/>
                <a:gd name="connsiteX31" fmla="*/ 373856 w 695325"/>
                <a:gd name="connsiteY31" fmla="*/ 371475 h 785813"/>
                <a:gd name="connsiteX32" fmla="*/ 395288 w 695325"/>
                <a:gd name="connsiteY32" fmla="*/ 371475 h 785813"/>
                <a:gd name="connsiteX33" fmla="*/ 381000 w 695325"/>
                <a:gd name="connsiteY33" fmla="*/ 388144 h 785813"/>
                <a:gd name="connsiteX34" fmla="*/ 395288 w 695325"/>
                <a:gd name="connsiteY34" fmla="*/ 397669 h 785813"/>
                <a:gd name="connsiteX35" fmla="*/ 421481 w 695325"/>
                <a:gd name="connsiteY35" fmla="*/ 426244 h 785813"/>
                <a:gd name="connsiteX36" fmla="*/ 438150 w 695325"/>
                <a:gd name="connsiteY36" fmla="*/ 461963 h 785813"/>
                <a:gd name="connsiteX37" fmla="*/ 440531 w 695325"/>
                <a:gd name="connsiteY37" fmla="*/ 492919 h 785813"/>
                <a:gd name="connsiteX38" fmla="*/ 423863 w 695325"/>
                <a:gd name="connsiteY38" fmla="*/ 511969 h 785813"/>
                <a:gd name="connsiteX39" fmla="*/ 423863 w 695325"/>
                <a:gd name="connsiteY39" fmla="*/ 535782 h 785813"/>
                <a:gd name="connsiteX40" fmla="*/ 402431 w 695325"/>
                <a:gd name="connsiteY40" fmla="*/ 535782 h 785813"/>
                <a:gd name="connsiteX41" fmla="*/ 383381 w 695325"/>
                <a:gd name="connsiteY41" fmla="*/ 547688 h 785813"/>
                <a:gd name="connsiteX42" fmla="*/ 407194 w 695325"/>
                <a:gd name="connsiteY42" fmla="*/ 583407 h 785813"/>
                <a:gd name="connsiteX43" fmla="*/ 395288 w 695325"/>
                <a:gd name="connsiteY43" fmla="*/ 611982 h 785813"/>
                <a:gd name="connsiteX44" fmla="*/ 359569 w 695325"/>
                <a:gd name="connsiteY44" fmla="*/ 611982 h 785813"/>
                <a:gd name="connsiteX45" fmla="*/ 328613 w 695325"/>
                <a:gd name="connsiteY45" fmla="*/ 609600 h 785813"/>
                <a:gd name="connsiteX46" fmla="*/ 309563 w 695325"/>
                <a:gd name="connsiteY46" fmla="*/ 597694 h 785813"/>
                <a:gd name="connsiteX47" fmla="*/ 297656 w 695325"/>
                <a:gd name="connsiteY47" fmla="*/ 621507 h 785813"/>
                <a:gd name="connsiteX48" fmla="*/ 297656 w 695325"/>
                <a:gd name="connsiteY48" fmla="*/ 645319 h 785813"/>
                <a:gd name="connsiteX49" fmla="*/ 330994 w 695325"/>
                <a:gd name="connsiteY49" fmla="*/ 661988 h 785813"/>
                <a:gd name="connsiteX50" fmla="*/ 354806 w 695325"/>
                <a:gd name="connsiteY50" fmla="*/ 642938 h 785813"/>
                <a:gd name="connsiteX51" fmla="*/ 371475 w 695325"/>
                <a:gd name="connsiteY51" fmla="*/ 638175 h 785813"/>
                <a:gd name="connsiteX52" fmla="*/ 378619 w 695325"/>
                <a:gd name="connsiteY52" fmla="*/ 628650 h 785813"/>
                <a:gd name="connsiteX53" fmla="*/ 400050 w 695325"/>
                <a:gd name="connsiteY53" fmla="*/ 640557 h 785813"/>
                <a:gd name="connsiteX54" fmla="*/ 414338 w 695325"/>
                <a:gd name="connsiteY54" fmla="*/ 659607 h 785813"/>
                <a:gd name="connsiteX55" fmla="*/ 438150 w 695325"/>
                <a:gd name="connsiteY55" fmla="*/ 688182 h 785813"/>
                <a:gd name="connsiteX56" fmla="*/ 452438 w 695325"/>
                <a:gd name="connsiteY56" fmla="*/ 688182 h 785813"/>
                <a:gd name="connsiteX57" fmla="*/ 464344 w 695325"/>
                <a:gd name="connsiteY57" fmla="*/ 704850 h 785813"/>
                <a:gd name="connsiteX58" fmla="*/ 450056 w 695325"/>
                <a:gd name="connsiteY58" fmla="*/ 714375 h 785813"/>
                <a:gd name="connsiteX59" fmla="*/ 481013 w 695325"/>
                <a:gd name="connsiteY59" fmla="*/ 740569 h 785813"/>
                <a:gd name="connsiteX60" fmla="*/ 497681 w 695325"/>
                <a:gd name="connsiteY60" fmla="*/ 738188 h 785813"/>
                <a:gd name="connsiteX61" fmla="*/ 526256 w 695325"/>
                <a:gd name="connsiteY61" fmla="*/ 752475 h 785813"/>
                <a:gd name="connsiteX62" fmla="*/ 566738 w 695325"/>
                <a:gd name="connsiteY62" fmla="*/ 783432 h 785813"/>
                <a:gd name="connsiteX63" fmla="*/ 578644 w 695325"/>
                <a:gd name="connsiteY63" fmla="*/ 785813 h 785813"/>
                <a:gd name="connsiteX64" fmla="*/ 588169 w 695325"/>
                <a:gd name="connsiteY64" fmla="*/ 776288 h 785813"/>
                <a:gd name="connsiteX65" fmla="*/ 566738 w 695325"/>
                <a:gd name="connsiteY65" fmla="*/ 762000 h 785813"/>
                <a:gd name="connsiteX66" fmla="*/ 535781 w 695325"/>
                <a:gd name="connsiteY66" fmla="*/ 733425 h 785813"/>
                <a:gd name="connsiteX67" fmla="*/ 523875 w 695325"/>
                <a:gd name="connsiteY67" fmla="*/ 697707 h 785813"/>
                <a:gd name="connsiteX68" fmla="*/ 531019 w 695325"/>
                <a:gd name="connsiteY68" fmla="*/ 685800 h 785813"/>
                <a:gd name="connsiteX69" fmla="*/ 557213 w 695325"/>
                <a:gd name="connsiteY69" fmla="*/ 711994 h 785813"/>
                <a:gd name="connsiteX70" fmla="*/ 597694 w 695325"/>
                <a:gd name="connsiteY70" fmla="*/ 733425 h 785813"/>
                <a:gd name="connsiteX71" fmla="*/ 619125 w 695325"/>
                <a:gd name="connsiteY71" fmla="*/ 742950 h 785813"/>
                <a:gd name="connsiteX72" fmla="*/ 611981 w 695325"/>
                <a:gd name="connsiteY72" fmla="*/ 716757 h 785813"/>
                <a:gd name="connsiteX73" fmla="*/ 623888 w 695325"/>
                <a:gd name="connsiteY73" fmla="*/ 707232 h 785813"/>
                <a:gd name="connsiteX74" fmla="*/ 619125 w 695325"/>
                <a:gd name="connsiteY74" fmla="*/ 683419 h 785813"/>
                <a:gd name="connsiteX75" fmla="*/ 602456 w 695325"/>
                <a:gd name="connsiteY75" fmla="*/ 664369 h 785813"/>
                <a:gd name="connsiteX76" fmla="*/ 607219 w 695325"/>
                <a:gd name="connsiteY76" fmla="*/ 647700 h 785813"/>
                <a:gd name="connsiteX77" fmla="*/ 592931 w 695325"/>
                <a:gd name="connsiteY77" fmla="*/ 640557 h 785813"/>
                <a:gd name="connsiteX78" fmla="*/ 585788 w 695325"/>
                <a:gd name="connsiteY78" fmla="*/ 628650 h 785813"/>
                <a:gd name="connsiteX79" fmla="*/ 564356 w 695325"/>
                <a:gd name="connsiteY79" fmla="*/ 623888 h 785813"/>
                <a:gd name="connsiteX80" fmla="*/ 550069 w 695325"/>
                <a:gd name="connsiteY80" fmla="*/ 588169 h 785813"/>
                <a:gd name="connsiteX81" fmla="*/ 540544 w 695325"/>
                <a:gd name="connsiteY81" fmla="*/ 581025 h 785813"/>
                <a:gd name="connsiteX82" fmla="*/ 550069 w 695325"/>
                <a:gd name="connsiteY82" fmla="*/ 561975 h 785813"/>
                <a:gd name="connsiteX83" fmla="*/ 545306 w 695325"/>
                <a:gd name="connsiteY83" fmla="*/ 547688 h 785813"/>
                <a:gd name="connsiteX84" fmla="*/ 540544 w 695325"/>
                <a:gd name="connsiteY84" fmla="*/ 523875 h 785813"/>
                <a:gd name="connsiteX85" fmla="*/ 571500 w 695325"/>
                <a:gd name="connsiteY85" fmla="*/ 519113 h 785813"/>
                <a:gd name="connsiteX86" fmla="*/ 595313 w 695325"/>
                <a:gd name="connsiteY86" fmla="*/ 550069 h 785813"/>
                <a:gd name="connsiteX87" fmla="*/ 626269 w 695325"/>
                <a:gd name="connsiteY87" fmla="*/ 569119 h 785813"/>
                <a:gd name="connsiteX88" fmla="*/ 631031 w 695325"/>
                <a:gd name="connsiteY88" fmla="*/ 592932 h 785813"/>
                <a:gd name="connsiteX89" fmla="*/ 659606 w 695325"/>
                <a:gd name="connsiteY89" fmla="*/ 611982 h 785813"/>
                <a:gd name="connsiteX90" fmla="*/ 650081 w 695325"/>
                <a:gd name="connsiteY90" fmla="*/ 576263 h 785813"/>
                <a:gd name="connsiteX91" fmla="*/ 669131 w 695325"/>
                <a:gd name="connsiteY91" fmla="*/ 576263 h 785813"/>
                <a:gd name="connsiteX92" fmla="*/ 683419 w 695325"/>
                <a:gd name="connsiteY92" fmla="*/ 554832 h 785813"/>
                <a:gd name="connsiteX93" fmla="*/ 671513 w 695325"/>
                <a:gd name="connsiteY93" fmla="*/ 535782 h 785813"/>
                <a:gd name="connsiteX94" fmla="*/ 695325 w 695325"/>
                <a:gd name="connsiteY94" fmla="*/ 528638 h 785813"/>
                <a:gd name="connsiteX95" fmla="*/ 676275 w 695325"/>
                <a:gd name="connsiteY95" fmla="*/ 516732 h 785813"/>
                <a:gd name="connsiteX96" fmla="*/ 645319 w 695325"/>
                <a:gd name="connsiteY96" fmla="*/ 511969 h 785813"/>
                <a:gd name="connsiteX97" fmla="*/ 652463 w 695325"/>
                <a:gd name="connsiteY97" fmla="*/ 483394 h 785813"/>
                <a:gd name="connsiteX98" fmla="*/ 631031 w 695325"/>
                <a:gd name="connsiteY98" fmla="*/ 488157 h 785813"/>
                <a:gd name="connsiteX99" fmla="*/ 631031 w 695325"/>
                <a:gd name="connsiteY99" fmla="*/ 461963 h 785813"/>
                <a:gd name="connsiteX100" fmla="*/ 609600 w 695325"/>
                <a:gd name="connsiteY100" fmla="*/ 452438 h 785813"/>
                <a:gd name="connsiteX101" fmla="*/ 602456 w 695325"/>
                <a:gd name="connsiteY101" fmla="*/ 435769 h 785813"/>
                <a:gd name="connsiteX102" fmla="*/ 585788 w 695325"/>
                <a:gd name="connsiteY102" fmla="*/ 447675 h 785813"/>
                <a:gd name="connsiteX103" fmla="*/ 576263 w 695325"/>
                <a:gd name="connsiteY103" fmla="*/ 423863 h 785813"/>
                <a:gd name="connsiteX104" fmla="*/ 545306 w 695325"/>
                <a:gd name="connsiteY104" fmla="*/ 400050 h 785813"/>
                <a:gd name="connsiteX105" fmla="*/ 526256 w 695325"/>
                <a:gd name="connsiteY105" fmla="*/ 400050 h 785813"/>
                <a:gd name="connsiteX106" fmla="*/ 540544 w 695325"/>
                <a:gd name="connsiteY106" fmla="*/ 381000 h 785813"/>
                <a:gd name="connsiteX107" fmla="*/ 540544 w 695325"/>
                <a:gd name="connsiteY107" fmla="*/ 359569 h 785813"/>
                <a:gd name="connsiteX108" fmla="*/ 535781 w 695325"/>
                <a:gd name="connsiteY108" fmla="*/ 352425 h 785813"/>
                <a:gd name="connsiteX109" fmla="*/ 578644 w 695325"/>
                <a:gd name="connsiteY109" fmla="*/ 364332 h 785813"/>
                <a:gd name="connsiteX110" fmla="*/ 566738 w 695325"/>
                <a:gd name="connsiteY110" fmla="*/ 347663 h 785813"/>
                <a:gd name="connsiteX111" fmla="*/ 528638 w 695325"/>
                <a:gd name="connsiteY111" fmla="*/ 335757 h 785813"/>
                <a:gd name="connsiteX112" fmla="*/ 519113 w 695325"/>
                <a:gd name="connsiteY112" fmla="*/ 321469 h 785813"/>
                <a:gd name="connsiteX113" fmla="*/ 557213 w 695325"/>
                <a:gd name="connsiteY113" fmla="*/ 307182 h 785813"/>
                <a:gd name="connsiteX114" fmla="*/ 545306 w 695325"/>
                <a:gd name="connsiteY114" fmla="*/ 280988 h 785813"/>
                <a:gd name="connsiteX115" fmla="*/ 538163 w 695325"/>
                <a:gd name="connsiteY115" fmla="*/ 297657 h 785813"/>
                <a:gd name="connsiteX116" fmla="*/ 514350 w 695325"/>
                <a:gd name="connsiteY116" fmla="*/ 309563 h 785813"/>
                <a:gd name="connsiteX117" fmla="*/ 507206 w 695325"/>
                <a:gd name="connsiteY117" fmla="*/ 288132 h 785813"/>
                <a:gd name="connsiteX118" fmla="*/ 500063 w 695325"/>
                <a:gd name="connsiteY118" fmla="*/ 278607 h 785813"/>
                <a:gd name="connsiteX119" fmla="*/ 523875 w 695325"/>
                <a:gd name="connsiteY119" fmla="*/ 259557 h 785813"/>
                <a:gd name="connsiteX120" fmla="*/ 504825 w 695325"/>
                <a:gd name="connsiteY120" fmla="*/ 242888 h 785813"/>
                <a:gd name="connsiteX121" fmla="*/ 485775 w 695325"/>
                <a:gd name="connsiteY121" fmla="*/ 254794 h 785813"/>
                <a:gd name="connsiteX122" fmla="*/ 473869 w 695325"/>
                <a:gd name="connsiteY122" fmla="*/ 240507 h 785813"/>
                <a:gd name="connsiteX123" fmla="*/ 471488 w 695325"/>
                <a:gd name="connsiteY123" fmla="*/ 223838 h 785813"/>
                <a:gd name="connsiteX124" fmla="*/ 452438 w 695325"/>
                <a:gd name="connsiteY124" fmla="*/ 230982 h 785813"/>
                <a:gd name="connsiteX125" fmla="*/ 450056 w 695325"/>
                <a:gd name="connsiteY125" fmla="*/ 214313 h 785813"/>
                <a:gd name="connsiteX126" fmla="*/ 457200 w 695325"/>
                <a:gd name="connsiteY126" fmla="*/ 202407 h 785813"/>
                <a:gd name="connsiteX127" fmla="*/ 433388 w 695325"/>
                <a:gd name="connsiteY127" fmla="*/ 171450 h 785813"/>
                <a:gd name="connsiteX128" fmla="*/ 423863 w 695325"/>
                <a:gd name="connsiteY128" fmla="*/ 190500 h 785813"/>
                <a:gd name="connsiteX129" fmla="*/ 416719 w 695325"/>
                <a:gd name="connsiteY129" fmla="*/ 207169 h 785813"/>
                <a:gd name="connsiteX130" fmla="*/ 397669 w 695325"/>
                <a:gd name="connsiteY130" fmla="*/ 192882 h 785813"/>
                <a:gd name="connsiteX131" fmla="*/ 395288 w 695325"/>
                <a:gd name="connsiteY131" fmla="*/ 166688 h 785813"/>
                <a:gd name="connsiteX132" fmla="*/ 383381 w 695325"/>
                <a:gd name="connsiteY132" fmla="*/ 180975 h 785813"/>
                <a:gd name="connsiteX133" fmla="*/ 376238 w 695325"/>
                <a:gd name="connsiteY133" fmla="*/ 166688 h 785813"/>
                <a:gd name="connsiteX134" fmla="*/ 376238 w 695325"/>
                <a:gd name="connsiteY134" fmla="*/ 147638 h 785813"/>
                <a:gd name="connsiteX135" fmla="*/ 364331 w 695325"/>
                <a:gd name="connsiteY135" fmla="*/ 142875 h 785813"/>
                <a:gd name="connsiteX136" fmla="*/ 364331 w 695325"/>
                <a:gd name="connsiteY136" fmla="*/ 116682 h 785813"/>
                <a:gd name="connsiteX137" fmla="*/ 309563 w 695325"/>
                <a:gd name="connsiteY137" fmla="*/ 90488 h 785813"/>
                <a:gd name="connsiteX138" fmla="*/ 288131 w 695325"/>
                <a:gd name="connsiteY138" fmla="*/ 97632 h 785813"/>
                <a:gd name="connsiteX139" fmla="*/ 292894 w 695325"/>
                <a:gd name="connsiteY139" fmla="*/ 123825 h 785813"/>
                <a:gd name="connsiteX140" fmla="*/ 273844 w 695325"/>
                <a:gd name="connsiteY140" fmla="*/ 126207 h 785813"/>
                <a:gd name="connsiteX141" fmla="*/ 259556 w 695325"/>
                <a:gd name="connsiteY141" fmla="*/ 121444 h 785813"/>
                <a:gd name="connsiteX142" fmla="*/ 247650 w 695325"/>
                <a:gd name="connsiteY142" fmla="*/ 140494 h 785813"/>
                <a:gd name="connsiteX143" fmla="*/ 223838 w 695325"/>
                <a:gd name="connsiteY143" fmla="*/ 152400 h 785813"/>
                <a:gd name="connsiteX144" fmla="*/ 221456 w 695325"/>
                <a:gd name="connsiteY144" fmla="*/ 130969 h 785813"/>
                <a:gd name="connsiteX145" fmla="*/ 223838 w 695325"/>
                <a:gd name="connsiteY145" fmla="*/ 92869 h 785813"/>
                <a:gd name="connsiteX146" fmla="*/ 216694 w 695325"/>
                <a:gd name="connsiteY146" fmla="*/ 66675 h 785813"/>
                <a:gd name="connsiteX147" fmla="*/ 214313 w 695325"/>
                <a:gd name="connsiteY147" fmla="*/ 50007 h 785813"/>
                <a:gd name="connsiteX148" fmla="*/ 204788 w 695325"/>
                <a:gd name="connsiteY148" fmla="*/ 28575 h 785813"/>
                <a:gd name="connsiteX149" fmla="*/ 202406 w 695325"/>
                <a:gd name="connsiteY149" fmla="*/ 0 h 785813"/>
                <a:gd name="connsiteX150" fmla="*/ 183356 w 695325"/>
                <a:gd name="connsiteY150" fmla="*/ 7144 h 785813"/>
                <a:gd name="connsiteX151" fmla="*/ 161926 w 695325"/>
                <a:gd name="connsiteY151" fmla="*/ 23813 h 785813"/>
                <a:gd name="connsiteX152" fmla="*/ 147638 w 695325"/>
                <a:gd name="connsiteY152" fmla="*/ 33338 h 785813"/>
                <a:gd name="connsiteX153" fmla="*/ 114300 w 695325"/>
                <a:gd name="connsiteY153" fmla="*/ 223837 h 785813"/>
                <a:gd name="connsiteX0" fmla="*/ 114300 w 695325"/>
                <a:gd name="connsiteY0" fmla="*/ 223837 h 785813"/>
                <a:gd name="connsiteX1" fmla="*/ 78582 w 695325"/>
                <a:gd name="connsiteY1" fmla="*/ 71438 h 785813"/>
                <a:gd name="connsiteX2" fmla="*/ 102394 w 695325"/>
                <a:gd name="connsiteY2" fmla="*/ 1 h 785813"/>
                <a:gd name="connsiteX3" fmla="*/ 54769 w 695325"/>
                <a:gd name="connsiteY3" fmla="*/ 4763 h 785813"/>
                <a:gd name="connsiteX4" fmla="*/ 21431 w 695325"/>
                <a:gd name="connsiteY4" fmla="*/ 38100 h 785813"/>
                <a:gd name="connsiteX5" fmla="*/ 21431 w 695325"/>
                <a:gd name="connsiteY5" fmla="*/ 69057 h 785813"/>
                <a:gd name="connsiteX6" fmla="*/ 11906 w 695325"/>
                <a:gd name="connsiteY6" fmla="*/ 88107 h 785813"/>
                <a:gd name="connsiteX7" fmla="*/ 7144 w 695325"/>
                <a:gd name="connsiteY7" fmla="*/ 126207 h 785813"/>
                <a:gd name="connsiteX8" fmla="*/ 7144 w 695325"/>
                <a:gd name="connsiteY8" fmla="*/ 126207 h 785813"/>
                <a:gd name="connsiteX9" fmla="*/ 0 w 695325"/>
                <a:gd name="connsiteY9" fmla="*/ 145257 h 785813"/>
                <a:gd name="connsiteX10" fmla="*/ 0 w 695325"/>
                <a:gd name="connsiteY10" fmla="*/ 190500 h 785813"/>
                <a:gd name="connsiteX11" fmla="*/ 38100 w 695325"/>
                <a:gd name="connsiteY11" fmla="*/ 200025 h 785813"/>
                <a:gd name="connsiteX12" fmla="*/ 64294 w 695325"/>
                <a:gd name="connsiteY12" fmla="*/ 219075 h 785813"/>
                <a:gd name="connsiteX13" fmla="*/ 66675 w 695325"/>
                <a:gd name="connsiteY13" fmla="*/ 233363 h 785813"/>
                <a:gd name="connsiteX14" fmla="*/ 35719 w 695325"/>
                <a:gd name="connsiteY14" fmla="*/ 228600 h 785813"/>
                <a:gd name="connsiteX15" fmla="*/ 9525 w 695325"/>
                <a:gd name="connsiteY15" fmla="*/ 216694 h 785813"/>
                <a:gd name="connsiteX16" fmla="*/ 47625 w 695325"/>
                <a:gd name="connsiteY16" fmla="*/ 276225 h 785813"/>
                <a:gd name="connsiteX17" fmla="*/ 76200 w 695325"/>
                <a:gd name="connsiteY17" fmla="*/ 257175 h 785813"/>
                <a:gd name="connsiteX18" fmla="*/ 102394 w 695325"/>
                <a:gd name="connsiteY18" fmla="*/ 288132 h 785813"/>
                <a:gd name="connsiteX19" fmla="*/ 147638 w 695325"/>
                <a:gd name="connsiteY19" fmla="*/ 300038 h 785813"/>
                <a:gd name="connsiteX20" fmla="*/ 188119 w 695325"/>
                <a:gd name="connsiteY20" fmla="*/ 307182 h 785813"/>
                <a:gd name="connsiteX21" fmla="*/ 209550 w 695325"/>
                <a:gd name="connsiteY21" fmla="*/ 295275 h 785813"/>
                <a:gd name="connsiteX22" fmla="*/ 197644 w 695325"/>
                <a:gd name="connsiteY22" fmla="*/ 285750 h 785813"/>
                <a:gd name="connsiteX23" fmla="*/ 219075 w 695325"/>
                <a:gd name="connsiteY23" fmla="*/ 285750 h 785813"/>
                <a:gd name="connsiteX24" fmla="*/ 247650 w 695325"/>
                <a:gd name="connsiteY24" fmla="*/ 314325 h 785813"/>
                <a:gd name="connsiteX25" fmla="*/ 266700 w 695325"/>
                <a:gd name="connsiteY25" fmla="*/ 292894 h 785813"/>
                <a:gd name="connsiteX26" fmla="*/ 252413 w 695325"/>
                <a:gd name="connsiteY26" fmla="*/ 266700 h 785813"/>
                <a:gd name="connsiteX27" fmla="*/ 266700 w 695325"/>
                <a:gd name="connsiteY27" fmla="*/ 261938 h 785813"/>
                <a:gd name="connsiteX28" fmla="*/ 345281 w 695325"/>
                <a:gd name="connsiteY28" fmla="*/ 342900 h 785813"/>
                <a:gd name="connsiteX29" fmla="*/ 352425 w 695325"/>
                <a:gd name="connsiteY29" fmla="*/ 357188 h 785813"/>
                <a:gd name="connsiteX30" fmla="*/ 330994 w 695325"/>
                <a:gd name="connsiteY30" fmla="*/ 383382 h 785813"/>
                <a:gd name="connsiteX31" fmla="*/ 373856 w 695325"/>
                <a:gd name="connsiteY31" fmla="*/ 371475 h 785813"/>
                <a:gd name="connsiteX32" fmla="*/ 395288 w 695325"/>
                <a:gd name="connsiteY32" fmla="*/ 371475 h 785813"/>
                <a:gd name="connsiteX33" fmla="*/ 381000 w 695325"/>
                <a:gd name="connsiteY33" fmla="*/ 388144 h 785813"/>
                <a:gd name="connsiteX34" fmla="*/ 395288 w 695325"/>
                <a:gd name="connsiteY34" fmla="*/ 397669 h 785813"/>
                <a:gd name="connsiteX35" fmla="*/ 421481 w 695325"/>
                <a:gd name="connsiteY35" fmla="*/ 426244 h 785813"/>
                <a:gd name="connsiteX36" fmla="*/ 438150 w 695325"/>
                <a:gd name="connsiteY36" fmla="*/ 461963 h 785813"/>
                <a:gd name="connsiteX37" fmla="*/ 440531 w 695325"/>
                <a:gd name="connsiteY37" fmla="*/ 492919 h 785813"/>
                <a:gd name="connsiteX38" fmla="*/ 423863 w 695325"/>
                <a:gd name="connsiteY38" fmla="*/ 511969 h 785813"/>
                <a:gd name="connsiteX39" fmla="*/ 423863 w 695325"/>
                <a:gd name="connsiteY39" fmla="*/ 535782 h 785813"/>
                <a:gd name="connsiteX40" fmla="*/ 402431 w 695325"/>
                <a:gd name="connsiteY40" fmla="*/ 535782 h 785813"/>
                <a:gd name="connsiteX41" fmla="*/ 383381 w 695325"/>
                <a:gd name="connsiteY41" fmla="*/ 547688 h 785813"/>
                <a:gd name="connsiteX42" fmla="*/ 407194 w 695325"/>
                <a:gd name="connsiteY42" fmla="*/ 583407 h 785813"/>
                <a:gd name="connsiteX43" fmla="*/ 395288 w 695325"/>
                <a:gd name="connsiteY43" fmla="*/ 611982 h 785813"/>
                <a:gd name="connsiteX44" fmla="*/ 359569 w 695325"/>
                <a:gd name="connsiteY44" fmla="*/ 611982 h 785813"/>
                <a:gd name="connsiteX45" fmla="*/ 328613 w 695325"/>
                <a:gd name="connsiteY45" fmla="*/ 609600 h 785813"/>
                <a:gd name="connsiteX46" fmla="*/ 309563 w 695325"/>
                <a:gd name="connsiteY46" fmla="*/ 597694 h 785813"/>
                <a:gd name="connsiteX47" fmla="*/ 297656 w 695325"/>
                <a:gd name="connsiteY47" fmla="*/ 621507 h 785813"/>
                <a:gd name="connsiteX48" fmla="*/ 297656 w 695325"/>
                <a:gd name="connsiteY48" fmla="*/ 645319 h 785813"/>
                <a:gd name="connsiteX49" fmla="*/ 330994 w 695325"/>
                <a:gd name="connsiteY49" fmla="*/ 661988 h 785813"/>
                <a:gd name="connsiteX50" fmla="*/ 354806 w 695325"/>
                <a:gd name="connsiteY50" fmla="*/ 642938 h 785813"/>
                <a:gd name="connsiteX51" fmla="*/ 371475 w 695325"/>
                <a:gd name="connsiteY51" fmla="*/ 638175 h 785813"/>
                <a:gd name="connsiteX52" fmla="*/ 378619 w 695325"/>
                <a:gd name="connsiteY52" fmla="*/ 628650 h 785813"/>
                <a:gd name="connsiteX53" fmla="*/ 400050 w 695325"/>
                <a:gd name="connsiteY53" fmla="*/ 640557 h 785813"/>
                <a:gd name="connsiteX54" fmla="*/ 414338 w 695325"/>
                <a:gd name="connsiteY54" fmla="*/ 659607 h 785813"/>
                <a:gd name="connsiteX55" fmla="*/ 438150 w 695325"/>
                <a:gd name="connsiteY55" fmla="*/ 688182 h 785813"/>
                <a:gd name="connsiteX56" fmla="*/ 452438 w 695325"/>
                <a:gd name="connsiteY56" fmla="*/ 688182 h 785813"/>
                <a:gd name="connsiteX57" fmla="*/ 464344 w 695325"/>
                <a:gd name="connsiteY57" fmla="*/ 704850 h 785813"/>
                <a:gd name="connsiteX58" fmla="*/ 450056 w 695325"/>
                <a:gd name="connsiteY58" fmla="*/ 714375 h 785813"/>
                <a:gd name="connsiteX59" fmla="*/ 481013 w 695325"/>
                <a:gd name="connsiteY59" fmla="*/ 740569 h 785813"/>
                <a:gd name="connsiteX60" fmla="*/ 497681 w 695325"/>
                <a:gd name="connsiteY60" fmla="*/ 738188 h 785813"/>
                <a:gd name="connsiteX61" fmla="*/ 526256 w 695325"/>
                <a:gd name="connsiteY61" fmla="*/ 752475 h 785813"/>
                <a:gd name="connsiteX62" fmla="*/ 566738 w 695325"/>
                <a:gd name="connsiteY62" fmla="*/ 783432 h 785813"/>
                <a:gd name="connsiteX63" fmla="*/ 578644 w 695325"/>
                <a:gd name="connsiteY63" fmla="*/ 785813 h 785813"/>
                <a:gd name="connsiteX64" fmla="*/ 588169 w 695325"/>
                <a:gd name="connsiteY64" fmla="*/ 776288 h 785813"/>
                <a:gd name="connsiteX65" fmla="*/ 566738 w 695325"/>
                <a:gd name="connsiteY65" fmla="*/ 762000 h 785813"/>
                <a:gd name="connsiteX66" fmla="*/ 535781 w 695325"/>
                <a:gd name="connsiteY66" fmla="*/ 733425 h 785813"/>
                <a:gd name="connsiteX67" fmla="*/ 523875 w 695325"/>
                <a:gd name="connsiteY67" fmla="*/ 697707 h 785813"/>
                <a:gd name="connsiteX68" fmla="*/ 531019 w 695325"/>
                <a:gd name="connsiteY68" fmla="*/ 685800 h 785813"/>
                <a:gd name="connsiteX69" fmla="*/ 557213 w 695325"/>
                <a:gd name="connsiteY69" fmla="*/ 711994 h 785813"/>
                <a:gd name="connsiteX70" fmla="*/ 597694 w 695325"/>
                <a:gd name="connsiteY70" fmla="*/ 733425 h 785813"/>
                <a:gd name="connsiteX71" fmla="*/ 619125 w 695325"/>
                <a:gd name="connsiteY71" fmla="*/ 742950 h 785813"/>
                <a:gd name="connsiteX72" fmla="*/ 611981 w 695325"/>
                <a:gd name="connsiteY72" fmla="*/ 716757 h 785813"/>
                <a:gd name="connsiteX73" fmla="*/ 623888 w 695325"/>
                <a:gd name="connsiteY73" fmla="*/ 707232 h 785813"/>
                <a:gd name="connsiteX74" fmla="*/ 619125 w 695325"/>
                <a:gd name="connsiteY74" fmla="*/ 683419 h 785813"/>
                <a:gd name="connsiteX75" fmla="*/ 602456 w 695325"/>
                <a:gd name="connsiteY75" fmla="*/ 664369 h 785813"/>
                <a:gd name="connsiteX76" fmla="*/ 607219 w 695325"/>
                <a:gd name="connsiteY76" fmla="*/ 647700 h 785813"/>
                <a:gd name="connsiteX77" fmla="*/ 592931 w 695325"/>
                <a:gd name="connsiteY77" fmla="*/ 640557 h 785813"/>
                <a:gd name="connsiteX78" fmla="*/ 585788 w 695325"/>
                <a:gd name="connsiteY78" fmla="*/ 628650 h 785813"/>
                <a:gd name="connsiteX79" fmla="*/ 564356 w 695325"/>
                <a:gd name="connsiteY79" fmla="*/ 623888 h 785813"/>
                <a:gd name="connsiteX80" fmla="*/ 550069 w 695325"/>
                <a:gd name="connsiteY80" fmla="*/ 588169 h 785813"/>
                <a:gd name="connsiteX81" fmla="*/ 540544 w 695325"/>
                <a:gd name="connsiteY81" fmla="*/ 581025 h 785813"/>
                <a:gd name="connsiteX82" fmla="*/ 550069 w 695325"/>
                <a:gd name="connsiteY82" fmla="*/ 561975 h 785813"/>
                <a:gd name="connsiteX83" fmla="*/ 545306 w 695325"/>
                <a:gd name="connsiteY83" fmla="*/ 547688 h 785813"/>
                <a:gd name="connsiteX84" fmla="*/ 540544 w 695325"/>
                <a:gd name="connsiteY84" fmla="*/ 523875 h 785813"/>
                <a:gd name="connsiteX85" fmla="*/ 571500 w 695325"/>
                <a:gd name="connsiteY85" fmla="*/ 519113 h 785813"/>
                <a:gd name="connsiteX86" fmla="*/ 595313 w 695325"/>
                <a:gd name="connsiteY86" fmla="*/ 550069 h 785813"/>
                <a:gd name="connsiteX87" fmla="*/ 626269 w 695325"/>
                <a:gd name="connsiteY87" fmla="*/ 569119 h 785813"/>
                <a:gd name="connsiteX88" fmla="*/ 631031 w 695325"/>
                <a:gd name="connsiteY88" fmla="*/ 592932 h 785813"/>
                <a:gd name="connsiteX89" fmla="*/ 659606 w 695325"/>
                <a:gd name="connsiteY89" fmla="*/ 611982 h 785813"/>
                <a:gd name="connsiteX90" fmla="*/ 650081 w 695325"/>
                <a:gd name="connsiteY90" fmla="*/ 576263 h 785813"/>
                <a:gd name="connsiteX91" fmla="*/ 669131 w 695325"/>
                <a:gd name="connsiteY91" fmla="*/ 576263 h 785813"/>
                <a:gd name="connsiteX92" fmla="*/ 683419 w 695325"/>
                <a:gd name="connsiteY92" fmla="*/ 554832 h 785813"/>
                <a:gd name="connsiteX93" fmla="*/ 671513 w 695325"/>
                <a:gd name="connsiteY93" fmla="*/ 535782 h 785813"/>
                <a:gd name="connsiteX94" fmla="*/ 695325 w 695325"/>
                <a:gd name="connsiteY94" fmla="*/ 528638 h 785813"/>
                <a:gd name="connsiteX95" fmla="*/ 676275 w 695325"/>
                <a:gd name="connsiteY95" fmla="*/ 516732 h 785813"/>
                <a:gd name="connsiteX96" fmla="*/ 645319 w 695325"/>
                <a:gd name="connsiteY96" fmla="*/ 511969 h 785813"/>
                <a:gd name="connsiteX97" fmla="*/ 652463 w 695325"/>
                <a:gd name="connsiteY97" fmla="*/ 483394 h 785813"/>
                <a:gd name="connsiteX98" fmla="*/ 631031 w 695325"/>
                <a:gd name="connsiteY98" fmla="*/ 488157 h 785813"/>
                <a:gd name="connsiteX99" fmla="*/ 631031 w 695325"/>
                <a:gd name="connsiteY99" fmla="*/ 461963 h 785813"/>
                <a:gd name="connsiteX100" fmla="*/ 609600 w 695325"/>
                <a:gd name="connsiteY100" fmla="*/ 452438 h 785813"/>
                <a:gd name="connsiteX101" fmla="*/ 602456 w 695325"/>
                <a:gd name="connsiteY101" fmla="*/ 435769 h 785813"/>
                <a:gd name="connsiteX102" fmla="*/ 585788 w 695325"/>
                <a:gd name="connsiteY102" fmla="*/ 447675 h 785813"/>
                <a:gd name="connsiteX103" fmla="*/ 576263 w 695325"/>
                <a:gd name="connsiteY103" fmla="*/ 423863 h 785813"/>
                <a:gd name="connsiteX104" fmla="*/ 545306 w 695325"/>
                <a:gd name="connsiteY104" fmla="*/ 400050 h 785813"/>
                <a:gd name="connsiteX105" fmla="*/ 526256 w 695325"/>
                <a:gd name="connsiteY105" fmla="*/ 400050 h 785813"/>
                <a:gd name="connsiteX106" fmla="*/ 540544 w 695325"/>
                <a:gd name="connsiteY106" fmla="*/ 381000 h 785813"/>
                <a:gd name="connsiteX107" fmla="*/ 540544 w 695325"/>
                <a:gd name="connsiteY107" fmla="*/ 359569 h 785813"/>
                <a:gd name="connsiteX108" fmla="*/ 535781 w 695325"/>
                <a:gd name="connsiteY108" fmla="*/ 352425 h 785813"/>
                <a:gd name="connsiteX109" fmla="*/ 578644 w 695325"/>
                <a:gd name="connsiteY109" fmla="*/ 364332 h 785813"/>
                <a:gd name="connsiteX110" fmla="*/ 566738 w 695325"/>
                <a:gd name="connsiteY110" fmla="*/ 347663 h 785813"/>
                <a:gd name="connsiteX111" fmla="*/ 528638 w 695325"/>
                <a:gd name="connsiteY111" fmla="*/ 335757 h 785813"/>
                <a:gd name="connsiteX112" fmla="*/ 519113 w 695325"/>
                <a:gd name="connsiteY112" fmla="*/ 321469 h 785813"/>
                <a:gd name="connsiteX113" fmla="*/ 557213 w 695325"/>
                <a:gd name="connsiteY113" fmla="*/ 307182 h 785813"/>
                <a:gd name="connsiteX114" fmla="*/ 545306 w 695325"/>
                <a:gd name="connsiteY114" fmla="*/ 280988 h 785813"/>
                <a:gd name="connsiteX115" fmla="*/ 538163 w 695325"/>
                <a:gd name="connsiteY115" fmla="*/ 297657 h 785813"/>
                <a:gd name="connsiteX116" fmla="*/ 514350 w 695325"/>
                <a:gd name="connsiteY116" fmla="*/ 309563 h 785813"/>
                <a:gd name="connsiteX117" fmla="*/ 507206 w 695325"/>
                <a:gd name="connsiteY117" fmla="*/ 288132 h 785813"/>
                <a:gd name="connsiteX118" fmla="*/ 500063 w 695325"/>
                <a:gd name="connsiteY118" fmla="*/ 278607 h 785813"/>
                <a:gd name="connsiteX119" fmla="*/ 523875 w 695325"/>
                <a:gd name="connsiteY119" fmla="*/ 259557 h 785813"/>
                <a:gd name="connsiteX120" fmla="*/ 504825 w 695325"/>
                <a:gd name="connsiteY120" fmla="*/ 242888 h 785813"/>
                <a:gd name="connsiteX121" fmla="*/ 485775 w 695325"/>
                <a:gd name="connsiteY121" fmla="*/ 254794 h 785813"/>
                <a:gd name="connsiteX122" fmla="*/ 473869 w 695325"/>
                <a:gd name="connsiteY122" fmla="*/ 240507 h 785813"/>
                <a:gd name="connsiteX123" fmla="*/ 471488 w 695325"/>
                <a:gd name="connsiteY123" fmla="*/ 223838 h 785813"/>
                <a:gd name="connsiteX124" fmla="*/ 452438 w 695325"/>
                <a:gd name="connsiteY124" fmla="*/ 230982 h 785813"/>
                <a:gd name="connsiteX125" fmla="*/ 450056 w 695325"/>
                <a:gd name="connsiteY125" fmla="*/ 214313 h 785813"/>
                <a:gd name="connsiteX126" fmla="*/ 457200 w 695325"/>
                <a:gd name="connsiteY126" fmla="*/ 202407 h 785813"/>
                <a:gd name="connsiteX127" fmla="*/ 433388 w 695325"/>
                <a:gd name="connsiteY127" fmla="*/ 171450 h 785813"/>
                <a:gd name="connsiteX128" fmla="*/ 423863 w 695325"/>
                <a:gd name="connsiteY128" fmla="*/ 190500 h 785813"/>
                <a:gd name="connsiteX129" fmla="*/ 416719 w 695325"/>
                <a:gd name="connsiteY129" fmla="*/ 207169 h 785813"/>
                <a:gd name="connsiteX130" fmla="*/ 397669 w 695325"/>
                <a:gd name="connsiteY130" fmla="*/ 192882 h 785813"/>
                <a:gd name="connsiteX131" fmla="*/ 395288 w 695325"/>
                <a:gd name="connsiteY131" fmla="*/ 166688 h 785813"/>
                <a:gd name="connsiteX132" fmla="*/ 383381 w 695325"/>
                <a:gd name="connsiteY132" fmla="*/ 180975 h 785813"/>
                <a:gd name="connsiteX133" fmla="*/ 376238 w 695325"/>
                <a:gd name="connsiteY133" fmla="*/ 166688 h 785813"/>
                <a:gd name="connsiteX134" fmla="*/ 376238 w 695325"/>
                <a:gd name="connsiteY134" fmla="*/ 147638 h 785813"/>
                <a:gd name="connsiteX135" fmla="*/ 364331 w 695325"/>
                <a:gd name="connsiteY135" fmla="*/ 142875 h 785813"/>
                <a:gd name="connsiteX136" fmla="*/ 364331 w 695325"/>
                <a:gd name="connsiteY136" fmla="*/ 116682 h 785813"/>
                <a:gd name="connsiteX137" fmla="*/ 309563 w 695325"/>
                <a:gd name="connsiteY137" fmla="*/ 90488 h 785813"/>
                <a:gd name="connsiteX138" fmla="*/ 288131 w 695325"/>
                <a:gd name="connsiteY138" fmla="*/ 97632 h 785813"/>
                <a:gd name="connsiteX139" fmla="*/ 292894 w 695325"/>
                <a:gd name="connsiteY139" fmla="*/ 123825 h 785813"/>
                <a:gd name="connsiteX140" fmla="*/ 273844 w 695325"/>
                <a:gd name="connsiteY140" fmla="*/ 126207 h 785813"/>
                <a:gd name="connsiteX141" fmla="*/ 259556 w 695325"/>
                <a:gd name="connsiteY141" fmla="*/ 121444 h 785813"/>
                <a:gd name="connsiteX142" fmla="*/ 247650 w 695325"/>
                <a:gd name="connsiteY142" fmla="*/ 140494 h 785813"/>
                <a:gd name="connsiteX143" fmla="*/ 223838 w 695325"/>
                <a:gd name="connsiteY143" fmla="*/ 152400 h 785813"/>
                <a:gd name="connsiteX144" fmla="*/ 221456 w 695325"/>
                <a:gd name="connsiteY144" fmla="*/ 130969 h 785813"/>
                <a:gd name="connsiteX145" fmla="*/ 223838 w 695325"/>
                <a:gd name="connsiteY145" fmla="*/ 92869 h 785813"/>
                <a:gd name="connsiteX146" fmla="*/ 216694 w 695325"/>
                <a:gd name="connsiteY146" fmla="*/ 66675 h 785813"/>
                <a:gd name="connsiteX147" fmla="*/ 214313 w 695325"/>
                <a:gd name="connsiteY147" fmla="*/ 50007 h 785813"/>
                <a:gd name="connsiteX148" fmla="*/ 204788 w 695325"/>
                <a:gd name="connsiteY148" fmla="*/ 28575 h 785813"/>
                <a:gd name="connsiteX149" fmla="*/ 202406 w 695325"/>
                <a:gd name="connsiteY149" fmla="*/ 0 h 785813"/>
                <a:gd name="connsiteX150" fmla="*/ 183356 w 695325"/>
                <a:gd name="connsiteY150" fmla="*/ 7144 h 785813"/>
                <a:gd name="connsiteX151" fmla="*/ 161926 w 695325"/>
                <a:gd name="connsiteY151" fmla="*/ 23813 h 785813"/>
                <a:gd name="connsiteX152" fmla="*/ 147638 w 695325"/>
                <a:gd name="connsiteY152" fmla="*/ 33338 h 785813"/>
                <a:gd name="connsiteX153" fmla="*/ 114300 w 695325"/>
                <a:gd name="connsiteY153" fmla="*/ 223837 h 785813"/>
                <a:gd name="connsiteX0" fmla="*/ 114300 w 695325"/>
                <a:gd name="connsiteY0" fmla="*/ 223837 h 785813"/>
                <a:gd name="connsiteX1" fmla="*/ 64295 w 695325"/>
                <a:gd name="connsiteY1" fmla="*/ 71438 h 785813"/>
                <a:gd name="connsiteX2" fmla="*/ 102394 w 695325"/>
                <a:gd name="connsiteY2" fmla="*/ 1 h 785813"/>
                <a:gd name="connsiteX3" fmla="*/ 54769 w 695325"/>
                <a:gd name="connsiteY3" fmla="*/ 4763 h 785813"/>
                <a:gd name="connsiteX4" fmla="*/ 21431 w 695325"/>
                <a:gd name="connsiteY4" fmla="*/ 38100 h 785813"/>
                <a:gd name="connsiteX5" fmla="*/ 21431 w 695325"/>
                <a:gd name="connsiteY5" fmla="*/ 69057 h 785813"/>
                <a:gd name="connsiteX6" fmla="*/ 11906 w 695325"/>
                <a:gd name="connsiteY6" fmla="*/ 88107 h 785813"/>
                <a:gd name="connsiteX7" fmla="*/ 7144 w 695325"/>
                <a:gd name="connsiteY7" fmla="*/ 126207 h 785813"/>
                <a:gd name="connsiteX8" fmla="*/ 7144 w 695325"/>
                <a:gd name="connsiteY8" fmla="*/ 126207 h 785813"/>
                <a:gd name="connsiteX9" fmla="*/ 0 w 695325"/>
                <a:gd name="connsiteY9" fmla="*/ 145257 h 785813"/>
                <a:gd name="connsiteX10" fmla="*/ 0 w 695325"/>
                <a:gd name="connsiteY10" fmla="*/ 190500 h 785813"/>
                <a:gd name="connsiteX11" fmla="*/ 38100 w 695325"/>
                <a:gd name="connsiteY11" fmla="*/ 200025 h 785813"/>
                <a:gd name="connsiteX12" fmla="*/ 64294 w 695325"/>
                <a:gd name="connsiteY12" fmla="*/ 219075 h 785813"/>
                <a:gd name="connsiteX13" fmla="*/ 66675 w 695325"/>
                <a:gd name="connsiteY13" fmla="*/ 233363 h 785813"/>
                <a:gd name="connsiteX14" fmla="*/ 35719 w 695325"/>
                <a:gd name="connsiteY14" fmla="*/ 228600 h 785813"/>
                <a:gd name="connsiteX15" fmla="*/ 9525 w 695325"/>
                <a:gd name="connsiteY15" fmla="*/ 216694 h 785813"/>
                <a:gd name="connsiteX16" fmla="*/ 47625 w 695325"/>
                <a:gd name="connsiteY16" fmla="*/ 276225 h 785813"/>
                <a:gd name="connsiteX17" fmla="*/ 76200 w 695325"/>
                <a:gd name="connsiteY17" fmla="*/ 257175 h 785813"/>
                <a:gd name="connsiteX18" fmla="*/ 102394 w 695325"/>
                <a:gd name="connsiteY18" fmla="*/ 288132 h 785813"/>
                <a:gd name="connsiteX19" fmla="*/ 147638 w 695325"/>
                <a:gd name="connsiteY19" fmla="*/ 300038 h 785813"/>
                <a:gd name="connsiteX20" fmla="*/ 188119 w 695325"/>
                <a:gd name="connsiteY20" fmla="*/ 307182 h 785813"/>
                <a:gd name="connsiteX21" fmla="*/ 209550 w 695325"/>
                <a:gd name="connsiteY21" fmla="*/ 295275 h 785813"/>
                <a:gd name="connsiteX22" fmla="*/ 197644 w 695325"/>
                <a:gd name="connsiteY22" fmla="*/ 285750 h 785813"/>
                <a:gd name="connsiteX23" fmla="*/ 219075 w 695325"/>
                <a:gd name="connsiteY23" fmla="*/ 285750 h 785813"/>
                <a:gd name="connsiteX24" fmla="*/ 247650 w 695325"/>
                <a:gd name="connsiteY24" fmla="*/ 314325 h 785813"/>
                <a:gd name="connsiteX25" fmla="*/ 266700 w 695325"/>
                <a:gd name="connsiteY25" fmla="*/ 292894 h 785813"/>
                <a:gd name="connsiteX26" fmla="*/ 252413 w 695325"/>
                <a:gd name="connsiteY26" fmla="*/ 266700 h 785813"/>
                <a:gd name="connsiteX27" fmla="*/ 266700 w 695325"/>
                <a:gd name="connsiteY27" fmla="*/ 261938 h 785813"/>
                <a:gd name="connsiteX28" fmla="*/ 345281 w 695325"/>
                <a:gd name="connsiteY28" fmla="*/ 342900 h 785813"/>
                <a:gd name="connsiteX29" fmla="*/ 352425 w 695325"/>
                <a:gd name="connsiteY29" fmla="*/ 357188 h 785813"/>
                <a:gd name="connsiteX30" fmla="*/ 330994 w 695325"/>
                <a:gd name="connsiteY30" fmla="*/ 383382 h 785813"/>
                <a:gd name="connsiteX31" fmla="*/ 373856 w 695325"/>
                <a:gd name="connsiteY31" fmla="*/ 371475 h 785813"/>
                <a:gd name="connsiteX32" fmla="*/ 395288 w 695325"/>
                <a:gd name="connsiteY32" fmla="*/ 371475 h 785813"/>
                <a:gd name="connsiteX33" fmla="*/ 381000 w 695325"/>
                <a:gd name="connsiteY33" fmla="*/ 388144 h 785813"/>
                <a:gd name="connsiteX34" fmla="*/ 395288 w 695325"/>
                <a:gd name="connsiteY34" fmla="*/ 397669 h 785813"/>
                <a:gd name="connsiteX35" fmla="*/ 421481 w 695325"/>
                <a:gd name="connsiteY35" fmla="*/ 426244 h 785813"/>
                <a:gd name="connsiteX36" fmla="*/ 438150 w 695325"/>
                <a:gd name="connsiteY36" fmla="*/ 461963 h 785813"/>
                <a:gd name="connsiteX37" fmla="*/ 440531 w 695325"/>
                <a:gd name="connsiteY37" fmla="*/ 492919 h 785813"/>
                <a:gd name="connsiteX38" fmla="*/ 423863 w 695325"/>
                <a:gd name="connsiteY38" fmla="*/ 511969 h 785813"/>
                <a:gd name="connsiteX39" fmla="*/ 423863 w 695325"/>
                <a:gd name="connsiteY39" fmla="*/ 535782 h 785813"/>
                <a:gd name="connsiteX40" fmla="*/ 402431 w 695325"/>
                <a:gd name="connsiteY40" fmla="*/ 535782 h 785813"/>
                <a:gd name="connsiteX41" fmla="*/ 383381 w 695325"/>
                <a:gd name="connsiteY41" fmla="*/ 547688 h 785813"/>
                <a:gd name="connsiteX42" fmla="*/ 407194 w 695325"/>
                <a:gd name="connsiteY42" fmla="*/ 583407 h 785813"/>
                <a:gd name="connsiteX43" fmla="*/ 395288 w 695325"/>
                <a:gd name="connsiteY43" fmla="*/ 611982 h 785813"/>
                <a:gd name="connsiteX44" fmla="*/ 359569 w 695325"/>
                <a:gd name="connsiteY44" fmla="*/ 611982 h 785813"/>
                <a:gd name="connsiteX45" fmla="*/ 328613 w 695325"/>
                <a:gd name="connsiteY45" fmla="*/ 609600 h 785813"/>
                <a:gd name="connsiteX46" fmla="*/ 309563 w 695325"/>
                <a:gd name="connsiteY46" fmla="*/ 597694 h 785813"/>
                <a:gd name="connsiteX47" fmla="*/ 297656 w 695325"/>
                <a:gd name="connsiteY47" fmla="*/ 621507 h 785813"/>
                <a:gd name="connsiteX48" fmla="*/ 297656 w 695325"/>
                <a:gd name="connsiteY48" fmla="*/ 645319 h 785813"/>
                <a:gd name="connsiteX49" fmla="*/ 330994 w 695325"/>
                <a:gd name="connsiteY49" fmla="*/ 661988 h 785813"/>
                <a:gd name="connsiteX50" fmla="*/ 354806 w 695325"/>
                <a:gd name="connsiteY50" fmla="*/ 642938 h 785813"/>
                <a:gd name="connsiteX51" fmla="*/ 371475 w 695325"/>
                <a:gd name="connsiteY51" fmla="*/ 638175 h 785813"/>
                <a:gd name="connsiteX52" fmla="*/ 378619 w 695325"/>
                <a:gd name="connsiteY52" fmla="*/ 628650 h 785813"/>
                <a:gd name="connsiteX53" fmla="*/ 400050 w 695325"/>
                <a:gd name="connsiteY53" fmla="*/ 640557 h 785813"/>
                <a:gd name="connsiteX54" fmla="*/ 414338 w 695325"/>
                <a:gd name="connsiteY54" fmla="*/ 659607 h 785813"/>
                <a:gd name="connsiteX55" fmla="*/ 438150 w 695325"/>
                <a:gd name="connsiteY55" fmla="*/ 688182 h 785813"/>
                <a:gd name="connsiteX56" fmla="*/ 452438 w 695325"/>
                <a:gd name="connsiteY56" fmla="*/ 688182 h 785813"/>
                <a:gd name="connsiteX57" fmla="*/ 464344 w 695325"/>
                <a:gd name="connsiteY57" fmla="*/ 704850 h 785813"/>
                <a:gd name="connsiteX58" fmla="*/ 450056 w 695325"/>
                <a:gd name="connsiteY58" fmla="*/ 714375 h 785813"/>
                <a:gd name="connsiteX59" fmla="*/ 481013 w 695325"/>
                <a:gd name="connsiteY59" fmla="*/ 740569 h 785813"/>
                <a:gd name="connsiteX60" fmla="*/ 497681 w 695325"/>
                <a:gd name="connsiteY60" fmla="*/ 738188 h 785813"/>
                <a:gd name="connsiteX61" fmla="*/ 526256 w 695325"/>
                <a:gd name="connsiteY61" fmla="*/ 752475 h 785813"/>
                <a:gd name="connsiteX62" fmla="*/ 566738 w 695325"/>
                <a:gd name="connsiteY62" fmla="*/ 783432 h 785813"/>
                <a:gd name="connsiteX63" fmla="*/ 578644 w 695325"/>
                <a:gd name="connsiteY63" fmla="*/ 785813 h 785813"/>
                <a:gd name="connsiteX64" fmla="*/ 588169 w 695325"/>
                <a:gd name="connsiteY64" fmla="*/ 776288 h 785813"/>
                <a:gd name="connsiteX65" fmla="*/ 566738 w 695325"/>
                <a:gd name="connsiteY65" fmla="*/ 762000 h 785813"/>
                <a:gd name="connsiteX66" fmla="*/ 535781 w 695325"/>
                <a:gd name="connsiteY66" fmla="*/ 733425 h 785813"/>
                <a:gd name="connsiteX67" fmla="*/ 523875 w 695325"/>
                <a:gd name="connsiteY67" fmla="*/ 697707 h 785813"/>
                <a:gd name="connsiteX68" fmla="*/ 531019 w 695325"/>
                <a:gd name="connsiteY68" fmla="*/ 685800 h 785813"/>
                <a:gd name="connsiteX69" fmla="*/ 557213 w 695325"/>
                <a:gd name="connsiteY69" fmla="*/ 711994 h 785813"/>
                <a:gd name="connsiteX70" fmla="*/ 597694 w 695325"/>
                <a:gd name="connsiteY70" fmla="*/ 733425 h 785813"/>
                <a:gd name="connsiteX71" fmla="*/ 619125 w 695325"/>
                <a:gd name="connsiteY71" fmla="*/ 742950 h 785813"/>
                <a:gd name="connsiteX72" fmla="*/ 611981 w 695325"/>
                <a:gd name="connsiteY72" fmla="*/ 716757 h 785813"/>
                <a:gd name="connsiteX73" fmla="*/ 623888 w 695325"/>
                <a:gd name="connsiteY73" fmla="*/ 707232 h 785813"/>
                <a:gd name="connsiteX74" fmla="*/ 619125 w 695325"/>
                <a:gd name="connsiteY74" fmla="*/ 683419 h 785813"/>
                <a:gd name="connsiteX75" fmla="*/ 602456 w 695325"/>
                <a:gd name="connsiteY75" fmla="*/ 664369 h 785813"/>
                <a:gd name="connsiteX76" fmla="*/ 607219 w 695325"/>
                <a:gd name="connsiteY76" fmla="*/ 647700 h 785813"/>
                <a:gd name="connsiteX77" fmla="*/ 592931 w 695325"/>
                <a:gd name="connsiteY77" fmla="*/ 640557 h 785813"/>
                <a:gd name="connsiteX78" fmla="*/ 585788 w 695325"/>
                <a:gd name="connsiteY78" fmla="*/ 628650 h 785813"/>
                <a:gd name="connsiteX79" fmla="*/ 564356 w 695325"/>
                <a:gd name="connsiteY79" fmla="*/ 623888 h 785813"/>
                <a:gd name="connsiteX80" fmla="*/ 550069 w 695325"/>
                <a:gd name="connsiteY80" fmla="*/ 588169 h 785813"/>
                <a:gd name="connsiteX81" fmla="*/ 540544 w 695325"/>
                <a:gd name="connsiteY81" fmla="*/ 581025 h 785813"/>
                <a:gd name="connsiteX82" fmla="*/ 550069 w 695325"/>
                <a:gd name="connsiteY82" fmla="*/ 561975 h 785813"/>
                <a:gd name="connsiteX83" fmla="*/ 545306 w 695325"/>
                <a:gd name="connsiteY83" fmla="*/ 547688 h 785813"/>
                <a:gd name="connsiteX84" fmla="*/ 540544 w 695325"/>
                <a:gd name="connsiteY84" fmla="*/ 523875 h 785813"/>
                <a:gd name="connsiteX85" fmla="*/ 571500 w 695325"/>
                <a:gd name="connsiteY85" fmla="*/ 519113 h 785813"/>
                <a:gd name="connsiteX86" fmla="*/ 595313 w 695325"/>
                <a:gd name="connsiteY86" fmla="*/ 550069 h 785813"/>
                <a:gd name="connsiteX87" fmla="*/ 626269 w 695325"/>
                <a:gd name="connsiteY87" fmla="*/ 569119 h 785813"/>
                <a:gd name="connsiteX88" fmla="*/ 631031 w 695325"/>
                <a:gd name="connsiteY88" fmla="*/ 592932 h 785813"/>
                <a:gd name="connsiteX89" fmla="*/ 659606 w 695325"/>
                <a:gd name="connsiteY89" fmla="*/ 611982 h 785813"/>
                <a:gd name="connsiteX90" fmla="*/ 650081 w 695325"/>
                <a:gd name="connsiteY90" fmla="*/ 576263 h 785813"/>
                <a:gd name="connsiteX91" fmla="*/ 669131 w 695325"/>
                <a:gd name="connsiteY91" fmla="*/ 576263 h 785813"/>
                <a:gd name="connsiteX92" fmla="*/ 683419 w 695325"/>
                <a:gd name="connsiteY92" fmla="*/ 554832 h 785813"/>
                <a:gd name="connsiteX93" fmla="*/ 671513 w 695325"/>
                <a:gd name="connsiteY93" fmla="*/ 535782 h 785813"/>
                <a:gd name="connsiteX94" fmla="*/ 695325 w 695325"/>
                <a:gd name="connsiteY94" fmla="*/ 528638 h 785813"/>
                <a:gd name="connsiteX95" fmla="*/ 676275 w 695325"/>
                <a:gd name="connsiteY95" fmla="*/ 516732 h 785813"/>
                <a:gd name="connsiteX96" fmla="*/ 645319 w 695325"/>
                <a:gd name="connsiteY96" fmla="*/ 511969 h 785813"/>
                <a:gd name="connsiteX97" fmla="*/ 652463 w 695325"/>
                <a:gd name="connsiteY97" fmla="*/ 483394 h 785813"/>
                <a:gd name="connsiteX98" fmla="*/ 631031 w 695325"/>
                <a:gd name="connsiteY98" fmla="*/ 488157 h 785813"/>
                <a:gd name="connsiteX99" fmla="*/ 631031 w 695325"/>
                <a:gd name="connsiteY99" fmla="*/ 461963 h 785813"/>
                <a:gd name="connsiteX100" fmla="*/ 609600 w 695325"/>
                <a:gd name="connsiteY100" fmla="*/ 452438 h 785813"/>
                <a:gd name="connsiteX101" fmla="*/ 602456 w 695325"/>
                <a:gd name="connsiteY101" fmla="*/ 435769 h 785813"/>
                <a:gd name="connsiteX102" fmla="*/ 585788 w 695325"/>
                <a:gd name="connsiteY102" fmla="*/ 447675 h 785813"/>
                <a:gd name="connsiteX103" fmla="*/ 576263 w 695325"/>
                <a:gd name="connsiteY103" fmla="*/ 423863 h 785813"/>
                <a:gd name="connsiteX104" fmla="*/ 545306 w 695325"/>
                <a:gd name="connsiteY104" fmla="*/ 400050 h 785813"/>
                <a:gd name="connsiteX105" fmla="*/ 526256 w 695325"/>
                <a:gd name="connsiteY105" fmla="*/ 400050 h 785813"/>
                <a:gd name="connsiteX106" fmla="*/ 540544 w 695325"/>
                <a:gd name="connsiteY106" fmla="*/ 381000 h 785813"/>
                <a:gd name="connsiteX107" fmla="*/ 540544 w 695325"/>
                <a:gd name="connsiteY107" fmla="*/ 359569 h 785813"/>
                <a:gd name="connsiteX108" fmla="*/ 535781 w 695325"/>
                <a:gd name="connsiteY108" fmla="*/ 352425 h 785813"/>
                <a:gd name="connsiteX109" fmla="*/ 578644 w 695325"/>
                <a:gd name="connsiteY109" fmla="*/ 364332 h 785813"/>
                <a:gd name="connsiteX110" fmla="*/ 566738 w 695325"/>
                <a:gd name="connsiteY110" fmla="*/ 347663 h 785813"/>
                <a:gd name="connsiteX111" fmla="*/ 528638 w 695325"/>
                <a:gd name="connsiteY111" fmla="*/ 335757 h 785813"/>
                <a:gd name="connsiteX112" fmla="*/ 519113 w 695325"/>
                <a:gd name="connsiteY112" fmla="*/ 321469 h 785813"/>
                <a:gd name="connsiteX113" fmla="*/ 557213 w 695325"/>
                <a:gd name="connsiteY113" fmla="*/ 307182 h 785813"/>
                <a:gd name="connsiteX114" fmla="*/ 545306 w 695325"/>
                <a:gd name="connsiteY114" fmla="*/ 280988 h 785813"/>
                <a:gd name="connsiteX115" fmla="*/ 538163 w 695325"/>
                <a:gd name="connsiteY115" fmla="*/ 297657 h 785813"/>
                <a:gd name="connsiteX116" fmla="*/ 514350 w 695325"/>
                <a:gd name="connsiteY116" fmla="*/ 309563 h 785813"/>
                <a:gd name="connsiteX117" fmla="*/ 507206 w 695325"/>
                <a:gd name="connsiteY117" fmla="*/ 288132 h 785813"/>
                <a:gd name="connsiteX118" fmla="*/ 500063 w 695325"/>
                <a:gd name="connsiteY118" fmla="*/ 278607 h 785813"/>
                <a:gd name="connsiteX119" fmla="*/ 523875 w 695325"/>
                <a:gd name="connsiteY119" fmla="*/ 259557 h 785813"/>
                <a:gd name="connsiteX120" fmla="*/ 504825 w 695325"/>
                <a:gd name="connsiteY120" fmla="*/ 242888 h 785813"/>
                <a:gd name="connsiteX121" fmla="*/ 485775 w 695325"/>
                <a:gd name="connsiteY121" fmla="*/ 254794 h 785813"/>
                <a:gd name="connsiteX122" fmla="*/ 473869 w 695325"/>
                <a:gd name="connsiteY122" fmla="*/ 240507 h 785813"/>
                <a:gd name="connsiteX123" fmla="*/ 471488 w 695325"/>
                <a:gd name="connsiteY123" fmla="*/ 223838 h 785813"/>
                <a:gd name="connsiteX124" fmla="*/ 452438 w 695325"/>
                <a:gd name="connsiteY124" fmla="*/ 230982 h 785813"/>
                <a:gd name="connsiteX125" fmla="*/ 450056 w 695325"/>
                <a:gd name="connsiteY125" fmla="*/ 214313 h 785813"/>
                <a:gd name="connsiteX126" fmla="*/ 457200 w 695325"/>
                <a:gd name="connsiteY126" fmla="*/ 202407 h 785813"/>
                <a:gd name="connsiteX127" fmla="*/ 433388 w 695325"/>
                <a:gd name="connsiteY127" fmla="*/ 171450 h 785813"/>
                <a:gd name="connsiteX128" fmla="*/ 423863 w 695325"/>
                <a:gd name="connsiteY128" fmla="*/ 190500 h 785813"/>
                <a:gd name="connsiteX129" fmla="*/ 416719 w 695325"/>
                <a:gd name="connsiteY129" fmla="*/ 207169 h 785813"/>
                <a:gd name="connsiteX130" fmla="*/ 397669 w 695325"/>
                <a:gd name="connsiteY130" fmla="*/ 192882 h 785813"/>
                <a:gd name="connsiteX131" fmla="*/ 395288 w 695325"/>
                <a:gd name="connsiteY131" fmla="*/ 166688 h 785813"/>
                <a:gd name="connsiteX132" fmla="*/ 383381 w 695325"/>
                <a:gd name="connsiteY132" fmla="*/ 180975 h 785813"/>
                <a:gd name="connsiteX133" fmla="*/ 376238 w 695325"/>
                <a:gd name="connsiteY133" fmla="*/ 166688 h 785813"/>
                <a:gd name="connsiteX134" fmla="*/ 376238 w 695325"/>
                <a:gd name="connsiteY134" fmla="*/ 147638 h 785813"/>
                <a:gd name="connsiteX135" fmla="*/ 364331 w 695325"/>
                <a:gd name="connsiteY135" fmla="*/ 142875 h 785813"/>
                <a:gd name="connsiteX136" fmla="*/ 364331 w 695325"/>
                <a:gd name="connsiteY136" fmla="*/ 116682 h 785813"/>
                <a:gd name="connsiteX137" fmla="*/ 309563 w 695325"/>
                <a:gd name="connsiteY137" fmla="*/ 90488 h 785813"/>
                <a:gd name="connsiteX138" fmla="*/ 288131 w 695325"/>
                <a:gd name="connsiteY138" fmla="*/ 97632 h 785813"/>
                <a:gd name="connsiteX139" fmla="*/ 292894 w 695325"/>
                <a:gd name="connsiteY139" fmla="*/ 123825 h 785813"/>
                <a:gd name="connsiteX140" fmla="*/ 273844 w 695325"/>
                <a:gd name="connsiteY140" fmla="*/ 126207 h 785813"/>
                <a:gd name="connsiteX141" fmla="*/ 259556 w 695325"/>
                <a:gd name="connsiteY141" fmla="*/ 121444 h 785813"/>
                <a:gd name="connsiteX142" fmla="*/ 247650 w 695325"/>
                <a:gd name="connsiteY142" fmla="*/ 140494 h 785813"/>
                <a:gd name="connsiteX143" fmla="*/ 223838 w 695325"/>
                <a:gd name="connsiteY143" fmla="*/ 152400 h 785813"/>
                <a:gd name="connsiteX144" fmla="*/ 221456 w 695325"/>
                <a:gd name="connsiteY144" fmla="*/ 130969 h 785813"/>
                <a:gd name="connsiteX145" fmla="*/ 223838 w 695325"/>
                <a:gd name="connsiteY145" fmla="*/ 92869 h 785813"/>
                <a:gd name="connsiteX146" fmla="*/ 216694 w 695325"/>
                <a:gd name="connsiteY146" fmla="*/ 66675 h 785813"/>
                <a:gd name="connsiteX147" fmla="*/ 214313 w 695325"/>
                <a:gd name="connsiteY147" fmla="*/ 50007 h 785813"/>
                <a:gd name="connsiteX148" fmla="*/ 204788 w 695325"/>
                <a:gd name="connsiteY148" fmla="*/ 28575 h 785813"/>
                <a:gd name="connsiteX149" fmla="*/ 202406 w 695325"/>
                <a:gd name="connsiteY149" fmla="*/ 0 h 785813"/>
                <a:gd name="connsiteX150" fmla="*/ 183356 w 695325"/>
                <a:gd name="connsiteY150" fmla="*/ 7144 h 785813"/>
                <a:gd name="connsiteX151" fmla="*/ 161926 w 695325"/>
                <a:gd name="connsiteY151" fmla="*/ 23813 h 785813"/>
                <a:gd name="connsiteX152" fmla="*/ 147638 w 695325"/>
                <a:gd name="connsiteY152" fmla="*/ 33338 h 785813"/>
                <a:gd name="connsiteX153" fmla="*/ 114300 w 695325"/>
                <a:gd name="connsiteY153" fmla="*/ 223837 h 785813"/>
                <a:gd name="connsiteX0" fmla="*/ 114300 w 695325"/>
                <a:gd name="connsiteY0" fmla="*/ 223837 h 785813"/>
                <a:gd name="connsiteX1" fmla="*/ 64295 w 695325"/>
                <a:gd name="connsiteY1" fmla="*/ 71438 h 785813"/>
                <a:gd name="connsiteX2" fmla="*/ 90488 w 695325"/>
                <a:gd name="connsiteY2" fmla="*/ 138113 h 785813"/>
                <a:gd name="connsiteX3" fmla="*/ 102394 w 695325"/>
                <a:gd name="connsiteY3" fmla="*/ 1 h 785813"/>
                <a:gd name="connsiteX4" fmla="*/ 54769 w 695325"/>
                <a:gd name="connsiteY4" fmla="*/ 4763 h 785813"/>
                <a:gd name="connsiteX5" fmla="*/ 21431 w 695325"/>
                <a:gd name="connsiteY5" fmla="*/ 38100 h 785813"/>
                <a:gd name="connsiteX6" fmla="*/ 21431 w 695325"/>
                <a:gd name="connsiteY6" fmla="*/ 69057 h 785813"/>
                <a:gd name="connsiteX7" fmla="*/ 11906 w 695325"/>
                <a:gd name="connsiteY7" fmla="*/ 88107 h 785813"/>
                <a:gd name="connsiteX8" fmla="*/ 7144 w 695325"/>
                <a:gd name="connsiteY8" fmla="*/ 126207 h 785813"/>
                <a:gd name="connsiteX9" fmla="*/ 7144 w 695325"/>
                <a:gd name="connsiteY9" fmla="*/ 126207 h 785813"/>
                <a:gd name="connsiteX10" fmla="*/ 0 w 695325"/>
                <a:gd name="connsiteY10" fmla="*/ 145257 h 785813"/>
                <a:gd name="connsiteX11" fmla="*/ 0 w 695325"/>
                <a:gd name="connsiteY11" fmla="*/ 190500 h 785813"/>
                <a:gd name="connsiteX12" fmla="*/ 38100 w 695325"/>
                <a:gd name="connsiteY12" fmla="*/ 200025 h 785813"/>
                <a:gd name="connsiteX13" fmla="*/ 64294 w 695325"/>
                <a:gd name="connsiteY13" fmla="*/ 219075 h 785813"/>
                <a:gd name="connsiteX14" fmla="*/ 66675 w 695325"/>
                <a:gd name="connsiteY14" fmla="*/ 233363 h 785813"/>
                <a:gd name="connsiteX15" fmla="*/ 35719 w 695325"/>
                <a:gd name="connsiteY15" fmla="*/ 228600 h 785813"/>
                <a:gd name="connsiteX16" fmla="*/ 9525 w 695325"/>
                <a:gd name="connsiteY16" fmla="*/ 216694 h 785813"/>
                <a:gd name="connsiteX17" fmla="*/ 47625 w 695325"/>
                <a:gd name="connsiteY17" fmla="*/ 276225 h 785813"/>
                <a:gd name="connsiteX18" fmla="*/ 76200 w 695325"/>
                <a:gd name="connsiteY18" fmla="*/ 257175 h 785813"/>
                <a:gd name="connsiteX19" fmla="*/ 102394 w 695325"/>
                <a:gd name="connsiteY19" fmla="*/ 288132 h 785813"/>
                <a:gd name="connsiteX20" fmla="*/ 147638 w 695325"/>
                <a:gd name="connsiteY20" fmla="*/ 300038 h 785813"/>
                <a:gd name="connsiteX21" fmla="*/ 188119 w 695325"/>
                <a:gd name="connsiteY21" fmla="*/ 307182 h 785813"/>
                <a:gd name="connsiteX22" fmla="*/ 209550 w 695325"/>
                <a:gd name="connsiteY22" fmla="*/ 295275 h 785813"/>
                <a:gd name="connsiteX23" fmla="*/ 197644 w 695325"/>
                <a:gd name="connsiteY23" fmla="*/ 285750 h 785813"/>
                <a:gd name="connsiteX24" fmla="*/ 219075 w 695325"/>
                <a:gd name="connsiteY24" fmla="*/ 285750 h 785813"/>
                <a:gd name="connsiteX25" fmla="*/ 247650 w 695325"/>
                <a:gd name="connsiteY25" fmla="*/ 314325 h 785813"/>
                <a:gd name="connsiteX26" fmla="*/ 266700 w 695325"/>
                <a:gd name="connsiteY26" fmla="*/ 292894 h 785813"/>
                <a:gd name="connsiteX27" fmla="*/ 252413 w 695325"/>
                <a:gd name="connsiteY27" fmla="*/ 266700 h 785813"/>
                <a:gd name="connsiteX28" fmla="*/ 266700 w 695325"/>
                <a:gd name="connsiteY28" fmla="*/ 261938 h 785813"/>
                <a:gd name="connsiteX29" fmla="*/ 345281 w 695325"/>
                <a:gd name="connsiteY29" fmla="*/ 342900 h 785813"/>
                <a:gd name="connsiteX30" fmla="*/ 352425 w 695325"/>
                <a:gd name="connsiteY30" fmla="*/ 357188 h 785813"/>
                <a:gd name="connsiteX31" fmla="*/ 330994 w 695325"/>
                <a:gd name="connsiteY31" fmla="*/ 383382 h 785813"/>
                <a:gd name="connsiteX32" fmla="*/ 373856 w 695325"/>
                <a:gd name="connsiteY32" fmla="*/ 371475 h 785813"/>
                <a:gd name="connsiteX33" fmla="*/ 395288 w 695325"/>
                <a:gd name="connsiteY33" fmla="*/ 371475 h 785813"/>
                <a:gd name="connsiteX34" fmla="*/ 381000 w 695325"/>
                <a:gd name="connsiteY34" fmla="*/ 388144 h 785813"/>
                <a:gd name="connsiteX35" fmla="*/ 395288 w 695325"/>
                <a:gd name="connsiteY35" fmla="*/ 397669 h 785813"/>
                <a:gd name="connsiteX36" fmla="*/ 421481 w 695325"/>
                <a:gd name="connsiteY36" fmla="*/ 426244 h 785813"/>
                <a:gd name="connsiteX37" fmla="*/ 438150 w 695325"/>
                <a:gd name="connsiteY37" fmla="*/ 461963 h 785813"/>
                <a:gd name="connsiteX38" fmla="*/ 440531 w 695325"/>
                <a:gd name="connsiteY38" fmla="*/ 492919 h 785813"/>
                <a:gd name="connsiteX39" fmla="*/ 423863 w 695325"/>
                <a:gd name="connsiteY39" fmla="*/ 511969 h 785813"/>
                <a:gd name="connsiteX40" fmla="*/ 423863 w 695325"/>
                <a:gd name="connsiteY40" fmla="*/ 535782 h 785813"/>
                <a:gd name="connsiteX41" fmla="*/ 402431 w 695325"/>
                <a:gd name="connsiteY41" fmla="*/ 535782 h 785813"/>
                <a:gd name="connsiteX42" fmla="*/ 383381 w 695325"/>
                <a:gd name="connsiteY42" fmla="*/ 547688 h 785813"/>
                <a:gd name="connsiteX43" fmla="*/ 407194 w 695325"/>
                <a:gd name="connsiteY43" fmla="*/ 583407 h 785813"/>
                <a:gd name="connsiteX44" fmla="*/ 395288 w 695325"/>
                <a:gd name="connsiteY44" fmla="*/ 611982 h 785813"/>
                <a:gd name="connsiteX45" fmla="*/ 359569 w 695325"/>
                <a:gd name="connsiteY45" fmla="*/ 611982 h 785813"/>
                <a:gd name="connsiteX46" fmla="*/ 328613 w 695325"/>
                <a:gd name="connsiteY46" fmla="*/ 609600 h 785813"/>
                <a:gd name="connsiteX47" fmla="*/ 309563 w 695325"/>
                <a:gd name="connsiteY47" fmla="*/ 597694 h 785813"/>
                <a:gd name="connsiteX48" fmla="*/ 297656 w 695325"/>
                <a:gd name="connsiteY48" fmla="*/ 621507 h 785813"/>
                <a:gd name="connsiteX49" fmla="*/ 297656 w 695325"/>
                <a:gd name="connsiteY49" fmla="*/ 645319 h 785813"/>
                <a:gd name="connsiteX50" fmla="*/ 330994 w 695325"/>
                <a:gd name="connsiteY50" fmla="*/ 661988 h 785813"/>
                <a:gd name="connsiteX51" fmla="*/ 354806 w 695325"/>
                <a:gd name="connsiteY51" fmla="*/ 642938 h 785813"/>
                <a:gd name="connsiteX52" fmla="*/ 371475 w 695325"/>
                <a:gd name="connsiteY52" fmla="*/ 638175 h 785813"/>
                <a:gd name="connsiteX53" fmla="*/ 378619 w 695325"/>
                <a:gd name="connsiteY53" fmla="*/ 628650 h 785813"/>
                <a:gd name="connsiteX54" fmla="*/ 400050 w 695325"/>
                <a:gd name="connsiteY54" fmla="*/ 640557 h 785813"/>
                <a:gd name="connsiteX55" fmla="*/ 414338 w 695325"/>
                <a:gd name="connsiteY55" fmla="*/ 659607 h 785813"/>
                <a:gd name="connsiteX56" fmla="*/ 438150 w 695325"/>
                <a:gd name="connsiteY56" fmla="*/ 688182 h 785813"/>
                <a:gd name="connsiteX57" fmla="*/ 452438 w 695325"/>
                <a:gd name="connsiteY57" fmla="*/ 688182 h 785813"/>
                <a:gd name="connsiteX58" fmla="*/ 464344 w 695325"/>
                <a:gd name="connsiteY58" fmla="*/ 704850 h 785813"/>
                <a:gd name="connsiteX59" fmla="*/ 450056 w 695325"/>
                <a:gd name="connsiteY59" fmla="*/ 714375 h 785813"/>
                <a:gd name="connsiteX60" fmla="*/ 481013 w 695325"/>
                <a:gd name="connsiteY60" fmla="*/ 740569 h 785813"/>
                <a:gd name="connsiteX61" fmla="*/ 497681 w 695325"/>
                <a:gd name="connsiteY61" fmla="*/ 738188 h 785813"/>
                <a:gd name="connsiteX62" fmla="*/ 526256 w 695325"/>
                <a:gd name="connsiteY62" fmla="*/ 752475 h 785813"/>
                <a:gd name="connsiteX63" fmla="*/ 566738 w 695325"/>
                <a:gd name="connsiteY63" fmla="*/ 783432 h 785813"/>
                <a:gd name="connsiteX64" fmla="*/ 578644 w 695325"/>
                <a:gd name="connsiteY64" fmla="*/ 785813 h 785813"/>
                <a:gd name="connsiteX65" fmla="*/ 588169 w 695325"/>
                <a:gd name="connsiteY65" fmla="*/ 776288 h 785813"/>
                <a:gd name="connsiteX66" fmla="*/ 566738 w 695325"/>
                <a:gd name="connsiteY66" fmla="*/ 762000 h 785813"/>
                <a:gd name="connsiteX67" fmla="*/ 535781 w 695325"/>
                <a:gd name="connsiteY67" fmla="*/ 733425 h 785813"/>
                <a:gd name="connsiteX68" fmla="*/ 523875 w 695325"/>
                <a:gd name="connsiteY68" fmla="*/ 697707 h 785813"/>
                <a:gd name="connsiteX69" fmla="*/ 531019 w 695325"/>
                <a:gd name="connsiteY69" fmla="*/ 685800 h 785813"/>
                <a:gd name="connsiteX70" fmla="*/ 557213 w 695325"/>
                <a:gd name="connsiteY70" fmla="*/ 711994 h 785813"/>
                <a:gd name="connsiteX71" fmla="*/ 597694 w 695325"/>
                <a:gd name="connsiteY71" fmla="*/ 733425 h 785813"/>
                <a:gd name="connsiteX72" fmla="*/ 619125 w 695325"/>
                <a:gd name="connsiteY72" fmla="*/ 742950 h 785813"/>
                <a:gd name="connsiteX73" fmla="*/ 611981 w 695325"/>
                <a:gd name="connsiteY73" fmla="*/ 716757 h 785813"/>
                <a:gd name="connsiteX74" fmla="*/ 623888 w 695325"/>
                <a:gd name="connsiteY74" fmla="*/ 707232 h 785813"/>
                <a:gd name="connsiteX75" fmla="*/ 619125 w 695325"/>
                <a:gd name="connsiteY75" fmla="*/ 683419 h 785813"/>
                <a:gd name="connsiteX76" fmla="*/ 602456 w 695325"/>
                <a:gd name="connsiteY76" fmla="*/ 664369 h 785813"/>
                <a:gd name="connsiteX77" fmla="*/ 607219 w 695325"/>
                <a:gd name="connsiteY77" fmla="*/ 647700 h 785813"/>
                <a:gd name="connsiteX78" fmla="*/ 592931 w 695325"/>
                <a:gd name="connsiteY78" fmla="*/ 640557 h 785813"/>
                <a:gd name="connsiteX79" fmla="*/ 585788 w 695325"/>
                <a:gd name="connsiteY79" fmla="*/ 628650 h 785813"/>
                <a:gd name="connsiteX80" fmla="*/ 564356 w 695325"/>
                <a:gd name="connsiteY80" fmla="*/ 623888 h 785813"/>
                <a:gd name="connsiteX81" fmla="*/ 550069 w 695325"/>
                <a:gd name="connsiteY81" fmla="*/ 588169 h 785813"/>
                <a:gd name="connsiteX82" fmla="*/ 540544 w 695325"/>
                <a:gd name="connsiteY82" fmla="*/ 581025 h 785813"/>
                <a:gd name="connsiteX83" fmla="*/ 550069 w 695325"/>
                <a:gd name="connsiteY83" fmla="*/ 561975 h 785813"/>
                <a:gd name="connsiteX84" fmla="*/ 545306 w 695325"/>
                <a:gd name="connsiteY84" fmla="*/ 547688 h 785813"/>
                <a:gd name="connsiteX85" fmla="*/ 540544 w 695325"/>
                <a:gd name="connsiteY85" fmla="*/ 523875 h 785813"/>
                <a:gd name="connsiteX86" fmla="*/ 571500 w 695325"/>
                <a:gd name="connsiteY86" fmla="*/ 519113 h 785813"/>
                <a:gd name="connsiteX87" fmla="*/ 595313 w 695325"/>
                <a:gd name="connsiteY87" fmla="*/ 550069 h 785813"/>
                <a:gd name="connsiteX88" fmla="*/ 626269 w 695325"/>
                <a:gd name="connsiteY88" fmla="*/ 569119 h 785813"/>
                <a:gd name="connsiteX89" fmla="*/ 631031 w 695325"/>
                <a:gd name="connsiteY89" fmla="*/ 592932 h 785813"/>
                <a:gd name="connsiteX90" fmla="*/ 659606 w 695325"/>
                <a:gd name="connsiteY90" fmla="*/ 611982 h 785813"/>
                <a:gd name="connsiteX91" fmla="*/ 650081 w 695325"/>
                <a:gd name="connsiteY91" fmla="*/ 576263 h 785813"/>
                <a:gd name="connsiteX92" fmla="*/ 669131 w 695325"/>
                <a:gd name="connsiteY92" fmla="*/ 576263 h 785813"/>
                <a:gd name="connsiteX93" fmla="*/ 683419 w 695325"/>
                <a:gd name="connsiteY93" fmla="*/ 554832 h 785813"/>
                <a:gd name="connsiteX94" fmla="*/ 671513 w 695325"/>
                <a:gd name="connsiteY94" fmla="*/ 535782 h 785813"/>
                <a:gd name="connsiteX95" fmla="*/ 695325 w 695325"/>
                <a:gd name="connsiteY95" fmla="*/ 528638 h 785813"/>
                <a:gd name="connsiteX96" fmla="*/ 676275 w 695325"/>
                <a:gd name="connsiteY96" fmla="*/ 516732 h 785813"/>
                <a:gd name="connsiteX97" fmla="*/ 645319 w 695325"/>
                <a:gd name="connsiteY97" fmla="*/ 511969 h 785813"/>
                <a:gd name="connsiteX98" fmla="*/ 652463 w 695325"/>
                <a:gd name="connsiteY98" fmla="*/ 483394 h 785813"/>
                <a:gd name="connsiteX99" fmla="*/ 631031 w 695325"/>
                <a:gd name="connsiteY99" fmla="*/ 488157 h 785813"/>
                <a:gd name="connsiteX100" fmla="*/ 631031 w 695325"/>
                <a:gd name="connsiteY100" fmla="*/ 461963 h 785813"/>
                <a:gd name="connsiteX101" fmla="*/ 609600 w 695325"/>
                <a:gd name="connsiteY101" fmla="*/ 452438 h 785813"/>
                <a:gd name="connsiteX102" fmla="*/ 602456 w 695325"/>
                <a:gd name="connsiteY102" fmla="*/ 435769 h 785813"/>
                <a:gd name="connsiteX103" fmla="*/ 585788 w 695325"/>
                <a:gd name="connsiteY103" fmla="*/ 447675 h 785813"/>
                <a:gd name="connsiteX104" fmla="*/ 576263 w 695325"/>
                <a:gd name="connsiteY104" fmla="*/ 423863 h 785813"/>
                <a:gd name="connsiteX105" fmla="*/ 545306 w 695325"/>
                <a:gd name="connsiteY105" fmla="*/ 400050 h 785813"/>
                <a:gd name="connsiteX106" fmla="*/ 526256 w 695325"/>
                <a:gd name="connsiteY106" fmla="*/ 400050 h 785813"/>
                <a:gd name="connsiteX107" fmla="*/ 540544 w 695325"/>
                <a:gd name="connsiteY107" fmla="*/ 381000 h 785813"/>
                <a:gd name="connsiteX108" fmla="*/ 540544 w 695325"/>
                <a:gd name="connsiteY108" fmla="*/ 359569 h 785813"/>
                <a:gd name="connsiteX109" fmla="*/ 535781 w 695325"/>
                <a:gd name="connsiteY109" fmla="*/ 352425 h 785813"/>
                <a:gd name="connsiteX110" fmla="*/ 578644 w 695325"/>
                <a:gd name="connsiteY110" fmla="*/ 364332 h 785813"/>
                <a:gd name="connsiteX111" fmla="*/ 566738 w 695325"/>
                <a:gd name="connsiteY111" fmla="*/ 347663 h 785813"/>
                <a:gd name="connsiteX112" fmla="*/ 528638 w 695325"/>
                <a:gd name="connsiteY112" fmla="*/ 335757 h 785813"/>
                <a:gd name="connsiteX113" fmla="*/ 519113 w 695325"/>
                <a:gd name="connsiteY113" fmla="*/ 321469 h 785813"/>
                <a:gd name="connsiteX114" fmla="*/ 557213 w 695325"/>
                <a:gd name="connsiteY114" fmla="*/ 307182 h 785813"/>
                <a:gd name="connsiteX115" fmla="*/ 545306 w 695325"/>
                <a:gd name="connsiteY115" fmla="*/ 280988 h 785813"/>
                <a:gd name="connsiteX116" fmla="*/ 538163 w 695325"/>
                <a:gd name="connsiteY116" fmla="*/ 297657 h 785813"/>
                <a:gd name="connsiteX117" fmla="*/ 514350 w 695325"/>
                <a:gd name="connsiteY117" fmla="*/ 309563 h 785813"/>
                <a:gd name="connsiteX118" fmla="*/ 507206 w 695325"/>
                <a:gd name="connsiteY118" fmla="*/ 288132 h 785813"/>
                <a:gd name="connsiteX119" fmla="*/ 500063 w 695325"/>
                <a:gd name="connsiteY119" fmla="*/ 278607 h 785813"/>
                <a:gd name="connsiteX120" fmla="*/ 523875 w 695325"/>
                <a:gd name="connsiteY120" fmla="*/ 259557 h 785813"/>
                <a:gd name="connsiteX121" fmla="*/ 504825 w 695325"/>
                <a:gd name="connsiteY121" fmla="*/ 242888 h 785813"/>
                <a:gd name="connsiteX122" fmla="*/ 485775 w 695325"/>
                <a:gd name="connsiteY122" fmla="*/ 254794 h 785813"/>
                <a:gd name="connsiteX123" fmla="*/ 473869 w 695325"/>
                <a:gd name="connsiteY123" fmla="*/ 240507 h 785813"/>
                <a:gd name="connsiteX124" fmla="*/ 471488 w 695325"/>
                <a:gd name="connsiteY124" fmla="*/ 223838 h 785813"/>
                <a:gd name="connsiteX125" fmla="*/ 452438 w 695325"/>
                <a:gd name="connsiteY125" fmla="*/ 230982 h 785813"/>
                <a:gd name="connsiteX126" fmla="*/ 450056 w 695325"/>
                <a:gd name="connsiteY126" fmla="*/ 214313 h 785813"/>
                <a:gd name="connsiteX127" fmla="*/ 457200 w 695325"/>
                <a:gd name="connsiteY127" fmla="*/ 202407 h 785813"/>
                <a:gd name="connsiteX128" fmla="*/ 433388 w 695325"/>
                <a:gd name="connsiteY128" fmla="*/ 171450 h 785813"/>
                <a:gd name="connsiteX129" fmla="*/ 423863 w 695325"/>
                <a:gd name="connsiteY129" fmla="*/ 190500 h 785813"/>
                <a:gd name="connsiteX130" fmla="*/ 416719 w 695325"/>
                <a:gd name="connsiteY130" fmla="*/ 207169 h 785813"/>
                <a:gd name="connsiteX131" fmla="*/ 397669 w 695325"/>
                <a:gd name="connsiteY131" fmla="*/ 192882 h 785813"/>
                <a:gd name="connsiteX132" fmla="*/ 395288 w 695325"/>
                <a:gd name="connsiteY132" fmla="*/ 166688 h 785813"/>
                <a:gd name="connsiteX133" fmla="*/ 383381 w 695325"/>
                <a:gd name="connsiteY133" fmla="*/ 180975 h 785813"/>
                <a:gd name="connsiteX134" fmla="*/ 376238 w 695325"/>
                <a:gd name="connsiteY134" fmla="*/ 166688 h 785813"/>
                <a:gd name="connsiteX135" fmla="*/ 376238 w 695325"/>
                <a:gd name="connsiteY135" fmla="*/ 147638 h 785813"/>
                <a:gd name="connsiteX136" fmla="*/ 364331 w 695325"/>
                <a:gd name="connsiteY136" fmla="*/ 142875 h 785813"/>
                <a:gd name="connsiteX137" fmla="*/ 364331 w 695325"/>
                <a:gd name="connsiteY137" fmla="*/ 116682 h 785813"/>
                <a:gd name="connsiteX138" fmla="*/ 309563 w 695325"/>
                <a:gd name="connsiteY138" fmla="*/ 90488 h 785813"/>
                <a:gd name="connsiteX139" fmla="*/ 288131 w 695325"/>
                <a:gd name="connsiteY139" fmla="*/ 97632 h 785813"/>
                <a:gd name="connsiteX140" fmla="*/ 292894 w 695325"/>
                <a:gd name="connsiteY140" fmla="*/ 123825 h 785813"/>
                <a:gd name="connsiteX141" fmla="*/ 273844 w 695325"/>
                <a:gd name="connsiteY141" fmla="*/ 126207 h 785813"/>
                <a:gd name="connsiteX142" fmla="*/ 259556 w 695325"/>
                <a:gd name="connsiteY142" fmla="*/ 121444 h 785813"/>
                <a:gd name="connsiteX143" fmla="*/ 247650 w 695325"/>
                <a:gd name="connsiteY143" fmla="*/ 140494 h 785813"/>
                <a:gd name="connsiteX144" fmla="*/ 223838 w 695325"/>
                <a:gd name="connsiteY144" fmla="*/ 152400 h 785813"/>
                <a:gd name="connsiteX145" fmla="*/ 221456 w 695325"/>
                <a:gd name="connsiteY145" fmla="*/ 130969 h 785813"/>
                <a:gd name="connsiteX146" fmla="*/ 223838 w 695325"/>
                <a:gd name="connsiteY146" fmla="*/ 92869 h 785813"/>
                <a:gd name="connsiteX147" fmla="*/ 216694 w 695325"/>
                <a:gd name="connsiteY147" fmla="*/ 66675 h 785813"/>
                <a:gd name="connsiteX148" fmla="*/ 214313 w 695325"/>
                <a:gd name="connsiteY148" fmla="*/ 50007 h 785813"/>
                <a:gd name="connsiteX149" fmla="*/ 204788 w 695325"/>
                <a:gd name="connsiteY149" fmla="*/ 28575 h 785813"/>
                <a:gd name="connsiteX150" fmla="*/ 202406 w 695325"/>
                <a:gd name="connsiteY150" fmla="*/ 0 h 785813"/>
                <a:gd name="connsiteX151" fmla="*/ 183356 w 695325"/>
                <a:gd name="connsiteY151" fmla="*/ 7144 h 785813"/>
                <a:gd name="connsiteX152" fmla="*/ 161926 w 695325"/>
                <a:gd name="connsiteY152" fmla="*/ 23813 h 785813"/>
                <a:gd name="connsiteX153" fmla="*/ 147638 w 695325"/>
                <a:gd name="connsiteY153" fmla="*/ 33338 h 785813"/>
                <a:gd name="connsiteX154" fmla="*/ 114300 w 695325"/>
                <a:gd name="connsiteY154" fmla="*/ 223837 h 785813"/>
                <a:gd name="connsiteX0" fmla="*/ 114300 w 695325"/>
                <a:gd name="connsiteY0" fmla="*/ 223837 h 785813"/>
                <a:gd name="connsiteX1" fmla="*/ 64295 w 695325"/>
                <a:gd name="connsiteY1" fmla="*/ 71438 h 785813"/>
                <a:gd name="connsiteX2" fmla="*/ 80963 w 695325"/>
                <a:gd name="connsiteY2" fmla="*/ 30957 h 785813"/>
                <a:gd name="connsiteX3" fmla="*/ 102394 w 695325"/>
                <a:gd name="connsiteY3" fmla="*/ 1 h 785813"/>
                <a:gd name="connsiteX4" fmla="*/ 54769 w 695325"/>
                <a:gd name="connsiteY4" fmla="*/ 4763 h 785813"/>
                <a:gd name="connsiteX5" fmla="*/ 21431 w 695325"/>
                <a:gd name="connsiteY5" fmla="*/ 38100 h 785813"/>
                <a:gd name="connsiteX6" fmla="*/ 21431 w 695325"/>
                <a:gd name="connsiteY6" fmla="*/ 69057 h 785813"/>
                <a:gd name="connsiteX7" fmla="*/ 11906 w 695325"/>
                <a:gd name="connsiteY7" fmla="*/ 88107 h 785813"/>
                <a:gd name="connsiteX8" fmla="*/ 7144 w 695325"/>
                <a:gd name="connsiteY8" fmla="*/ 126207 h 785813"/>
                <a:gd name="connsiteX9" fmla="*/ 7144 w 695325"/>
                <a:gd name="connsiteY9" fmla="*/ 126207 h 785813"/>
                <a:gd name="connsiteX10" fmla="*/ 0 w 695325"/>
                <a:gd name="connsiteY10" fmla="*/ 145257 h 785813"/>
                <a:gd name="connsiteX11" fmla="*/ 0 w 695325"/>
                <a:gd name="connsiteY11" fmla="*/ 190500 h 785813"/>
                <a:gd name="connsiteX12" fmla="*/ 38100 w 695325"/>
                <a:gd name="connsiteY12" fmla="*/ 200025 h 785813"/>
                <a:gd name="connsiteX13" fmla="*/ 64294 w 695325"/>
                <a:gd name="connsiteY13" fmla="*/ 219075 h 785813"/>
                <a:gd name="connsiteX14" fmla="*/ 66675 w 695325"/>
                <a:gd name="connsiteY14" fmla="*/ 233363 h 785813"/>
                <a:gd name="connsiteX15" fmla="*/ 35719 w 695325"/>
                <a:gd name="connsiteY15" fmla="*/ 228600 h 785813"/>
                <a:gd name="connsiteX16" fmla="*/ 9525 w 695325"/>
                <a:gd name="connsiteY16" fmla="*/ 216694 h 785813"/>
                <a:gd name="connsiteX17" fmla="*/ 47625 w 695325"/>
                <a:gd name="connsiteY17" fmla="*/ 276225 h 785813"/>
                <a:gd name="connsiteX18" fmla="*/ 76200 w 695325"/>
                <a:gd name="connsiteY18" fmla="*/ 257175 h 785813"/>
                <a:gd name="connsiteX19" fmla="*/ 102394 w 695325"/>
                <a:gd name="connsiteY19" fmla="*/ 288132 h 785813"/>
                <a:gd name="connsiteX20" fmla="*/ 147638 w 695325"/>
                <a:gd name="connsiteY20" fmla="*/ 300038 h 785813"/>
                <a:gd name="connsiteX21" fmla="*/ 188119 w 695325"/>
                <a:gd name="connsiteY21" fmla="*/ 307182 h 785813"/>
                <a:gd name="connsiteX22" fmla="*/ 209550 w 695325"/>
                <a:gd name="connsiteY22" fmla="*/ 295275 h 785813"/>
                <a:gd name="connsiteX23" fmla="*/ 197644 w 695325"/>
                <a:gd name="connsiteY23" fmla="*/ 285750 h 785813"/>
                <a:gd name="connsiteX24" fmla="*/ 219075 w 695325"/>
                <a:gd name="connsiteY24" fmla="*/ 285750 h 785813"/>
                <a:gd name="connsiteX25" fmla="*/ 247650 w 695325"/>
                <a:gd name="connsiteY25" fmla="*/ 314325 h 785813"/>
                <a:gd name="connsiteX26" fmla="*/ 266700 w 695325"/>
                <a:gd name="connsiteY26" fmla="*/ 292894 h 785813"/>
                <a:gd name="connsiteX27" fmla="*/ 252413 w 695325"/>
                <a:gd name="connsiteY27" fmla="*/ 266700 h 785813"/>
                <a:gd name="connsiteX28" fmla="*/ 266700 w 695325"/>
                <a:gd name="connsiteY28" fmla="*/ 261938 h 785813"/>
                <a:gd name="connsiteX29" fmla="*/ 345281 w 695325"/>
                <a:gd name="connsiteY29" fmla="*/ 342900 h 785813"/>
                <a:gd name="connsiteX30" fmla="*/ 352425 w 695325"/>
                <a:gd name="connsiteY30" fmla="*/ 357188 h 785813"/>
                <a:gd name="connsiteX31" fmla="*/ 330994 w 695325"/>
                <a:gd name="connsiteY31" fmla="*/ 383382 h 785813"/>
                <a:gd name="connsiteX32" fmla="*/ 373856 w 695325"/>
                <a:gd name="connsiteY32" fmla="*/ 371475 h 785813"/>
                <a:gd name="connsiteX33" fmla="*/ 395288 w 695325"/>
                <a:gd name="connsiteY33" fmla="*/ 371475 h 785813"/>
                <a:gd name="connsiteX34" fmla="*/ 381000 w 695325"/>
                <a:gd name="connsiteY34" fmla="*/ 388144 h 785813"/>
                <a:gd name="connsiteX35" fmla="*/ 395288 w 695325"/>
                <a:gd name="connsiteY35" fmla="*/ 397669 h 785813"/>
                <a:gd name="connsiteX36" fmla="*/ 421481 w 695325"/>
                <a:gd name="connsiteY36" fmla="*/ 426244 h 785813"/>
                <a:gd name="connsiteX37" fmla="*/ 438150 w 695325"/>
                <a:gd name="connsiteY37" fmla="*/ 461963 h 785813"/>
                <a:gd name="connsiteX38" fmla="*/ 440531 w 695325"/>
                <a:gd name="connsiteY38" fmla="*/ 492919 h 785813"/>
                <a:gd name="connsiteX39" fmla="*/ 423863 w 695325"/>
                <a:gd name="connsiteY39" fmla="*/ 511969 h 785813"/>
                <a:gd name="connsiteX40" fmla="*/ 423863 w 695325"/>
                <a:gd name="connsiteY40" fmla="*/ 535782 h 785813"/>
                <a:gd name="connsiteX41" fmla="*/ 402431 w 695325"/>
                <a:gd name="connsiteY41" fmla="*/ 535782 h 785813"/>
                <a:gd name="connsiteX42" fmla="*/ 383381 w 695325"/>
                <a:gd name="connsiteY42" fmla="*/ 547688 h 785813"/>
                <a:gd name="connsiteX43" fmla="*/ 407194 w 695325"/>
                <a:gd name="connsiteY43" fmla="*/ 583407 h 785813"/>
                <a:gd name="connsiteX44" fmla="*/ 395288 w 695325"/>
                <a:gd name="connsiteY44" fmla="*/ 611982 h 785813"/>
                <a:gd name="connsiteX45" fmla="*/ 359569 w 695325"/>
                <a:gd name="connsiteY45" fmla="*/ 611982 h 785813"/>
                <a:gd name="connsiteX46" fmla="*/ 328613 w 695325"/>
                <a:gd name="connsiteY46" fmla="*/ 609600 h 785813"/>
                <a:gd name="connsiteX47" fmla="*/ 309563 w 695325"/>
                <a:gd name="connsiteY47" fmla="*/ 597694 h 785813"/>
                <a:gd name="connsiteX48" fmla="*/ 297656 w 695325"/>
                <a:gd name="connsiteY48" fmla="*/ 621507 h 785813"/>
                <a:gd name="connsiteX49" fmla="*/ 297656 w 695325"/>
                <a:gd name="connsiteY49" fmla="*/ 645319 h 785813"/>
                <a:gd name="connsiteX50" fmla="*/ 330994 w 695325"/>
                <a:gd name="connsiteY50" fmla="*/ 661988 h 785813"/>
                <a:gd name="connsiteX51" fmla="*/ 354806 w 695325"/>
                <a:gd name="connsiteY51" fmla="*/ 642938 h 785813"/>
                <a:gd name="connsiteX52" fmla="*/ 371475 w 695325"/>
                <a:gd name="connsiteY52" fmla="*/ 638175 h 785813"/>
                <a:gd name="connsiteX53" fmla="*/ 378619 w 695325"/>
                <a:gd name="connsiteY53" fmla="*/ 628650 h 785813"/>
                <a:gd name="connsiteX54" fmla="*/ 400050 w 695325"/>
                <a:gd name="connsiteY54" fmla="*/ 640557 h 785813"/>
                <a:gd name="connsiteX55" fmla="*/ 414338 w 695325"/>
                <a:gd name="connsiteY55" fmla="*/ 659607 h 785813"/>
                <a:gd name="connsiteX56" fmla="*/ 438150 w 695325"/>
                <a:gd name="connsiteY56" fmla="*/ 688182 h 785813"/>
                <a:gd name="connsiteX57" fmla="*/ 452438 w 695325"/>
                <a:gd name="connsiteY57" fmla="*/ 688182 h 785813"/>
                <a:gd name="connsiteX58" fmla="*/ 464344 w 695325"/>
                <a:gd name="connsiteY58" fmla="*/ 704850 h 785813"/>
                <a:gd name="connsiteX59" fmla="*/ 450056 w 695325"/>
                <a:gd name="connsiteY59" fmla="*/ 714375 h 785813"/>
                <a:gd name="connsiteX60" fmla="*/ 481013 w 695325"/>
                <a:gd name="connsiteY60" fmla="*/ 740569 h 785813"/>
                <a:gd name="connsiteX61" fmla="*/ 497681 w 695325"/>
                <a:gd name="connsiteY61" fmla="*/ 738188 h 785813"/>
                <a:gd name="connsiteX62" fmla="*/ 526256 w 695325"/>
                <a:gd name="connsiteY62" fmla="*/ 752475 h 785813"/>
                <a:gd name="connsiteX63" fmla="*/ 566738 w 695325"/>
                <a:gd name="connsiteY63" fmla="*/ 783432 h 785813"/>
                <a:gd name="connsiteX64" fmla="*/ 578644 w 695325"/>
                <a:gd name="connsiteY64" fmla="*/ 785813 h 785813"/>
                <a:gd name="connsiteX65" fmla="*/ 588169 w 695325"/>
                <a:gd name="connsiteY65" fmla="*/ 776288 h 785813"/>
                <a:gd name="connsiteX66" fmla="*/ 566738 w 695325"/>
                <a:gd name="connsiteY66" fmla="*/ 762000 h 785813"/>
                <a:gd name="connsiteX67" fmla="*/ 535781 w 695325"/>
                <a:gd name="connsiteY67" fmla="*/ 733425 h 785813"/>
                <a:gd name="connsiteX68" fmla="*/ 523875 w 695325"/>
                <a:gd name="connsiteY68" fmla="*/ 697707 h 785813"/>
                <a:gd name="connsiteX69" fmla="*/ 531019 w 695325"/>
                <a:gd name="connsiteY69" fmla="*/ 685800 h 785813"/>
                <a:gd name="connsiteX70" fmla="*/ 557213 w 695325"/>
                <a:gd name="connsiteY70" fmla="*/ 711994 h 785813"/>
                <a:gd name="connsiteX71" fmla="*/ 597694 w 695325"/>
                <a:gd name="connsiteY71" fmla="*/ 733425 h 785813"/>
                <a:gd name="connsiteX72" fmla="*/ 619125 w 695325"/>
                <a:gd name="connsiteY72" fmla="*/ 742950 h 785813"/>
                <a:gd name="connsiteX73" fmla="*/ 611981 w 695325"/>
                <a:gd name="connsiteY73" fmla="*/ 716757 h 785813"/>
                <a:gd name="connsiteX74" fmla="*/ 623888 w 695325"/>
                <a:gd name="connsiteY74" fmla="*/ 707232 h 785813"/>
                <a:gd name="connsiteX75" fmla="*/ 619125 w 695325"/>
                <a:gd name="connsiteY75" fmla="*/ 683419 h 785813"/>
                <a:gd name="connsiteX76" fmla="*/ 602456 w 695325"/>
                <a:gd name="connsiteY76" fmla="*/ 664369 h 785813"/>
                <a:gd name="connsiteX77" fmla="*/ 607219 w 695325"/>
                <a:gd name="connsiteY77" fmla="*/ 647700 h 785813"/>
                <a:gd name="connsiteX78" fmla="*/ 592931 w 695325"/>
                <a:gd name="connsiteY78" fmla="*/ 640557 h 785813"/>
                <a:gd name="connsiteX79" fmla="*/ 585788 w 695325"/>
                <a:gd name="connsiteY79" fmla="*/ 628650 h 785813"/>
                <a:gd name="connsiteX80" fmla="*/ 564356 w 695325"/>
                <a:gd name="connsiteY80" fmla="*/ 623888 h 785813"/>
                <a:gd name="connsiteX81" fmla="*/ 550069 w 695325"/>
                <a:gd name="connsiteY81" fmla="*/ 588169 h 785813"/>
                <a:gd name="connsiteX82" fmla="*/ 540544 w 695325"/>
                <a:gd name="connsiteY82" fmla="*/ 581025 h 785813"/>
                <a:gd name="connsiteX83" fmla="*/ 550069 w 695325"/>
                <a:gd name="connsiteY83" fmla="*/ 561975 h 785813"/>
                <a:gd name="connsiteX84" fmla="*/ 545306 w 695325"/>
                <a:gd name="connsiteY84" fmla="*/ 547688 h 785813"/>
                <a:gd name="connsiteX85" fmla="*/ 540544 w 695325"/>
                <a:gd name="connsiteY85" fmla="*/ 523875 h 785813"/>
                <a:gd name="connsiteX86" fmla="*/ 571500 w 695325"/>
                <a:gd name="connsiteY86" fmla="*/ 519113 h 785813"/>
                <a:gd name="connsiteX87" fmla="*/ 595313 w 695325"/>
                <a:gd name="connsiteY87" fmla="*/ 550069 h 785813"/>
                <a:gd name="connsiteX88" fmla="*/ 626269 w 695325"/>
                <a:gd name="connsiteY88" fmla="*/ 569119 h 785813"/>
                <a:gd name="connsiteX89" fmla="*/ 631031 w 695325"/>
                <a:gd name="connsiteY89" fmla="*/ 592932 h 785813"/>
                <a:gd name="connsiteX90" fmla="*/ 659606 w 695325"/>
                <a:gd name="connsiteY90" fmla="*/ 611982 h 785813"/>
                <a:gd name="connsiteX91" fmla="*/ 650081 w 695325"/>
                <a:gd name="connsiteY91" fmla="*/ 576263 h 785813"/>
                <a:gd name="connsiteX92" fmla="*/ 669131 w 695325"/>
                <a:gd name="connsiteY92" fmla="*/ 576263 h 785813"/>
                <a:gd name="connsiteX93" fmla="*/ 683419 w 695325"/>
                <a:gd name="connsiteY93" fmla="*/ 554832 h 785813"/>
                <a:gd name="connsiteX94" fmla="*/ 671513 w 695325"/>
                <a:gd name="connsiteY94" fmla="*/ 535782 h 785813"/>
                <a:gd name="connsiteX95" fmla="*/ 695325 w 695325"/>
                <a:gd name="connsiteY95" fmla="*/ 528638 h 785813"/>
                <a:gd name="connsiteX96" fmla="*/ 676275 w 695325"/>
                <a:gd name="connsiteY96" fmla="*/ 516732 h 785813"/>
                <a:gd name="connsiteX97" fmla="*/ 645319 w 695325"/>
                <a:gd name="connsiteY97" fmla="*/ 511969 h 785813"/>
                <a:gd name="connsiteX98" fmla="*/ 652463 w 695325"/>
                <a:gd name="connsiteY98" fmla="*/ 483394 h 785813"/>
                <a:gd name="connsiteX99" fmla="*/ 631031 w 695325"/>
                <a:gd name="connsiteY99" fmla="*/ 488157 h 785813"/>
                <a:gd name="connsiteX100" fmla="*/ 631031 w 695325"/>
                <a:gd name="connsiteY100" fmla="*/ 461963 h 785813"/>
                <a:gd name="connsiteX101" fmla="*/ 609600 w 695325"/>
                <a:gd name="connsiteY101" fmla="*/ 452438 h 785813"/>
                <a:gd name="connsiteX102" fmla="*/ 602456 w 695325"/>
                <a:gd name="connsiteY102" fmla="*/ 435769 h 785813"/>
                <a:gd name="connsiteX103" fmla="*/ 585788 w 695325"/>
                <a:gd name="connsiteY103" fmla="*/ 447675 h 785813"/>
                <a:gd name="connsiteX104" fmla="*/ 576263 w 695325"/>
                <a:gd name="connsiteY104" fmla="*/ 423863 h 785813"/>
                <a:gd name="connsiteX105" fmla="*/ 545306 w 695325"/>
                <a:gd name="connsiteY105" fmla="*/ 400050 h 785813"/>
                <a:gd name="connsiteX106" fmla="*/ 526256 w 695325"/>
                <a:gd name="connsiteY106" fmla="*/ 400050 h 785813"/>
                <a:gd name="connsiteX107" fmla="*/ 540544 w 695325"/>
                <a:gd name="connsiteY107" fmla="*/ 381000 h 785813"/>
                <a:gd name="connsiteX108" fmla="*/ 540544 w 695325"/>
                <a:gd name="connsiteY108" fmla="*/ 359569 h 785813"/>
                <a:gd name="connsiteX109" fmla="*/ 535781 w 695325"/>
                <a:gd name="connsiteY109" fmla="*/ 352425 h 785813"/>
                <a:gd name="connsiteX110" fmla="*/ 578644 w 695325"/>
                <a:gd name="connsiteY110" fmla="*/ 364332 h 785813"/>
                <a:gd name="connsiteX111" fmla="*/ 566738 w 695325"/>
                <a:gd name="connsiteY111" fmla="*/ 347663 h 785813"/>
                <a:gd name="connsiteX112" fmla="*/ 528638 w 695325"/>
                <a:gd name="connsiteY112" fmla="*/ 335757 h 785813"/>
                <a:gd name="connsiteX113" fmla="*/ 519113 w 695325"/>
                <a:gd name="connsiteY113" fmla="*/ 321469 h 785813"/>
                <a:gd name="connsiteX114" fmla="*/ 557213 w 695325"/>
                <a:gd name="connsiteY114" fmla="*/ 307182 h 785813"/>
                <a:gd name="connsiteX115" fmla="*/ 545306 w 695325"/>
                <a:gd name="connsiteY115" fmla="*/ 280988 h 785813"/>
                <a:gd name="connsiteX116" fmla="*/ 538163 w 695325"/>
                <a:gd name="connsiteY116" fmla="*/ 297657 h 785813"/>
                <a:gd name="connsiteX117" fmla="*/ 514350 w 695325"/>
                <a:gd name="connsiteY117" fmla="*/ 309563 h 785813"/>
                <a:gd name="connsiteX118" fmla="*/ 507206 w 695325"/>
                <a:gd name="connsiteY118" fmla="*/ 288132 h 785813"/>
                <a:gd name="connsiteX119" fmla="*/ 500063 w 695325"/>
                <a:gd name="connsiteY119" fmla="*/ 278607 h 785813"/>
                <a:gd name="connsiteX120" fmla="*/ 523875 w 695325"/>
                <a:gd name="connsiteY120" fmla="*/ 259557 h 785813"/>
                <a:gd name="connsiteX121" fmla="*/ 504825 w 695325"/>
                <a:gd name="connsiteY121" fmla="*/ 242888 h 785813"/>
                <a:gd name="connsiteX122" fmla="*/ 485775 w 695325"/>
                <a:gd name="connsiteY122" fmla="*/ 254794 h 785813"/>
                <a:gd name="connsiteX123" fmla="*/ 473869 w 695325"/>
                <a:gd name="connsiteY123" fmla="*/ 240507 h 785813"/>
                <a:gd name="connsiteX124" fmla="*/ 471488 w 695325"/>
                <a:gd name="connsiteY124" fmla="*/ 223838 h 785813"/>
                <a:gd name="connsiteX125" fmla="*/ 452438 w 695325"/>
                <a:gd name="connsiteY125" fmla="*/ 230982 h 785813"/>
                <a:gd name="connsiteX126" fmla="*/ 450056 w 695325"/>
                <a:gd name="connsiteY126" fmla="*/ 214313 h 785813"/>
                <a:gd name="connsiteX127" fmla="*/ 457200 w 695325"/>
                <a:gd name="connsiteY127" fmla="*/ 202407 h 785813"/>
                <a:gd name="connsiteX128" fmla="*/ 433388 w 695325"/>
                <a:gd name="connsiteY128" fmla="*/ 171450 h 785813"/>
                <a:gd name="connsiteX129" fmla="*/ 423863 w 695325"/>
                <a:gd name="connsiteY129" fmla="*/ 190500 h 785813"/>
                <a:gd name="connsiteX130" fmla="*/ 416719 w 695325"/>
                <a:gd name="connsiteY130" fmla="*/ 207169 h 785813"/>
                <a:gd name="connsiteX131" fmla="*/ 397669 w 695325"/>
                <a:gd name="connsiteY131" fmla="*/ 192882 h 785813"/>
                <a:gd name="connsiteX132" fmla="*/ 395288 w 695325"/>
                <a:gd name="connsiteY132" fmla="*/ 166688 h 785813"/>
                <a:gd name="connsiteX133" fmla="*/ 383381 w 695325"/>
                <a:gd name="connsiteY133" fmla="*/ 180975 h 785813"/>
                <a:gd name="connsiteX134" fmla="*/ 376238 w 695325"/>
                <a:gd name="connsiteY134" fmla="*/ 166688 h 785813"/>
                <a:gd name="connsiteX135" fmla="*/ 376238 w 695325"/>
                <a:gd name="connsiteY135" fmla="*/ 147638 h 785813"/>
                <a:gd name="connsiteX136" fmla="*/ 364331 w 695325"/>
                <a:gd name="connsiteY136" fmla="*/ 142875 h 785813"/>
                <a:gd name="connsiteX137" fmla="*/ 364331 w 695325"/>
                <a:gd name="connsiteY137" fmla="*/ 116682 h 785813"/>
                <a:gd name="connsiteX138" fmla="*/ 309563 w 695325"/>
                <a:gd name="connsiteY138" fmla="*/ 90488 h 785813"/>
                <a:gd name="connsiteX139" fmla="*/ 288131 w 695325"/>
                <a:gd name="connsiteY139" fmla="*/ 97632 h 785813"/>
                <a:gd name="connsiteX140" fmla="*/ 292894 w 695325"/>
                <a:gd name="connsiteY140" fmla="*/ 123825 h 785813"/>
                <a:gd name="connsiteX141" fmla="*/ 273844 w 695325"/>
                <a:gd name="connsiteY141" fmla="*/ 126207 h 785813"/>
                <a:gd name="connsiteX142" fmla="*/ 259556 w 695325"/>
                <a:gd name="connsiteY142" fmla="*/ 121444 h 785813"/>
                <a:gd name="connsiteX143" fmla="*/ 247650 w 695325"/>
                <a:gd name="connsiteY143" fmla="*/ 140494 h 785813"/>
                <a:gd name="connsiteX144" fmla="*/ 223838 w 695325"/>
                <a:gd name="connsiteY144" fmla="*/ 152400 h 785813"/>
                <a:gd name="connsiteX145" fmla="*/ 221456 w 695325"/>
                <a:gd name="connsiteY145" fmla="*/ 130969 h 785813"/>
                <a:gd name="connsiteX146" fmla="*/ 223838 w 695325"/>
                <a:gd name="connsiteY146" fmla="*/ 92869 h 785813"/>
                <a:gd name="connsiteX147" fmla="*/ 216694 w 695325"/>
                <a:gd name="connsiteY147" fmla="*/ 66675 h 785813"/>
                <a:gd name="connsiteX148" fmla="*/ 214313 w 695325"/>
                <a:gd name="connsiteY148" fmla="*/ 50007 h 785813"/>
                <a:gd name="connsiteX149" fmla="*/ 204788 w 695325"/>
                <a:gd name="connsiteY149" fmla="*/ 28575 h 785813"/>
                <a:gd name="connsiteX150" fmla="*/ 202406 w 695325"/>
                <a:gd name="connsiteY150" fmla="*/ 0 h 785813"/>
                <a:gd name="connsiteX151" fmla="*/ 183356 w 695325"/>
                <a:gd name="connsiteY151" fmla="*/ 7144 h 785813"/>
                <a:gd name="connsiteX152" fmla="*/ 161926 w 695325"/>
                <a:gd name="connsiteY152" fmla="*/ 23813 h 785813"/>
                <a:gd name="connsiteX153" fmla="*/ 147638 w 695325"/>
                <a:gd name="connsiteY153" fmla="*/ 33338 h 785813"/>
                <a:gd name="connsiteX154" fmla="*/ 114300 w 695325"/>
                <a:gd name="connsiteY154" fmla="*/ 223837 h 785813"/>
                <a:gd name="connsiteX0" fmla="*/ 114300 w 695325"/>
                <a:gd name="connsiteY0" fmla="*/ 223837 h 785813"/>
                <a:gd name="connsiteX1" fmla="*/ 57151 w 695325"/>
                <a:gd name="connsiteY1" fmla="*/ 142876 h 785813"/>
                <a:gd name="connsiteX2" fmla="*/ 80963 w 695325"/>
                <a:gd name="connsiteY2" fmla="*/ 30957 h 785813"/>
                <a:gd name="connsiteX3" fmla="*/ 102394 w 695325"/>
                <a:gd name="connsiteY3" fmla="*/ 1 h 785813"/>
                <a:gd name="connsiteX4" fmla="*/ 54769 w 695325"/>
                <a:gd name="connsiteY4" fmla="*/ 4763 h 785813"/>
                <a:gd name="connsiteX5" fmla="*/ 21431 w 695325"/>
                <a:gd name="connsiteY5" fmla="*/ 38100 h 785813"/>
                <a:gd name="connsiteX6" fmla="*/ 21431 w 695325"/>
                <a:gd name="connsiteY6" fmla="*/ 69057 h 785813"/>
                <a:gd name="connsiteX7" fmla="*/ 11906 w 695325"/>
                <a:gd name="connsiteY7" fmla="*/ 88107 h 785813"/>
                <a:gd name="connsiteX8" fmla="*/ 7144 w 695325"/>
                <a:gd name="connsiteY8" fmla="*/ 126207 h 785813"/>
                <a:gd name="connsiteX9" fmla="*/ 7144 w 695325"/>
                <a:gd name="connsiteY9" fmla="*/ 126207 h 785813"/>
                <a:gd name="connsiteX10" fmla="*/ 0 w 695325"/>
                <a:gd name="connsiteY10" fmla="*/ 145257 h 785813"/>
                <a:gd name="connsiteX11" fmla="*/ 0 w 695325"/>
                <a:gd name="connsiteY11" fmla="*/ 190500 h 785813"/>
                <a:gd name="connsiteX12" fmla="*/ 38100 w 695325"/>
                <a:gd name="connsiteY12" fmla="*/ 200025 h 785813"/>
                <a:gd name="connsiteX13" fmla="*/ 64294 w 695325"/>
                <a:gd name="connsiteY13" fmla="*/ 219075 h 785813"/>
                <a:gd name="connsiteX14" fmla="*/ 66675 w 695325"/>
                <a:gd name="connsiteY14" fmla="*/ 233363 h 785813"/>
                <a:gd name="connsiteX15" fmla="*/ 35719 w 695325"/>
                <a:gd name="connsiteY15" fmla="*/ 228600 h 785813"/>
                <a:gd name="connsiteX16" fmla="*/ 9525 w 695325"/>
                <a:gd name="connsiteY16" fmla="*/ 216694 h 785813"/>
                <a:gd name="connsiteX17" fmla="*/ 47625 w 695325"/>
                <a:gd name="connsiteY17" fmla="*/ 276225 h 785813"/>
                <a:gd name="connsiteX18" fmla="*/ 76200 w 695325"/>
                <a:gd name="connsiteY18" fmla="*/ 257175 h 785813"/>
                <a:gd name="connsiteX19" fmla="*/ 102394 w 695325"/>
                <a:gd name="connsiteY19" fmla="*/ 288132 h 785813"/>
                <a:gd name="connsiteX20" fmla="*/ 147638 w 695325"/>
                <a:gd name="connsiteY20" fmla="*/ 300038 h 785813"/>
                <a:gd name="connsiteX21" fmla="*/ 188119 w 695325"/>
                <a:gd name="connsiteY21" fmla="*/ 307182 h 785813"/>
                <a:gd name="connsiteX22" fmla="*/ 209550 w 695325"/>
                <a:gd name="connsiteY22" fmla="*/ 295275 h 785813"/>
                <a:gd name="connsiteX23" fmla="*/ 197644 w 695325"/>
                <a:gd name="connsiteY23" fmla="*/ 285750 h 785813"/>
                <a:gd name="connsiteX24" fmla="*/ 219075 w 695325"/>
                <a:gd name="connsiteY24" fmla="*/ 285750 h 785813"/>
                <a:gd name="connsiteX25" fmla="*/ 247650 w 695325"/>
                <a:gd name="connsiteY25" fmla="*/ 314325 h 785813"/>
                <a:gd name="connsiteX26" fmla="*/ 266700 w 695325"/>
                <a:gd name="connsiteY26" fmla="*/ 292894 h 785813"/>
                <a:gd name="connsiteX27" fmla="*/ 252413 w 695325"/>
                <a:gd name="connsiteY27" fmla="*/ 266700 h 785813"/>
                <a:gd name="connsiteX28" fmla="*/ 266700 w 695325"/>
                <a:gd name="connsiteY28" fmla="*/ 261938 h 785813"/>
                <a:gd name="connsiteX29" fmla="*/ 345281 w 695325"/>
                <a:gd name="connsiteY29" fmla="*/ 342900 h 785813"/>
                <a:gd name="connsiteX30" fmla="*/ 352425 w 695325"/>
                <a:gd name="connsiteY30" fmla="*/ 357188 h 785813"/>
                <a:gd name="connsiteX31" fmla="*/ 330994 w 695325"/>
                <a:gd name="connsiteY31" fmla="*/ 383382 h 785813"/>
                <a:gd name="connsiteX32" fmla="*/ 373856 w 695325"/>
                <a:gd name="connsiteY32" fmla="*/ 371475 h 785813"/>
                <a:gd name="connsiteX33" fmla="*/ 395288 w 695325"/>
                <a:gd name="connsiteY33" fmla="*/ 371475 h 785813"/>
                <a:gd name="connsiteX34" fmla="*/ 381000 w 695325"/>
                <a:gd name="connsiteY34" fmla="*/ 388144 h 785813"/>
                <a:gd name="connsiteX35" fmla="*/ 395288 w 695325"/>
                <a:gd name="connsiteY35" fmla="*/ 397669 h 785813"/>
                <a:gd name="connsiteX36" fmla="*/ 421481 w 695325"/>
                <a:gd name="connsiteY36" fmla="*/ 426244 h 785813"/>
                <a:gd name="connsiteX37" fmla="*/ 438150 w 695325"/>
                <a:gd name="connsiteY37" fmla="*/ 461963 h 785813"/>
                <a:gd name="connsiteX38" fmla="*/ 440531 w 695325"/>
                <a:gd name="connsiteY38" fmla="*/ 492919 h 785813"/>
                <a:gd name="connsiteX39" fmla="*/ 423863 w 695325"/>
                <a:gd name="connsiteY39" fmla="*/ 511969 h 785813"/>
                <a:gd name="connsiteX40" fmla="*/ 423863 w 695325"/>
                <a:gd name="connsiteY40" fmla="*/ 535782 h 785813"/>
                <a:gd name="connsiteX41" fmla="*/ 402431 w 695325"/>
                <a:gd name="connsiteY41" fmla="*/ 535782 h 785813"/>
                <a:gd name="connsiteX42" fmla="*/ 383381 w 695325"/>
                <a:gd name="connsiteY42" fmla="*/ 547688 h 785813"/>
                <a:gd name="connsiteX43" fmla="*/ 407194 w 695325"/>
                <a:gd name="connsiteY43" fmla="*/ 583407 h 785813"/>
                <a:gd name="connsiteX44" fmla="*/ 395288 w 695325"/>
                <a:gd name="connsiteY44" fmla="*/ 611982 h 785813"/>
                <a:gd name="connsiteX45" fmla="*/ 359569 w 695325"/>
                <a:gd name="connsiteY45" fmla="*/ 611982 h 785813"/>
                <a:gd name="connsiteX46" fmla="*/ 328613 w 695325"/>
                <a:gd name="connsiteY46" fmla="*/ 609600 h 785813"/>
                <a:gd name="connsiteX47" fmla="*/ 309563 w 695325"/>
                <a:gd name="connsiteY47" fmla="*/ 597694 h 785813"/>
                <a:gd name="connsiteX48" fmla="*/ 297656 w 695325"/>
                <a:gd name="connsiteY48" fmla="*/ 621507 h 785813"/>
                <a:gd name="connsiteX49" fmla="*/ 297656 w 695325"/>
                <a:gd name="connsiteY49" fmla="*/ 645319 h 785813"/>
                <a:gd name="connsiteX50" fmla="*/ 330994 w 695325"/>
                <a:gd name="connsiteY50" fmla="*/ 661988 h 785813"/>
                <a:gd name="connsiteX51" fmla="*/ 354806 w 695325"/>
                <a:gd name="connsiteY51" fmla="*/ 642938 h 785813"/>
                <a:gd name="connsiteX52" fmla="*/ 371475 w 695325"/>
                <a:gd name="connsiteY52" fmla="*/ 638175 h 785813"/>
                <a:gd name="connsiteX53" fmla="*/ 378619 w 695325"/>
                <a:gd name="connsiteY53" fmla="*/ 628650 h 785813"/>
                <a:gd name="connsiteX54" fmla="*/ 400050 w 695325"/>
                <a:gd name="connsiteY54" fmla="*/ 640557 h 785813"/>
                <a:gd name="connsiteX55" fmla="*/ 414338 w 695325"/>
                <a:gd name="connsiteY55" fmla="*/ 659607 h 785813"/>
                <a:gd name="connsiteX56" fmla="*/ 438150 w 695325"/>
                <a:gd name="connsiteY56" fmla="*/ 688182 h 785813"/>
                <a:gd name="connsiteX57" fmla="*/ 452438 w 695325"/>
                <a:gd name="connsiteY57" fmla="*/ 688182 h 785813"/>
                <a:gd name="connsiteX58" fmla="*/ 464344 w 695325"/>
                <a:gd name="connsiteY58" fmla="*/ 704850 h 785813"/>
                <a:gd name="connsiteX59" fmla="*/ 450056 w 695325"/>
                <a:gd name="connsiteY59" fmla="*/ 714375 h 785813"/>
                <a:gd name="connsiteX60" fmla="*/ 481013 w 695325"/>
                <a:gd name="connsiteY60" fmla="*/ 740569 h 785813"/>
                <a:gd name="connsiteX61" fmla="*/ 497681 w 695325"/>
                <a:gd name="connsiteY61" fmla="*/ 738188 h 785813"/>
                <a:gd name="connsiteX62" fmla="*/ 526256 w 695325"/>
                <a:gd name="connsiteY62" fmla="*/ 752475 h 785813"/>
                <a:gd name="connsiteX63" fmla="*/ 566738 w 695325"/>
                <a:gd name="connsiteY63" fmla="*/ 783432 h 785813"/>
                <a:gd name="connsiteX64" fmla="*/ 578644 w 695325"/>
                <a:gd name="connsiteY64" fmla="*/ 785813 h 785813"/>
                <a:gd name="connsiteX65" fmla="*/ 588169 w 695325"/>
                <a:gd name="connsiteY65" fmla="*/ 776288 h 785813"/>
                <a:gd name="connsiteX66" fmla="*/ 566738 w 695325"/>
                <a:gd name="connsiteY66" fmla="*/ 762000 h 785813"/>
                <a:gd name="connsiteX67" fmla="*/ 535781 w 695325"/>
                <a:gd name="connsiteY67" fmla="*/ 733425 h 785813"/>
                <a:gd name="connsiteX68" fmla="*/ 523875 w 695325"/>
                <a:gd name="connsiteY68" fmla="*/ 697707 h 785813"/>
                <a:gd name="connsiteX69" fmla="*/ 531019 w 695325"/>
                <a:gd name="connsiteY69" fmla="*/ 685800 h 785813"/>
                <a:gd name="connsiteX70" fmla="*/ 557213 w 695325"/>
                <a:gd name="connsiteY70" fmla="*/ 711994 h 785813"/>
                <a:gd name="connsiteX71" fmla="*/ 597694 w 695325"/>
                <a:gd name="connsiteY71" fmla="*/ 733425 h 785813"/>
                <a:gd name="connsiteX72" fmla="*/ 619125 w 695325"/>
                <a:gd name="connsiteY72" fmla="*/ 742950 h 785813"/>
                <a:gd name="connsiteX73" fmla="*/ 611981 w 695325"/>
                <a:gd name="connsiteY73" fmla="*/ 716757 h 785813"/>
                <a:gd name="connsiteX74" fmla="*/ 623888 w 695325"/>
                <a:gd name="connsiteY74" fmla="*/ 707232 h 785813"/>
                <a:gd name="connsiteX75" fmla="*/ 619125 w 695325"/>
                <a:gd name="connsiteY75" fmla="*/ 683419 h 785813"/>
                <a:gd name="connsiteX76" fmla="*/ 602456 w 695325"/>
                <a:gd name="connsiteY76" fmla="*/ 664369 h 785813"/>
                <a:gd name="connsiteX77" fmla="*/ 607219 w 695325"/>
                <a:gd name="connsiteY77" fmla="*/ 647700 h 785813"/>
                <a:gd name="connsiteX78" fmla="*/ 592931 w 695325"/>
                <a:gd name="connsiteY78" fmla="*/ 640557 h 785813"/>
                <a:gd name="connsiteX79" fmla="*/ 585788 w 695325"/>
                <a:gd name="connsiteY79" fmla="*/ 628650 h 785813"/>
                <a:gd name="connsiteX80" fmla="*/ 564356 w 695325"/>
                <a:gd name="connsiteY80" fmla="*/ 623888 h 785813"/>
                <a:gd name="connsiteX81" fmla="*/ 550069 w 695325"/>
                <a:gd name="connsiteY81" fmla="*/ 588169 h 785813"/>
                <a:gd name="connsiteX82" fmla="*/ 540544 w 695325"/>
                <a:gd name="connsiteY82" fmla="*/ 581025 h 785813"/>
                <a:gd name="connsiteX83" fmla="*/ 550069 w 695325"/>
                <a:gd name="connsiteY83" fmla="*/ 561975 h 785813"/>
                <a:gd name="connsiteX84" fmla="*/ 545306 w 695325"/>
                <a:gd name="connsiteY84" fmla="*/ 547688 h 785813"/>
                <a:gd name="connsiteX85" fmla="*/ 540544 w 695325"/>
                <a:gd name="connsiteY85" fmla="*/ 523875 h 785813"/>
                <a:gd name="connsiteX86" fmla="*/ 571500 w 695325"/>
                <a:gd name="connsiteY86" fmla="*/ 519113 h 785813"/>
                <a:gd name="connsiteX87" fmla="*/ 595313 w 695325"/>
                <a:gd name="connsiteY87" fmla="*/ 550069 h 785813"/>
                <a:gd name="connsiteX88" fmla="*/ 626269 w 695325"/>
                <a:gd name="connsiteY88" fmla="*/ 569119 h 785813"/>
                <a:gd name="connsiteX89" fmla="*/ 631031 w 695325"/>
                <a:gd name="connsiteY89" fmla="*/ 592932 h 785813"/>
                <a:gd name="connsiteX90" fmla="*/ 659606 w 695325"/>
                <a:gd name="connsiteY90" fmla="*/ 611982 h 785813"/>
                <a:gd name="connsiteX91" fmla="*/ 650081 w 695325"/>
                <a:gd name="connsiteY91" fmla="*/ 576263 h 785813"/>
                <a:gd name="connsiteX92" fmla="*/ 669131 w 695325"/>
                <a:gd name="connsiteY92" fmla="*/ 576263 h 785813"/>
                <a:gd name="connsiteX93" fmla="*/ 683419 w 695325"/>
                <a:gd name="connsiteY93" fmla="*/ 554832 h 785813"/>
                <a:gd name="connsiteX94" fmla="*/ 671513 w 695325"/>
                <a:gd name="connsiteY94" fmla="*/ 535782 h 785813"/>
                <a:gd name="connsiteX95" fmla="*/ 695325 w 695325"/>
                <a:gd name="connsiteY95" fmla="*/ 528638 h 785813"/>
                <a:gd name="connsiteX96" fmla="*/ 676275 w 695325"/>
                <a:gd name="connsiteY96" fmla="*/ 516732 h 785813"/>
                <a:gd name="connsiteX97" fmla="*/ 645319 w 695325"/>
                <a:gd name="connsiteY97" fmla="*/ 511969 h 785813"/>
                <a:gd name="connsiteX98" fmla="*/ 652463 w 695325"/>
                <a:gd name="connsiteY98" fmla="*/ 483394 h 785813"/>
                <a:gd name="connsiteX99" fmla="*/ 631031 w 695325"/>
                <a:gd name="connsiteY99" fmla="*/ 488157 h 785813"/>
                <a:gd name="connsiteX100" fmla="*/ 631031 w 695325"/>
                <a:gd name="connsiteY100" fmla="*/ 461963 h 785813"/>
                <a:gd name="connsiteX101" fmla="*/ 609600 w 695325"/>
                <a:gd name="connsiteY101" fmla="*/ 452438 h 785813"/>
                <a:gd name="connsiteX102" fmla="*/ 602456 w 695325"/>
                <a:gd name="connsiteY102" fmla="*/ 435769 h 785813"/>
                <a:gd name="connsiteX103" fmla="*/ 585788 w 695325"/>
                <a:gd name="connsiteY103" fmla="*/ 447675 h 785813"/>
                <a:gd name="connsiteX104" fmla="*/ 576263 w 695325"/>
                <a:gd name="connsiteY104" fmla="*/ 423863 h 785813"/>
                <a:gd name="connsiteX105" fmla="*/ 545306 w 695325"/>
                <a:gd name="connsiteY105" fmla="*/ 400050 h 785813"/>
                <a:gd name="connsiteX106" fmla="*/ 526256 w 695325"/>
                <a:gd name="connsiteY106" fmla="*/ 400050 h 785813"/>
                <a:gd name="connsiteX107" fmla="*/ 540544 w 695325"/>
                <a:gd name="connsiteY107" fmla="*/ 381000 h 785813"/>
                <a:gd name="connsiteX108" fmla="*/ 540544 w 695325"/>
                <a:gd name="connsiteY108" fmla="*/ 359569 h 785813"/>
                <a:gd name="connsiteX109" fmla="*/ 535781 w 695325"/>
                <a:gd name="connsiteY109" fmla="*/ 352425 h 785813"/>
                <a:gd name="connsiteX110" fmla="*/ 578644 w 695325"/>
                <a:gd name="connsiteY110" fmla="*/ 364332 h 785813"/>
                <a:gd name="connsiteX111" fmla="*/ 566738 w 695325"/>
                <a:gd name="connsiteY111" fmla="*/ 347663 h 785813"/>
                <a:gd name="connsiteX112" fmla="*/ 528638 w 695325"/>
                <a:gd name="connsiteY112" fmla="*/ 335757 h 785813"/>
                <a:gd name="connsiteX113" fmla="*/ 519113 w 695325"/>
                <a:gd name="connsiteY113" fmla="*/ 321469 h 785813"/>
                <a:gd name="connsiteX114" fmla="*/ 557213 w 695325"/>
                <a:gd name="connsiteY114" fmla="*/ 307182 h 785813"/>
                <a:gd name="connsiteX115" fmla="*/ 545306 w 695325"/>
                <a:gd name="connsiteY115" fmla="*/ 280988 h 785813"/>
                <a:gd name="connsiteX116" fmla="*/ 538163 w 695325"/>
                <a:gd name="connsiteY116" fmla="*/ 297657 h 785813"/>
                <a:gd name="connsiteX117" fmla="*/ 514350 w 695325"/>
                <a:gd name="connsiteY117" fmla="*/ 309563 h 785813"/>
                <a:gd name="connsiteX118" fmla="*/ 507206 w 695325"/>
                <a:gd name="connsiteY118" fmla="*/ 288132 h 785813"/>
                <a:gd name="connsiteX119" fmla="*/ 500063 w 695325"/>
                <a:gd name="connsiteY119" fmla="*/ 278607 h 785813"/>
                <a:gd name="connsiteX120" fmla="*/ 523875 w 695325"/>
                <a:gd name="connsiteY120" fmla="*/ 259557 h 785813"/>
                <a:gd name="connsiteX121" fmla="*/ 504825 w 695325"/>
                <a:gd name="connsiteY121" fmla="*/ 242888 h 785813"/>
                <a:gd name="connsiteX122" fmla="*/ 485775 w 695325"/>
                <a:gd name="connsiteY122" fmla="*/ 254794 h 785813"/>
                <a:gd name="connsiteX123" fmla="*/ 473869 w 695325"/>
                <a:gd name="connsiteY123" fmla="*/ 240507 h 785813"/>
                <a:gd name="connsiteX124" fmla="*/ 471488 w 695325"/>
                <a:gd name="connsiteY124" fmla="*/ 223838 h 785813"/>
                <a:gd name="connsiteX125" fmla="*/ 452438 w 695325"/>
                <a:gd name="connsiteY125" fmla="*/ 230982 h 785813"/>
                <a:gd name="connsiteX126" fmla="*/ 450056 w 695325"/>
                <a:gd name="connsiteY126" fmla="*/ 214313 h 785813"/>
                <a:gd name="connsiteX127" fmla="*/ 457200 w 695325"/>
                <a:gd name="connsiteY127" fmla="*/ 202407 h 785813"/>
                <a:gd name="connsiteX128" fmla="*/ 433388 w 695325"/>
                <a:gd name="connsiteY128" fmla="*/ 171450 h 785813"/>
                <a:gd name="connsiteX129" fmla="*/ 423863 w 695325"/>
                <a:gd name="connsiteY129" fmla="*/ 190500 h 785813"/>
                <a:gd name="connsiteX130" fmla="*/ 416719 w 695325"/>
                <a:gd name="connsiteY130" fmla="*/ 207169 h 785813"/>
                <a:gd name="connsiteX131" fmla="*/ 397669 w 695325"/>
                <a:gd name="connsiteY131" fmla="*/ 192882 h 785813"/>
                <a:gd name="connsiteX132" fmla="*/ 395288 w 695325"/>
                <a:gd name="connsiteY132" fmla="*/ 166688 h 785813"/>
                <a:gd name="connsiteX133" fmla="*/ 383381 w 695325"/>
                <a:gd name="connsiteY133" fmla="*/ 180975 h 785813"/>
                <a:gd name="connsiteX134" fmla="*/ 376238 w 695325"/>
                <a:gd name="connsiteY134" fmla="*/ 166688 h 785813"/>
                <a:gd name="connsiteX135" fmla="*/ 376238 w 695325"/>
                <a:gd name="connsiteY135" fmla="*/ 147638 h 785813"/>
                <a:gd name="connsiteX136" fmla="*/ 364331 w 695325"/>
                <a:gd name="connsiteY136" fmla="*/ 142875 h 785813"/>
                <a:gd name="connsiteX137" fmla="*/ 364331 w 695325"/>
                <a:gd name="connsiteY137" fmla="*/ 116682 h 785813"/>
                <a:gd name="connsiteX138" fmla="*/ 309563 w 695325"/>
                <a:gd name="connsiteY138" fmla="*/ 90488 h 785813"/>
                <a:gd name="connsiteX139" fmla="*/ 288131 w 695325"/>
                <a:gd name="connsiteY139" fmla="*/ 97632 h 785813"/>
                <a:gd name="connsiteX140" fmla="*/ 292894 w 695325"/>
                <a:gd name="connsiteY140" fmla="*/ 123825 h 785813"/>
                <a:gd name="connsiteX141" fmla="*/ 273844 w 695325"/>
                <a:gd name="connsiteY141" fmla="*/ 126207 h 785813"/>
                <a:gd name="connsiteX142" fmla="*/ 259556 w 695325"/>
                <a:gd name="connsiteY142" fmla="*/ 121444 h 785813"/>
                <a:gd name="connsiteX143" fmla="*/ 247650 w 695325"/>
                <a:gd name="connsiteY143" fmla="*/ 140494 h 785813"/>
                <a:gd name="connsiteX144" fmla="*/ 223838 w 695325"/>
                <a:gd name="connsiteY144" fmla="*/ 152400 h 785813"/>
                <a:gd name="connsiteX145" fmla="*/ 221456 w 695325"/>
                <a:gd name="connsiteY145" fmla="*/ 130969 h 785813"/>
                <a:gd name="connsiteX146" fmla="*/ 223838 w 695325"/>
                <a:gd name="connsiteY146" fmla="*/ 92869 h 785813"/>
                <a:gd name="connsiteX147" fmla="*/ 216694 w 695325"/>
                <a:gd name="connsiteY147" fmla="*/ 66675 h 785813"/>
                <a:gd name="connsiteX148" fmla="*/ 214313 w 695325"/>
                <a:gd name="connsiteY148" fmla="*/ 50007 h 785813"/>
                <a:gd name="connsiteX149" fmla="*/ 204788 w 695325"/>
                <a:gd name="connsiteY149" fmla="*/ 28575 h 785813"/>
                <a:gd name="connsiteX150" fmla="*/ 202406 w 695325"/>
                <a:gd name="connsiteY150" fmla="*/ 0 h 785813"/>
                <a:gd name="connsiteX151" fmla="*/ 183356 w 695325"/>
                <a:gd name="connsiteY151" fmla="*/ 7144 h 785813"/>
                <a:gd name="connsiteX152" fmla="*/ 161926 w 695325"/>
                <a:gd name="connsiteY152" fmla="*/ 23813 h 785813"/>
                <a:gd name="connsiteX153" fmla="*/ 147638 w 695325"/>
                <a:gd name="connsiteY153" fmla="*/ 33338 h 785813"/>
                <a:gd name="connsiteX154" fmla="*/ 114300 w 695325"/>
                <a:gd name="connsiteY154" fmla="*/ 223837 h 785813"/>
                <a:gd name="connsiteX0" fmla="*/ 114300 w 695325"/>
                <a:gd name="connsiteY0" fmla="*/ 223837 h 785813"/>
                <a:gd name="connsiteX1" fmla="*/ 66676 w 695325"/>
                <a:gd name="connsiteY1" fmla="*/ 116682 h 785813"/>
                <a:gd name="connsiteX2" fmla="*/ 80963 w 695325"/>
                <a:gd name="connsiteY2" fmla="*/ 30957 h 785813"/>
                <a:gd name="connsiteX3" fmla="*/ 102394 w 695325"/>
                <a:gd name="connsiteY3" fmla="*/ 1 h 785813"/>
                <a:gd name="connsiteX4" fmla="*/ 54769 w 695325"/>
                <a:gd name="connsiteY4" fmla="*/ 4763 h 785813"/>
                <a:gd name="connsiteX5" fmla="*/ 21431 w 695325"/>
                <a:gd name="connsiteY5" fmla="*/ 38100 h 785813"/>
                <a:gd name="connsiteX6" fmla="*/ 21431 w 695325"/>
                <a:gd name="connsiteY6" fmla="*/ 69057 h 785813"/>
                <a:gd name="connsiteX7" fmla="*/ 11906 w 695325"/>
                <a:gd name="connsiteY7" fmla="*/ 88107 h 785813"/>
                <a:gd name="connsiteX8" fmla="*/ 7144 w 695325"/>
                <a:gd name="connsiteY8" fmla="*/ 126207 h 785813"/>
                <a:gd name="connsiteX9" fmla="*/ 7144 w 695325"/>
                <a:gd name="connsiteY9" fmla="*/ 126207 h 785813"/>
                <a:gd name="connsiteX10" fmla="*/ 0 w 695325"/>
                <a:gd name="connsiteY10" fmla="*/ 145257 h 785813"/>
                <a:gd name="connsiteX11" fmla="*/ 0 w 695325"/>
                <a:gd name="connsiteY11" fmla="*/ 190500 h 785813"/>
                <a:gd name="connsiteX12" fmla="*/ 38100 w 695325"/>
                <a:gd name="connsiteY12" fmla="*/ 200025 h 785813"/>
                <a:gd name="connsiteX13" fmla="*/ 64294 w 695325"/>
                <a:gd name="connsiteY13" fmla="*/ 219075 h 785813"/>
                <a:gd name="connsiteX14" fmla="*/ 66675 w 695325"/>
                <a:gd name="connsiteY14" fmla="*/ 233363 h 785813"/>
                <a:gd name="connsiteX15" fmla="*/ 35719 w 695325"/>
                <a:gd name="connsiteY15" fmla="*/ 228600 h 785813"/>
                <a:gd name="connsiteX16" fmla="*/ 9525 w 695325"/>
                <a:gd name="connsiteY16" fmla="*/ 216694 h 785813"/>
                <a:gd name="connsiteX17" fmla="*/ 47625 w 695325"/>
                <a:gd name="connsiteY17" fmla="*/ 276225 h 785813"/>
                <a:gd name="connsiteX18" fmla="*/ 76200 w 695325"/>
                <a:gd name="connsiteY18" fmla="*/ 257175 h 785813"/>
                <a:gd name="connsiteX19" fmla="*/ 102394 w 695325"/>
                <a:gd name="connsiteY19" fmla="*/ 288132 h 785813"/>
                <a:gd name="connsiteX20" fmla="*/ 147638 w 695325"/>
                <a:gd name="connsiteY20" fmla="*/ 300038 h 785813"/>
                <a:gd name="connsiteX21" fmla="*/ 188119 w 695325"/>
                <a:gd name="connsiteY21" fmla="*/ 307182 h 785813"/>
                <a:gd name="connsiteX22" fmla="*/ 209550 w 695325"/>
                <a:gd name="connsiteY22" fmla="*/ 295275 h 785813"/>
                <a:gd name="connsiteX23" fmla="*/ 197644 w 695325"/>
                <a:gd name="connsiteY23" fmla="*/ 285750 h 785813"/>
                <a:gd name="connsiteX24" fmla="*/ 219075 w 695325"/>
                <a:gd name="connsiteY24" fmla="*/ 285750 h 785813"/>
                <a:gd name="connsiteX25" fmla="*/ 247650 w 695325"/>
                <a:gd name="connsiteY25" fmla="*/ 314325 h 785813"/>
                <a:gd name="connsiteX26" fmla="*/ 266700 w 695325"/>
                <a:gd name="connsiteY26" fmla="*/ 292894 h 785813"/>
                <a:gd name="connsiteX27" fmla="*/ 252413 w 695325"/>
                <a:gd name="connsiteY27" fmla="*/ 266700 h 785813"/>
                <a:gd name="connsiteX28" fmla="*/ 266700 w 695325"/>
                <a:gd name="connsiteY28" fmla="*/ 261938 h 785813"/>
                <a:gd name="connsiteX29" fmla="*/ 345281 w 695325"/>
                <a:gd name="connsiteY29" fmla="*/ 342900 h 785813"/>
                <a:gd name="connsiteX30" fmla="*/ 352425 w 695325"/>
                <a:gd name="connsiteY30" fmla="*/ 357188 h 785813"/>
                <a:gd name="connsiteX31" fmla="*/ 330994 w 695325"/>
                <a:gd name="connsiteY31" fmla="*/ 383382 h 785813"/>
                <a:gd name="connsiteX32" fmla="*/ 373856 w 695325"/>
                <a:gd name="connsiteY32" fmla="*/ 371475 h 785813"/>
                <a:gd name="connsiteX33" fmla="*/ 395288 w 695325"/>
                <a:gd name="connsiteY33" fmla="*/ 371475 h 785813"/>
                <a:gd name="connsiteX34" fmla="*/ 381000 w 695325"/>
                <a:gd name="connsiteY34" fmla="*/ 388144 h 785813"/>
                <a:gd name="connsiteX35" fmla="*/ 395288 w 695325"/>
                <a:gd name="connsiteY35" fmla="*/ 397669 h 785813"/>
                <a:gd name="connsiteX36" fmla="*/ 421481 w 695325"/>
                <a:gd name="connsiteY36" fmla="*/ 426244 h 785813"/>
                <a:gd name="connsiteX37" fmla="*/ 438150 w 695325"/>
                <a:gd name="connsiteY37" fmla="*/ 461963 h 785813"/>
                <a:gd name="connsiteX38" fmla="*/ 440531 w 695325"/>
                <a:gd name="connsiteY38" fmla="*/ 492919 h 785813"/>
                <a:gd name="connsiteX39" fmla="*/ 423863 w 695325"/>
                <a:gd name="connsiteY39" fmla="*/ 511969 h 785813"/>
                <a:gd name="connsiteX40" fmla="*/ 423863 w 695325"/>
                <a:gd name="connsiteY40" fmla="*/ 535782 h 785813"/>
                <a:gd name="connsiteX41" fmla="*/ 402431 w 695325"/>
                <a:gd name="connsiteY41" fmla="*/ 535782 h 785813"/>
                <a:gd name="connsiteX42" fmla="*/ 383381 w 695325"/>
                <a:gd name="connsiteY42" fmla="*/ 547688 h 785813"/>
                <a:gd name="connsiteX43" fmla="*/ 407194 w 695325"/>
                <a:gd name="connsiteY43" fmla="*/ 583407 h 785813"/>
                <a:gd name="connsiteX44" fmla="*/ 395288 w 695325"/>
                <a:gd name="connsiteY44" fmla="*/ 611982 h 785813"/>
                <a:gd name="connsiteX45" fmla="*/ 359569 w 695325"/>
                <a:gd name="connsiteY45" fmla="*/ 611982 h 785813"/>
                <a:gd name="connsiteX46" fmla="*/ 328613 w 695325"/>
                <a:gd name="connsiteY46" fmla="*/ 609600 h 785813"/>
                <a:gd name="connsiteX47" fmla="*/ 309563 w 695325"/>
                <a:gd name="connsiteY47" fmla="*/ 597694 h 785813"/>
                <a:gd name="connsiteX48" fmla="*/ 297656 w 695325"/>
                <a:gd name="connsiteY48" fmla="*/ 621507 h 785813"/>
                <a:gd name="connsiteX49" fmla="*/ 297656 w 695325"/>
                <a:gd name="connsiteY49" fmla="*/ 645319 h 785813"/>
                <a:gd name="connsiteX50" fmla="*/ 330994 w 695325"/>
                <a:gd name="connsiteY50" fmla="*/ 661988 h 785813"/>
                <a:gd name="connsiteX51" fmla="*/ 354806 w 695325"/>
                <a:gd name="connsiteY51" fmla="*/ 642938 h 785813"/>
                <a:gd name="connsiteX52" fmla="*/ 371475 w 695325"/>
                <a:gd name="connsiteY52" fmla="*/ 638175 h 785813"/>
                <a:gd name="connsiteX53" fmla="*/ 378619 w 695325"/>
                <a:gd name="connsiteY53" fmla="*/ 628650 h 785813"/>
                <a:gd name="connsiteX54" fmla="*/ 400050 w 695325"/>
                <a:gd name="connsiteY54" fmla="*/ 640557 h 785813"/>
                <a:gd name="connsiteX55" fmla="*/ 414338 w 695325"/>
                <a:gd name="connsiteY55" fmla="*/ 659607 h 785813"/>
                <a:gd name="connsiteX56" fmla="*/ 438150 w 695325"/>
                <a:gd name="connsiteY56" fmla="*/ 688182 h 785813"/>
                <a:gd name="connsiteX57" fmla="*/ 452438 w 695325"/>
                <a:gd name="connsiteY57" fmla="*/ 688182 h 785813"/>
                <a:gd name="connsiteX58" fmla="*/ 464344 w 695325"/>
                <a:gd name="connsiteY58" fmla="*/ 704850 h 785813"/>
                <a:gd name="connsiteX59" fmla="*/ 450056 w 695325"/>
                <a:gd name="connsiteY59" fmla="*/ 714375 h 785813"/>
                <a:gd name="connsiteX60" fmla="*/ 481013 w 695325"/>
                <a:gd name="connsiteY60" fmla="*/ 740569 h 785813"/>
                <a:gd name="connsiteX61" fmla="*/ 497681 w 695325"/>
                <a:gd name="connsiteY61" fmla="*/ 738188 h 785813"/>
                <a:gd name="connsiteX62" fmla="*/ 526256 w 695325"/>
                <a:gd name="connsiteY62" fmla="*/ 752475 h 785813"/>
                <a:gd name="connsiteX63" fmla="*/ 566738 w 695325"/>
                <a:gd name="connsiteY63" fmla="*/ 783432 h 785813"/>
                <a:gd name="connsiteX64" fmla="*/ 578644 w 695325"/>
                <a:gd name="connsiteY64" fmla="*/ 785813 h 785813"/>
                <a:gd name="connsiteX65" fmla="*/ 588169 w 695325"/>
                <a:gd name="connsiteY65" fmla="*/ 776288 h 785813"/>
                <a:gd name="connsiteX66" fmla="*/ 566738 w 695325"/>
                <a:gd name="connsiteY66" fmla="*/ 762000 h 785813"/>
                <a:gd name="connsiteX67" fmla="*/ 535781 w 695325"/>
                <a:gd name="connsiteY67" fmla="*/ 733425 h 785813"/>
                <a:gd name="connsiteX68" fmla="*/ 523875 w 695325"/>
                <a:gd name="connsiteY68" fmla="*/ 697707 h 785813"/>
                <a:gd name="connsiteX69" fmla="*/ 531019 w 695325"/>
                <a:gd name="connsiteY69" fmla="*/ 685800 h 785813"/>
                <a:gd name="connsiteX70" fmla="*/ 557213 w 695325"/>
                <a:gd name="connsiteY70" fmla="*/ 711994 h 785813"/>
                <a:gd name="connsiteX71" fmla="*/ 597694 w 695325"/>
                <a:gd name="connsiteY71" fmla="*/ 733425 h 785813"/>
                <a:gd name="connsiteX72" fmla="*/ 619125 w 695325"/>
                <a:gd name="connsiteY72" fmla="*/ 742950 h 785813"/>
                <a:gd name="connsiteX73" fmla="*/ 611981 w 695325"/>
                <a:gd name="connsiteY73" fmla="*/ 716757 h 785813"/>
                <a:gd name="connsiteX74" fmla="*/ 623888 w 695325"/>
                <a:gd name="connsiteY74" fmla="*/ 707232 h 785813"/>
                <a:gd name="connsiteX75" fmla="*/ 619125 w 695325"/>
                <a:gd name="connsiteY75" fmla="*/ 683419 h 785813"/>
                <a:gd name="connsiteX76" fmla="*/ 602456 w 695325"/>
                <a:gd name="connsiteY76" fmla="*/ 664369 h 785813"/>
                <a:gd name="connsiteX77" fmla="*/ 607219 w 695325"/>
                <a:gd name="connsiteY77" fmla="*/ 647700 h 785813"/>
                <a:gd name="connsiteX78" fmla="*/ 592931 w 695325"/>
                <a:gd name="connsiteY78" fmla="*/ 640557 h 785813"/>
                <a:gd name="connsiteX79" fmla="*/ 585788 w 695325"/>
                <a:gd name="connsiteY79" fmla="*/ 628650 h 785813"/>
                <a:gd name="connsiteX80" fmla="*/ 564356 w 695325"/>
                <a:gd name="connsiteY80" fmla="*/ 623888 h 785813"/>
                <a:gd name="connsiteX81" fmla="*/ 550069 w 695325"/>
                <a:gd name="connsiteY81" fmla="*/ 588169 h 785813"/>
                <a:gd name="connsiteX82" fmla="*/ 540544 w 695325"/>
                <a:gd name="connsiteY82" fmla="*/ 581025 h 785813"/>
                <a:gd name="connsiteX83" fmla="*/ 550069 w 695325"/>
                <a:gd name="connsiteY83" fmla="*/ 561975 h 785813"/>
                <a:gd name="connsiteX84" fmla="*/ 545306 w 695325"/>
                <a:gd name="connsiteY84" fmla="*/ 547688 h 785813"/>
                <a:gd name="connsiteX85" fmla="*/ 540544 w 695325"/>
                <a:gd name="connsiteY85" fmla="*/ 523875 h 785813"/>
                <a:gd name="connsiteX86" fmla="*/ 571500 w 695325"/>
                <a:gd name="connsiteY86" fmla="*/ 519113 h 785813"/>
                <a:gd name="connsiteX87" fmla="*/ 595313 w 695325"/>
                <a:gd name="connsiteY87" fmla="*/ 550069 h 785813"/>
                <a:gd name="connsiteX88" fmla="*/ 626269 w 695325"/>
                <a:gd name="connsiteY88" fmla="*/ 569119 h 785813"/>
                <a:gd name="connsiteX89" fmla="*/ 631031 w 695325"/>
                <a:gd name="connsiteY89" fmla="*/ 592932 h 785813"/>
                <a:gd name="connsiteX90" fmla="*/ 659606 w 695325"/>
                <a:gd name="connsiteY90" fmla="*/ 611982 h 785813"/>
                <a:gd name="connsiteX91" fmla="*/ 650081 w 695325"/>
                <a:gd name="connsiteY91" fmla="*/ 576263 h 785813"/>
                <a:gd name="connsiteX92" fmla="*/ 669131 w 695325"/>
                <a:gd name="connsiteY92" fmla="*/ 576263 h 785813"/>
                <a:gd name="connsiteX93" fmla="*/ 683419 w 695325"/>
                <a:gd name="connsiteY93" fmla="*/ 554832 h 785813"/>
                <a:gd name="connsiteX94" fmla="*/ 671513 w 695325"/>
                <a:gd name="connsiteY94" fmla="*/ 535782 h 785813"/>
                <a:gd name="connsiteX95" fmla="*/ 695325 w 695325"/>
                <a:gd name="connsiteY95" fmla="*/ 528638 h 785813"/>
                <a:gd name="connsiteX96" fmla="*/ 676275 w 695325"/>
                <a:gd name="connsiteY96" fmla="*/ 516732 h 785813"/>
                <a:gd name="connsiteX97" fmla="*/ 645319 w 695325"/>
                <a:gd name="connsiteY97" fmla="*/ 511969 h 785813"/>
                <a:gd name="connsiteX98" fmla="*/ 652463 w 695325"/>
                <a:gd name="connsiteY98" fmla="*/ 483394 h 785813"/>
                <a:gd name="connsiteX99" fmla="*/ 631031 w 695325"/>
                <a:gd name="connsiteY99" fmla="*/ 488157 h 785813"/>
                <a:gd name="connsiteX100" fmla="*/ 631031 w 695325"/>
                <a:gd name="connsiteY100" fmla="*/ 461963 h 785813"/>
                <a:gd name="connsiteX101" fmla="*/ 609600 w 695325"/>
                <a:gd name="connsiteY101" fmla="*/ 452438 h 785813"/>
                <a:gd name="connsiteX102" fmla="*/ 602456 w 695325"/>
                <a:gd name="connsiteY102" fmla="*/ 435769 h 785813"/>
                <a:gd name="connsiteX103" fmla="*/ 585788 w 695325"/>
                <a:gd name="connsiteY103" fmla="*/ 447675 h 785813"/>
                <a:gd name="connsiteX104" fmla="*/ 576263 w 695325"/>
                <a:gd name="connsiteY104" fmla="*/ 423863 h 785813"/>
                <a:gd name="connsiteX105" fmla="*/ 545306 w 695325"/>
                <a:gd name="connsiteY105" fmla="*/ 400050 h 785813"/>
                <a:gd name="connsiteX106" fmla="*/ 526256 w 695325"/>
                <a:gd name="connsiteY106" fmla="*/ 400050 h 785813"/>
                <a:gd name="connsiteX107" fmla="*/ 540544 w 695325"/>
                <a:gd name="connsiteY107" fmla="*/ 381000 h 785813"/>
                <a:gd name="connsiteX108" fmla="*/ 540544 w 695325"/>
                <a:gd name="connsiteY108" fmla="*/ 359569 h 785813"/>
                <a:gd name="connsiteX109" fmla="*/ 535781 w 695325"/>
                <a:gd name="connsiteY109" fmla="*/ 352425 h 785813"/>
                <a:gd name="connsiteX110" fmla="*/ 578644 w 695325"/>
                <a:gd name="connsiteY110" fmla="*/ 364332 h 785813"/>
                <a:gd name="connsiteX111" fmla="*/ 566738 w 695325"/>
                <a:gd name="connsiteY111" fmla="*/ 347663 h 785813"/>
                <a:gd name="connsiteX112" fmla="*/ 528638 w 695325"/>
                <a:gd name="connsiteY112" fmla="*/ 335757 h 785813"/>
                <a:gd name="connsiteX113" fmla="*/ 519113 w 695325"/>
                <a:gd name="connsiteY113" fmla="*/ 321469 h 785813"/>
                <a:gd name="connsiteX114" fmla="*/ 557213 w 695325"/>
                <a:gd name="connsiteY114" fmla="*/ 307182 h 785813"/>
                <a:gd name="connsiteX115" fmla="*/ 545306 w 695325"/>
                <a:gd name="connsiteY115" fmla="*/ 280988 h 785813"/>
                <a:gd name="connsiteX116" fmla="*/ 538163 w 695325"/>
                <a:gd name="connsiteY116" fmla="*/ 297657 h 785813"/>
                <a:gd name="connsiteX117" fmla="*/ 514350 w 695325"/>
                <a:gd name="connsiteY117" fmla="*/ 309563 h 785813"/>
                <a:gd name="connsiteX118" fmla="*/ 507206 w 695325"/>
                <a:gd name="connsiteY118" fmla="*/ 288132 h 785813"/>
                <a:gd name="connsiteX119" fmla="*/ 500063 w 695325"/>
                <a:gd name="connsiteY119" fmla="*/ 278607 h 785813"/>
                <a:gd name="connsiteX120" fmla="*/ 523875 w 695325"/>
                <a:gd name="connsiteY120" fmla="*/ 259557 h 785813"/>
                <a:gd name="connsiteX121" fmla="*/ 504825 w 695325"/>
                <a:gd name="connsiteY121" fmla="*/ 242888 h 785813"/>
                <a:gd name="connsiteX122" fmla="*/ 485775 w 695325"/>
                <a:gd name="connsiteY122" fmla="*/ 254794 h 785813"/>
                <a:gd name="connsiteX123" fmla="*/ 473869 w 695325"/>
                <a:gd name="connsiteY123" fmla="*/ 240507 h 785813"/>
                <a:gd name="connsiteX124" fmla="*/ 471488 w 695325"/>
                <a:gd name="connsiteY124" fmla="*/ 223838 h 785813"/>
                <a:gd name="connsiteX125" fmla="*/ 452438 w 695325"/>
                <a:gd name="connsiteY125" fmla="*/ 230982 h 785813"/>
                <a:gd name="connsiteX126" fmla="*/ 450056 w 695325"/>
                <a:gd name="connsiteY126" fmla="*/ 214313 h 785813"/>
                <a:gd name="connsiteX127" fmla="*/ 457200 w 695325"/>
                <a:gd name="connsiteY127" fmla="*/ 202407 h 785813"/>
                <a:gd name="connsiteX128" fmla="*/ 433388 w 695325"/>
                <a:gd name="connsiteY128" fmla="*/ 171450 h 785813"/>
                <a:gd name="connsiteX129" fmla="*/ 423863 w 695325"/>
                <a:gd name="connsiteY129" fmla="*/ 190500 h 785813"/>
                <a:gd name="connsiteX130" fmla="*/ 416719 w 695325"/>
                <a:gd name="connsiteY130" fmla="*/ 207169 h 785813"/>
                <a:gd name="connsiteX131" fmla="*/ 397669 w 695325"/>
                <a:gd name="connsiteY131" fmla="*/ 192882 h 785813"/>
                <a:gd name="connsiteX132" fmla="*/ 395288 w 695325"/>
                <a:gd name="connsiteY132" fmla="*/ 166688 h 785813"/>
                <a:gd name="connsiteX133" fmla="*/ 383381 w 695325"/>
                <a:gd name="connsiteY133" fmla="*/ 180975 h 785813"/>
                <a:gd name="connsiteX134" fmla="*/ 376238 w 695325"/>
                <a:gd name="connsiteY134" fmla="*/ 166688 h 785813"/>
                <a:gd name="connsiteX135" fmla="*/ 376238 w 695325"/>
                <a:gd name="connsiteY135" fmla="*/ 147638 h 785813"/>
                <a:gd name="connsiteX136" fmla="*/ 364331 w 695325"/>
                <a:gd name="connsiteY136" fmla="*/ 142875 h 785813"/>
                <a:gd name="connsiteX137" fmla="*/ 364331 w 695325"/>
                <a:gd name="connsiteY137" fmla="*/ 116682 h 785813"/>
                <a:gd name="connsiteX138" fmla="*/ 309563 w 695325"/>
                <a:gd name="connsiteY138" fmla="*/ 90488 h 785813"/>
                <a:gd name="connsiteX139" fmla="*/ 288131 w 695325"/>
                <a:gd name="connsiteY139" fmla="*/ 97632 h 785813"/>
                <a:gd name="connsiteX140" fmla="*/ 292894 w 695325"/>
                <a:gd name="connsiteY140" fmla="*/ 123825 h 785813"/>
                <a:gd name="connsiteX141" fmla="*/ 273844 w 695325"/>
                <a:gd name="connsiteY141" fmla="*/ 126207 h 785813"/>
                <a:gd name="connsiteX142" fmla="*/ 259556 w 695325"/>
                <a:gd name="connsiteY142" fmla="*/ 121444 h 785813"/>
                <a:gd name="connsiteX143" fmla="*/ 247650 w 695325"/>
                <a:gd name="connsiteY143" fmla="*/ 140494 h 785813"/>
                <a:gd name="connsiteX144" fmla="*/ 223838 w 695325"/>
                <a:gd name="connsiteY144" fmla="*/ 152400 h 785813"/>
                <a:gd name="connsiteX145" fmla="*/ 221456 w 695325"/>
                <a:gd name="connsiteY145" fmla="*/ 130969 h 785813"/>
                <a:gd name="connsiteX146" fmla="*/ 223838 w 695325"/>
                <a:gd name="connsiteY146" fmla="*/ 92869 h 785813"/>
                <a:gd name="connsiteX147" fmla="*/ 216694 w 695325"/>
                <a:gd name="connsiteY147" fmla="*/ 66675 h 785813"/>
                <a:gd name="connsiteX148" fmla="*/ 214313 w 695325"/>
                <a:gd name="connsiteY148" fmla="*/ 50007 h 785813"/>
                <a:gd name="connsiteX149" fmla="*/ 204788 w 695325"/>
                <a:gd name="connsiteY149" fmla="*/ 28575 h 785813"/>
                <a:gd name="connsiteX150" fmla="*/ 202406 w 695325"/>
                <a:gd name="connsiteY150" fmla="*/ 0 h 785813"/>
                <a:gd name="connsiteX151" fmla="*/ 183356 w 695325"/>
                <a:gd name="connsiteY151" fmla="*/ 7144 h 785813"/>
                <a:gd name="connsiteX152" fmla="*/ 161926 w 695325"/>
                <a:gd name="connsiteY152" fmla="*/ 23813 h 785813"/>
                <a:gd name="connsiteX153" fmla="*/ 147638 w 695325"/>
                <a:gd name="connsiteY153" fmla="*/ 33338 h 785813"/>
                <a:gd name="connsiteX154" fmla="*/ 114300 w 695325"/>
                <a:gd name="connsiteY154" fmla="*/ 223837 h 785813"/>
                <a:gd name="connsiteX0" fmla="*/ 114300 w 695325"/>
                <a:gd name="connsiteY0" fmla="*/ 223837 h 785813"/>
                <a:gd name="connsiteX1" fmla="*/ 85725 w 695325"/>
                <a:gd name="connsiteY1" fmla="*/ 176213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14300 w 695325"/>
                <a:gd name="connsiteY155" fmla="*/ 223837 h 785813"/>
                <a:gd name="connsiteX0" fmla="*/ 114300 w 695325"/>
                <a:gd name="connsiteY0" fmla="*/ 223837 h 785813"/>
                <a:gd name="connsiteX1" fmla="*/ 47625 w 695325"/>
                <a:gd name="connsiteY1" fmla="*/ 185738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14300 w 695325"/>
                <a:gd name="connsiteY155" fmla="*/ 223837 h 785813"/>
                <a:gd name="connsiteX0" fmla="*/ 114300 w 695325"/>
                <a:gd name="connsiteY0" fmla="*/ 223837 h 785813"/>
                <a:gd name="connsiteX1" fmla="*/ 100012 w 695325"/>
                <a:gd name="connsiteY1" fmla="*/ 204788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14300 w 695325"/>
                <a:gd name="connsiteY155" fmla="*/ 223837 h 785813"/>
                <a:gd name="connsiteX0" fmla="*/ 114300 w 695325"/>
                <a:gd name="connsiteY0" fmla="*/ 223837 h 785813"/>
                <a:gd name="connsiteX1" fmla="*/ 100012 w 695325"/>
                <a:gd name="connsiteY1" fmla="*/ 204788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23825 w 695325"/>
                <a:gd name="connsiteY155" fmla="*/ 142875 h 785813"/>
                <a:gd name="connsiteX156" fmla="*/ 114300 w 695325"/>
                <a:gd name="connsiteY156" fmla="*/ 223837 h 785813"/>
                <a:gd name="connsiteX0" fmla="*/ 114300 w 695325"/>
                <a:gd name="connsiteY0" fmla="*/ 223837 h 785813"/>
                <a:gd name="connsiteX1" fmla="*/ 100012 w 695325"/>
                <a:gd name="connsiteY1" fmla="*/ 204788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09537 w 695325"/>
                <a:gd name="connsiteY155" fmla="*/ 147638 h 785813"/>
                <a:gd name="connsiteX156" fmla="*/ 114300 w 695325"/>
                <a:gd name="connsiteY156" fmla="*/ 223837 h 785813"/>
                <a:gd name="connsiteX0" fmla="*/ 114300 w 695325"/>
                <a:gd name="connsiteY0" fmla="*/ 223837 h 785813"/>
                <a:gd name="connsiteX1" fmla="*/ 100012 w 695325"/>
                <a:gd name="connsiteY1" fmla="*/ 204788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23825 w 695325"/>
                <a:gd name="connsiteY155" fmla="*/ 85725 h 785813"/>
                <a:gd name="connsiteX156" fmla="*/ 109537 w 695325"/>
                <a:gd name="connsiteY156" fmla="*/ 147638 h 785813"/>
                <a:gd name="connsiteX157" fmla="*/ 114300 w 695325"/>
                <a:gd name="connsiteY157" fmla="*/ 223837 h 785813"/>
                <a:gd name="connsiteX0" fmla="*/ 114300 w 695325"/>
                <a:gd name="connsiteY0" fmla="*/ 223837 h 785813"/>
                <a:gd name="connsiteX1" fmla="*/ 100012 w 695325"/>
                <a:gd name="connsiteY1" fmla="*/ 204788 h 785813"/>
                <a:gd name="connsiteX2" fmla="*/ 66676 w 695325"/>
                <a:gd name="connsiteY2" fmla="*/ 116682 h 785813"/>
                <a:gd name="connsiteX3" fmla="*/ 80963 w 695325"/>
                <a:gd name="connsiteY3" fmla="*/ 30957 h 785813"/>
                <a:gd name="connsiteX4" fmla="*/ 102394 w 695325"/>
                <a:gd name="connsiteY4" fmla="*/ 1 h 785813"/>
                <a:gd name="connsiteX5" fmla="*/ 54769 w 695325"/>
                <a:gd name="connsiteY5" fmla="*/ 4763 h 785813"/>
                <a:gd name="connsiteX6" fmla="*/ 21431 w 695325"/>
                <a:gd name="connsiteY6" fmla="*/ 38100 h 785813"/>
                <a:gd name="connsiteX7" fmla="*/ 21431 w 695325"/>
                <a:gd name="connsiteY7" fmla="*/ 69057 h 785813"/>
                <a:gd name="connsiteX8" fmla="*/ 11906 w 695325"/>
                <a:gd name="connsiteY8" fmla="*/ 88107 h 785813"/>
                <a:gd name="connsiteX9" fmla="*/ 7144 w 695325"/>
                <a:gd name="connsiteY9" fmla="*/ 126207 h 785813"/>
                <a:gd name="connsiteX10" fmla="*/ 7144 w 695325"/>
                <a:gd name="connsiteY10" fmla="*/ 126207 h 785813"/>
                <a:gd name="connsiteX11" fmla="*/ 0 w 695325"/>
                <a:gd name="connsiteY11" fmla="*/ 145257 h 785813"/>
                <a:gd name="connsiteX12" fmla="*/ 0 w 695325"/>
                <a:gd name="connsiteY12" fmla="*/ 190500 h 785813"/>
                <a:gd name="connsiteX13" fmla="*/ 38100 w 695325"/>
                <a:gd name="connsiteY13" fmla="*/ 200025 h 785813"/>
                <a:gd name="connsiteX14" fmla="*/ 64294 w 695325"/>
                <a:gd name="connsiteY14" fmla="*/ 219075 h 785813"/>
                <a:gd name="connsiteX15" fmla="*/ 66675 w 695325"/>
                <a:gd name="connsiteY15" fmla="*/ 233363 h 785813"/>
                <a:gd name="connsiteX16" fmla="*/ 35719 w 695325"/>
                <a:gd name="connsiteY16" fmla="*/ 228600 h 785813"/>
                <a:gd name="connsiteX17" fmla="*/ 9525 w 695325"/>
                <a:gd name="connsiteY17" fmla="*/ 216694 h 785813"/>
                <a:gd name="connsiteX18" fmla="*/ 47625 w 695325"/>
                <a:gd name="connsiteY18" fmla="*/ 276225 h 785813"/>
                <a:gd name="connsiteX19" fmla="*/ 76200 w 695325"/>
                <a:gd name="connsiteY19" fmla="*/ 257175 h 785813"/>
                <a:gd name="connsiteX20" fmla="*/ 102394 w 695325"/>
                <a:gd name="connsiteY20" fmla="*/ 288132 h 785813"/>
                <a:gd name="connsiteX21" fmla="*/ 147638 w 695325"/>
                <a:gd name="connsiteY21" fmla="*/ 300038 h 785813"/>
                <a:gd name="connsiteX22" fmla="*/ 188119 w 695325"/>
                <a:gd name="connsiteY22" fmla="*/ 307182 h 785813"/>
                <a:gd name="connsiteX23" fmla="*/ 209550 w 695325"/>
                <a:gd name="connsiteY23" fmla="*/ 295275 h 785813"/>
                <a:gd name="connsiteX24" fmla="*/ 197644 w 695325"/>
                <a:gd name="connsiteY24" fmla="*/ 285750 h 785813"/>
                <a:gd name="connsiteX25" fmla="*/ 219075 w 695325"/>
                <a:gd name="connsiteY25" fmla="*/ 285750 h 785813"/>
                <a:gd name="connsiteX26" fmla="*/ 247650 w 695325"/>
                <a:gd name="connsiteY26" fmla="*/ 314325 h 785813"/>
                <a:gd name="connsiteX27" fmla="*/ 266700 w 695325"/>
                <a:gd name="connsiteY27" fmla="*/ 292894 h 785813"/>
                <a:gd name="connsiteX28" fmla="*/ 252413 w 695325"/>
                <a:gd name="connsiteY28" fmla="*/ 266700 h 785813"/>
                <a:gd name="connsiteX29" fmla="*/ 266700 w 695325"/>
                <a:gd name="connsiteY29" fmla="*/ 261938 h 785813"/>
                <a:gd name="connsiteX30" fmla="*/ 345281 w 695325"/>
                <a:gd name="connsiteY30" fmla="*/ 342900 h 785813"/>
                <a:gd name="connsiteX31" fmla="*/ 352425 w 695325"/>
                <a:gd name="connsiteY31" fmla="*/ 357188 h 785813"/>
                <a:gd name="connsiteX32" fmla="*/ 330994 w 695325"/>
                <a:gd name="connsiteY32" fmla="*/ 383382 h 785813"/>
                <a:gd name="connsiteX33" fmla="*/ 373856 w 695325"/>
                <a:gd name="connsiteY33" fmla="*/ 371475 h 785813"/>
                <a:gd name="connsiteX34" fmla="*/ 395288 w 695325"/>
                <a:gd name="connsiteY34" fmla="*/ 371475 h 785813"/>
                <a:gd name="connsiteX35" fmla="*/ 381000 w 695325"/>
                <a:gd name="connsiteY35" fmla="*/ 388144 h 785813"/>
                <a:gd name="connsiteX36" fmla="*/ 395288 w 695325"/>
                <a:gd name="connsiteY36" fmla="*/ 397669 h 785813"/>
                <a:gd name="connsiteX37" fmla="*/ 421481 w 695325"/>
                <a:gd name="connsiteY37" fmla="*/ 426244 h 785813"/>
                <a:gd name="connsiteX38" fmla="*/ 438150 w 695325"/>
                <a:gd name="connsiteY38" fmla="*/ 461963 h 785813"/>
                <a:gd name="connsiteX39" fmla="*/ 440531 w 695325"/>
                <a:gd name="connsiteY39" fmla="*/ 492919 h 785813"/>
                <a:gd name="connsiteX40" fmla="*/ 423863 w 695325"/>
                <a:gd name="connsiteY40" fmla="*/ 511969 h 785813"/>
                <a:gd name="connsiteX41" fmla="*/ 423863 w 695325"/>
                <a:gd name="connsiteY41" fmla="*/ 535782 h 785813"/>
                <a:gd name="connsiteX42" fmla="*/ 402431 w 695325"/>
                <a:gd name="connsiteY42" fmla="*/ 535782 h 785813"/>
                <a:gd name="connsiteX43" fmla="*/ 383381 w 695325"/>
                <a:gd name="connsiteY43" fmla="*/ 547688 h 785813"/>
                <a:gd name="connsiteX44" fmla="*/ 407194 w 695325"/>
                <a:gd name="connsiteY44" fmla="*/ 583407 h 785813"/>
                <a:gd name="connsiteX45" fmla="*/ 395288 w 695325"/>
                <a:gd name="connsiteY45" fmla="*/ 611982 h 785813"/>
                <a:gd name="connsiteX46" fmla="*/ 359569 w 695325"/>
                <a:gd name="connsiteY46" fmla="*/ 611982 h 785813"/>
                <a:gd name="connsiteX47" fmla="*/ 328613 w 695325"/>
                <a:gd name="connsiteY47" fmla="*/ 609600 h 785813"/>
                <a:gd name="connsiteX48" fmla="*/ 309563 w 695325"/>
                <a:gd name="connsiteY48" fmla="*/ 597694 h 785813"/>
                <a:gd name="connsiteX49" fmla="*/ 297656 w 695325"/>
                <a:gd name="connsiteY49" fmla="*/ 621507 h 785813"/>
                <a:gd name="connsiteX50" fmla="*/ 297656 w 695325"/>
                <a:gd name="connsiteY50" fmla="*/ 645319 h 785813"/>
                <a:gd name="connsiteX51" fmla="*/ 330994 w 695325"/>
                <a:gd name="connsiteY51" fmla="*/ 661988 h 785813"/>
                <a:gd name="connsiteX52" fmla="*/ 354806 w 695325"/>
                <a:gd name="connsiteY52" fmla="*/ 642938 h 785813"/>
                <a:gd name="connsiteX53" fmla="*/ 371475 w 695325"/>
                <a:gd name="connsiteY53" fmla="*/ 638175 h 785813"/>
                <a:gd name="connsiteX54" fmla="*/ 378619 w 695325"/>
                <a:gd name="connsiteY54" fmla="*/ 628650 h 785813"/>
                <a:gd name="connsiteX55" fmla="*/ 400050 w 695325"/>
                <a:gd name="connsiteY55" fmla="*/ 640557 h 785813"/>
                <a:gd name="connsiteX56" fmla="*/ 414338 w 695325"/>
                <a:gd name="connsiteY56" fmla="*/ 659607 h 785813"/>
                <a:gd name="connsiteX57" fmla="*/ 438150 w 695325"/>
                <a:gd name="connsiteY57" fmla="*/ 688182 h 785813"/>
                <a:gd name="connsiteX58" fmla="*/ 452438 w 695325"/>
                <a:gd name="connsiteY58" fmla="*/ 688182 h 785813"/>
                <a:gd name="connsiteX59" fmla="*/ 464344 w 695325"/>
                <a:gd name="connsiteY59" fmla="*/ 704850 h 785813"/>
                <a:gd name="connsiteX60" fmla="*/ 450056 w 695325"/>
                <a:gd name="connsiteY60" fmla="*/ 714375 h 785813"/>
                <a:gd name="connsiteX61" fmla="*/ 481013 w 695325"/>
                <a:gd name="connsiteY61" fmla="*/ 740569 h 785813"/>
                <a:gd name="connsiteX62" fmla="*/ 497681 w 695325"/>
                <a:gd name="connsiteY62" fmla="*/ 738188 h 785813"/>
                <a:gd name="connsiteX63" fmla="*/ 526256 w 695325"/>
                <a:gd name="connsiteY63" fmla="*/ 752475 h 785813"/>
                <a:gd name="connsiteX64" fmla="*/ 566738 w 695325"/>
                <a:gd name="connsiteY64" fmla="*/ 783432 h 785813"/>
                <a:gd name="connsiteX65" fmla="*/ 578644 w 695325"/>
                <a:gd name="connsiteY65" fmla="*/ 785813 h 785813"/>
                <a:gd name="connsiteX66" fmla="*/ 588169 w 695325"/>
                <a:gd name="connsiteY66" fmla="*/ 776288 h 785813"/>
                <a:gd name="connsiteX67" fmla="*/ 566738 w 695325"/>
                <a:gd name="connsiteY67" fmla="*/ 762000 h 785813"/>
                <a:gd name="connsiteX68" fmla="*/ 535781 w 695325"/>
                <a:gd name="connsiteY68" fmla="*/ 733425 h 785813"/>
                <a:gd name="connsiteX69" fmla="*/ 523875 w 695325"/>
                <a:gd name="connsiteY69" fmla="*/ 697707 h 785813"/>
                <a:gd name="connsiteX70" fmla="*/ 531019 w 695325"/>
                <a:gd name="connsiteY70" fmla="*/ 685800 h 785813"/>
                <a:gd name="connsiteX71" fmla="*/ 557213 w 695325"/>
                <a:gd name="connsiteY71" fmla="*/ 711994 h 785813"/>
                <a:gd name="connsiteX72" fmla="*/ 597694 w 695325"/>
                <a:gd name="connsiteY72" fmla="*/ 733425 h 785813"/>
                <a:gd name="connsiteX73" fmla="*/ 619125 w 695325"/>
                <a:gd name="connsiteY73" fmla="*/ 742950 h 785813"/>
                <a:gd name="connsiteX74" fmla="*/ 611981 w 695325"/>
                <a:gd name="connsiteY74" fmla="*/ 716757 h 785813"/>
                <a:gd name="connsiteX75" fmla="*/ 623888 w 695325"/>
                <a:gd name="connsiteY75" fmla="*/ 707232 h 785813"/>
                <a:gd name="connsiteX76" fmla="*/ 619125 w 695325"/>
                <a:gd name="connsiteY76" fmla="*/ 683419 h 785813"/>
                <a:gd name="connsiteX77" fmla="*/ 602456 w 695325"/>
                <a:gd name="connsiteY77" fmla="*/ 664369 h 785813"/>
                <a:gd name="connsiteX78" fmla="*/ 607219 w 695325"/>
                <a:gd name="connsiteY78" fmla="*/ 647700 h 785813"/>
                <a:gd name="connsiteX79" fmla="*/ 592931 w 695325"/>
                <a:gd name="connsiteY79" fmla="*/ 640557 h 785813"/>
                <a:gd name="connsiteX80" fmla="*/ 585788 w 695325"/>
                <a:gd name="connsiteY80" fmla="*/ 628650 h 785813"/>
                <a:gd name="connsiteX81" fmla="*/ 564356 w 695325"/>
                <a:gd name="connsiteY81" fmla="*/ 623888 h 785813"/>
                <a:gd name="connsiteX82" fmla="*/ 550069 w 695325"/>
                <a:gd name="connsiteY82" fmla="*/ 588169 h 785813"/>
                <a:gd name="connsiteX83" fmla="*/ 540544 w 695325"/>
                <a:gd name="connsiteY83" fmla="*/ 581025 h 785813"/>
                <a:gd name="connsiteX84" fmla="*/ 550069 w 695325"/>
                <a:gd name="connsiteY84" fmla="*/ 561975 h 785813"/>
                <a:gd name="connsiteX85" fmla="*/ 545306 w 695325"/>
                <a:gd name="connsiteY85" fmla="*/ 547688 h 785813"/>
                <a:gd name="connsiteX86" fmla="*/ 540544 w 695325"/>
                <a:gd name="connsiteY86" fmla="*/ 523875 h 785813"/>
                <a:gd name="connsiteX87" fmla="*/ 571500 w 695325"/>
                <a:gd name="connsiteY87" fmla="*/ 519113 h 785813"/>
                <a:gd name="connsiteX88" fmla="*/ 595313 w 695325"/>
                <a:gd name="connsiteY88" fmla="*/ 550069 h 785813"/>
                <a:gd name="connsiteX89" fmla="*/ 626269 w 695325"/>
                <a:gd name="connsiteY89" fmla="*/ 569119 h 785813"/>
                <a:gd name="connsiteX90" fmla="*/ 631031 w 695325"/>
                <a:gd name="connsiteY90" fmla="*/ 592932 h 785813"/>
                <a:gd name="connsiteX91" fmla="*/ 659606 w 695325"/>
                <a:gd name="connsiteY91" fmla="*/ 611982 h 785813"/>
                <a:gd name="connsiteX92" fmla="*/ 650081 w 695325"/>
                <a:gd name="connsiteY92" fmla="*/ 576263 h 785813"/>
                <a:gd name="connsiteX93" fmla="*/ 669131 w 695325"/>
                <a:gd name="connsiteY93" fmla="*/ 576263 h 785813"/>
                <a:gd name="connsiteX94" fmla="*/ 683419 w 695325"/>
                <a:gd name="connsiteY94" fmla="*/ 554832 h 785813"/>
                <a:gd name="connsiteX95" fmla="*/ 671513 w 695325"/>
                <a:gd name="connsiteY95" fmla="*/ 535782 h 785813"/>
                <a:gd name="connsiteX96" fmla="*/ 695325 w 695325"/>
                <a:gd name="connsiteY96" fmla="*/ 528638 h 785813"/>
                <a:gd name="connsiteX97" fmla="*/ 676275 w 695325"/>
                <a:gd name="connsiteY97" fmla="*/ 516732 h 785813"/>
                <a:gd name="connsiteX98" fmla="*/ 645319 w 695325"/>
                <a:gd name="connsiteY98" fmla="*/ 511969 h 785813"/>
                <a:gd name="connsiteX99" fmla="*/ 652463 w 695325"/>
                <a:gd name="connsiteY99" fmla="*/ 483394 h 785813"/>
                <a:gd name="connsiteX100" fmla="*/ 631031 w 695325"/>
                <a:gd name="connsiteY100" fmla="*/ 488157 h 785813"/>
                <a:gd name="connsiteX101" fmla="*/ 631031 w 695325"/>
                <a:gd name="connsiteY101" fmla="*/ 461963 h 785813"/>
                <a:gd name="connsiteX102" fmla="*/ 609600 w 695325"/>
                <a:gd name="connsiteY102" fmla="*/ 452438 h 785813"/>
                <a:gd name="connsiteX103" fmla="*/ 602456 w 695325"/>
                <a:gd name="connsiteY103" fmla="*/ 435769 h 785813"/>
                <a:gd name="connsiteX104" fmla="*/ 585788 w 695325"/>
                <a:gd name="connsiteY104" fmla="*/ 447675 h 785813"/>
                <a:gd name="connsiteX105" fmla="*/ 576263 w 695325"/>
                <a:gd name="connsiteY105" fmla="*/ 423863 h 785813"/>
                <a:gd name="connsiteX106" fmla="*/ 545306 w 695325"/>
                <a:gd name="connsiteY106" fmla="*/ 400050 h 785813"/>
                <a:gd name="connsiteX107" fmla="*/ 526256 w 695325"/>
                <a:gd name="connsiteY107" fmla="*/ 400050 h 785813"/>
                <a:gd name="connsiteX108" fmla="*/ 540544 w 695325"/>
                <a:gd name="connsiteY108" fmla="*/ 381000 h 785813"/>
                <a:gd name="connsiteX109" fmla="*/ 540544 w 695325"/>
                <a:gd name="connsiteY109" fmla="*/ 359569 h 785813"/>
                <a:gd name="connsiteX110" fmla="*/ 535781 w 695325"/>
                <a:gd name="connsiteY110" fmla="*/ 352425 h 785813"/>
                <a:gd name="connsiteX111" fmla="*/ 578644 w 695325"/>
                <a:gd name="connsiteY111" fmla="*/ 364332 h 785813"/>
                <a:gd name="connsiteX112" fmla="*/ 566738 w 695325"/>
                <a:gd name="connsiteY112" fmla="*/ 347663 h 785813"/>
                <a:gd name="connsiteX113" fmla="*/ 528638 w 695325"/>
                <a:gd name="connsiteY113" fmla="*/ 335757 h 785813"/>
                <a:gd name="connsiteX114" fmla="*/ 519113 w 695325"/>
                <a:gd name="connsiteY114" fmla="*/ 321469 h 785813"/>
                <a:gd name="connsiteX115" fmla="*/ 557213 w 695325"/>
                <a:gd name="connsiteY115" fmla="*/ 307182 h 785813"/>
                <a:gd name="connsiteX116" fmla="*/ 545306 w 695325"/>
                <a:gd name="connsiteY116" fmla="*/ 280988 h 785813"/>
                <a:gd name="connsiteX117" fmla="*/ 538163 w 695325"/>
                <a:gd name="connsiteY117" fmla="*/ 297657 h 785813"/>
                <a:gd name="connsiteX118" fmla="*/ 514350 w 695325"/>
                <a:gd name="connsiteY118" fmla="*/ 309563 h 785813"/>
                <a:gd name="connsiteX119" fmla="*/ 507206 w 695325"/>
                <a:gd name="connsiteY119" fmla="*/ 288132 h 785813"/>
                <a:gd name="connsiteX120" fmla="*/ 500063 w 695325"/>
                <a:gd name="connsiteY120" fmla="*/ 278607 h 785813"/>
                <a:gd name="connsiteX121" fmla="*/ 523875 w 695325"/>
                <a:gd name="connsiteY121" fmla="*/ 259557 h 785813"/>
                <a:gd name="connsiteX122" fmla="*/ 504825 w 695325"/>
                <a:gd name="connsiteY122" fmla="*/ 242888 h 785813"/>
                <a:gd name="connsiteX123" fmla="*/ 485775 w 695325"/>
                <a:gd name="connsiteY123" fmla="*/ 254794 h 785813"/>
                <a:gd name="connsiteX124" fmla="*/ 473869 w 695325"/>
                <a:gd name="connsiteY124" fmla="*/ 240507 h 785813"/>
                <a:gd name="connsiteX125" fmla="*/ 471488 w 695325"/>
                <a:gd name="connsiteY125" fmla="*/ 223838 h 785813"/>
                <a:gd name="connsiteX126" fmla="*/ 452438 w 695325"/>
                <a:gd name="connsiteY126" fmla="*/ 230982 h 785813"/>
                <a:gd name="connsiteX127" fmla="*/ 450056 w 695325"/>
                <a:gd name="connsiteY127" fmla="*/ 214313 h 785813"/>
                <a:gd name="connsiteX128" fmla="*/ 457200 w 695325"/>
                <a:gd name="connsiteY128" fmla="*/ 202407 h 785813"/>
                <a:gd name="connsiteX129" fmla="*/ 433388 w 695325"/>
                <a:gd name="connsiteY129" fmla="*/ 171450 h 785813"/>
                <a:gd name="connsiteX130" fmla="*/ 423863 w 695325"/>
                <a:gd name="connsiteY130" fmla="*/ 190500 h 785813"/>
                <a:gd name="connsiteX131" fmla="*/ 416719 w 695325"/>
                <a:gd name="connsiteY131" fmla="*/ 207169 h 785813"/>
                <a:gd name="connsiteX132" fmla="*/ 397669 w 695325"/>
                <a:gd name="connsiteY132" fmla="*/ 192882 h 785813"/>
                <a:gd name="connsiteX133" fmla="*/ 395288 w 695325"/>
                <a:gd name="connsiteY133" fmla="*/ 166688 h 785813"/>
                <a:gd name="connsiteX134" fmla="*/ 383381 w 695325"/>
                <a:gd name="connsiteY134" fmla="*/ 180975 h 785813"/>
                <a:gd name="connsiteX135" fmla="*/ 376238 w 695325"/>
                <a:gd name="connsiteY135" fmla="*/ 166688 h 785813"/>
                <a:gd name="connsiteX136" fmla="*/ 376238 w 695325"/>
                <a:gd name="connsiteY136" fmla="*/ 147638 h 785813"/>
                <a:gd name="connsiteX137" fmla="*/ 364331 w 695325"/>
                <a:gd name="connsiteY137" fmla="*/ 142875 h 785813"/>
                <a:gd name="connsiteX138" fmla="*/ 364331 w 695325"/>
                <a:gd name="connsiteY138" fmla="*/ 116682 h 785813"/>
                <a:gd name="connsiteX139" fmla="*/ 309563 w 695325"/>
                <a:gd name="connsiteY139" fmla="*/ 90488 h 785813"/>
                <a:gd name="connsiteX140" fmla="*/ 288131 w 695325"/>
                <a:gd name="connsiteY140" fmla="*/ 97632 h 785813"/>
                <a:gd name="connsiteX141" fmla="*/ 292894 w 695325"/>
                <a:gd name="connsiteY141" fmla="*/ 123825 h 785813"/>
                <a:gd name="connsiteX142" fmla="*/ 273844 w 695325"/>
                <a:gd name="connsiteY142" fmla="*/ 126207 h 785813"/>
                <a:gd name="connsiteX143" fmla="*/ 259556 w 695325"/>
                <a:gd name="connsiteY143" fmla="*/ 121444 h 785813"/>
                <a:gd name="connsiteX144" fmla="*/ 247650 w 695325"/>
                <a:gd name="connsiteY144" fmla="*/ 140494 h 785813"/>
                <a:gd name="connsiteX145" fmla="*/ 223838 w 695325"/>
                <a:gd name="connsiteY145" fmla="*/ 152400 h 785813"/>
                <a:gd name="connsiteX146" fmla="*/ 221456 w 695325"/>
                <a:gd name="connsiteY146" fmla="*/ 130969 h 785813"/>
                <a:gd name="connsiteX147" fmla="*/ 223838 w 695325"/>
                <a:gd name="connsiteY147" fmla="*/ 92869 h 785813"/>
                <a:gd name="connsiteX148" fmla="*/ 216694 w 695325"/>
                <a:gd name="connsiteY148" fmla="*/ 66675 h 785813"/>
                <a:gd name="connsiteX149" fmla="*/ 214313 w 695325"/>
                <a:gd name="connsiteY149" fmla="*/ 50007 h 785813"/>
                <a:gd name="connsiteX150" fmla="*/ 204788 w 695325"/>
                <a:gd name="connsiteY150" fmla="*/ 28575 h 785813"/>
                <a:gd name="connsiteX151" fmla="*/ 202406 w 695325"/>
                <a:gd name="connsiteY151" fmla="*/ 0 h 785813"/>
                <a:gd name="connsiteX152" fmla="*/ 183356 w 695325"/>
                <a:gd name="connsiteY152" fmla="*/ 7144 h 785813"/>
                <a:gd name="connsiteX153" fmla="*/ 161926 w 695325"/>
                <a:gd name="connsiteY153" fmla="*/ 23813 h 785813"/>
                <a:gd name="connsiteX154" fmla="*/ 147638 w 695325"/>
                <a:gd name="connsiteY154" fmla="*/ 33338 h 785813"/>
                <a:gd name="connsiteX155" fmla="*/ 116682 w 695325"/>
                <a:gd name="connsiteY155" fmla="*/ 88106 h 785813"/>
                <a:gd name="connsiteX156" fmla="*/ 109537 w 695325"/>
                <a:gd name="connsiteY156" fmla="*/ 147638 h 785813"/>
                <a:gd name="connsiteX157" fmla="*/ 114300 w 695325"/>
                <a:gd name="connsiteY157" fmla="*/ 223837 h 78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695325" h="785813">
                  <a:moveTo>
                    <a:pt x="114300" y="223837"/>
                  </a:moveTo>
                  <a:lnTo>
                    <a:pt x="100012" y="204788"/>
                  </a:lnTo>
                  <a:lnTo>
                    <a:pt x="66676" y="116682"/>
                  </a:lnTo>
                  <a:cubicBezTo>
                    <a:pt x="62707" y="102395"/>
                    <a:pt x="74613" y="42863"/>
                    <a:pt x="80963" y="30957"/>
                  </a:cubicBezTo>
                  <a:cubicBezTo>
                    <a:pt x="87313" y="19051"/>
                    <a:pt x="108347" y="22226"/>
                    <a:pt x="102394" y="1"/>
                  </a:cubicBezTo>
                  <a:lnTo>
                    <a:pt x="54769" y="4763"/>
                  </a:lnTo>
                  <a:lnTo>
                    <a:pt x="21431" y="38100"/>
                  </a:lnTo>
                  <a:lnTo>
                    <a:pt x="21431" y="69057"/>
                  </a:lnTo>
                  <a:lnTo>
                    <a:pt x="11906" y="88107"/>
                  </a:lnTo>
                  <a:lnTo>
                    <a:pt x="7144" y="126207"/>
                  </a:lnTo>
                  <a:lnTo>
                    <a:pt x="7144" y="126207"/>
                  </a:lnTo>
                  <a:lnTo>
                    <a:pt x="0" y="145257"/>
                  </a:lnTo>
                  <a:lnTo>
                    <a:pt x="0" y="190500"/>
                  </a:lnTo>
                  <a:lnTo>
                    <a:pt x="38100" y="200025"/>
                  </a:lnTo>
                  <a:lnTo>
                    <a:pt x="64294" y="219075"/>
                  </a:lnTo>
                  <a:lnTo>
                    <a:pt x="66675" y="233363"/>
                  </a:lnTo>
                  <a:lnTo>
                    <a:pt x="35719" y="228600"/>
                  </a:lnTo>
                  <a:lnTo>
                    <a:pt x="9525" y="216694"/>
                  </a:lnTo>
                  <a:lnTo>
                    <a:pt x="47625" y="276225"/>
                  </a:lnTo>
                  <a:lnTo>
                    <a:pt x="76200" y="257175"/>
                  </a:lnTo>
                  <a:lnTo>
                    <a:pt x="102394" y="288132"/>
                  </a:lnTo>
                  <a:lnTo>
                    <a:pt x="147638" y="300038"/>
                  </a:lnTo>
                  <a:lnTo>
                    <a:pt x="188119" y="307182"/>
                  </a:lnTo>
                  <a:lnTo>
                    <a:pt x="209550" y="295275"/>
                  </a:lnTo>
                  <a:lnTo>
                    <a:pt x="197644" y="285750"/>
                  </a:lnTo>
                  <a:lnTo>
                    <a:pt x="219075" y="285750"/>
                  </a:lnTo>
                  <a:lnTo>
                    <a:pt x="247650" y="314325"/>
                  </a:lnTo>
                  <a:lnTo>
                    <a:pt x="266700" y="292894"/>
                  </a:lnTo>
                  <a:lnTo>
                    <a:pt x="252413" y="266700"/>
                  </a:lnTo>
                  <a:lnTo>
                    <a:pt x="266700" y="261938"/>
                  </a:lnTo>
                  <a:lnTo>
                    <a:pt x="345281" y="342900"/>
                  </a:lnTo>
                  <a:lnTo>
                    <a:pt x="352425" y="357188"/>
                  </a:lnTo>
                  <a:lnTo>
                    <a:pt x="330994" y="383382"/>
                  </a:lnTo>
                  <a:lnTo>
                    <a:pt x="373856" y="371475"/>
                  </a:lnTo>
                  <a:lnTo>
                    <a:pt x="395288" y="371475"/>
                  </a:lnTo>
                  <a:lnTo>
                    <a:pt x="381000" y="388144"/>
                  </a:lnTo>
                  <a:lnTo>
                    <a:pt x="395288" y="397669"/>
                  </a:lnTo>
                  <a:lnTo>
                    <a:pt x="421481" y="426244"/>
                  </a:lnTo>
                  <a:lnTo>
                    <a:pt x="438150" y="461963"/>
                  </a:lnTo>
                  <a:lnTo>
                    <a:pt x="440531" y="492919"/>
                  </a:lnTo>
                  <a:lnTo>
                    <a:pt x="423863" y="511969"/>
                  </a:lnTo>
                  <a:lnTo>
                    <a:pt x="423863" y="535782"/>
                  </a:lnTo>
                  <a:lnTo>
                    <a:pt x="402431" y="535782"/>
                  </a:lnTo>
                  <a:lnTo>
                    <a:pt x="383381" y="547688"/>
                  </a:lnTo>
                  <a:lnTo>
                    <a:pt x="407194" y="583407"/>
                  </a:lnTo>
                  <a:lnTo>
                    <a:pt x="395288" y="611982"/>
                  </a:lnTo>
                  <a:lnTo>
                    <a:pt x="359569" y="611982"/>
                  </a:lnTo>
                  <a:lnTo>
                    <a:pt x="328613" y="609600"/>
                  </a:lnTo>
                  <a:lnTo>
                    <a:pt x="309563" y="597694"/>
                  </a:lnTo>
                  <a:lnTo>
                    <a:pt x="297656" y="621507"/>
                  </a:lnTo>
                  <a:lnTo>
                    <a:pt x="297656" y="645319"/>
                  </a:lnTo>
                  <a:lnTo>
                    <a:pt x="330994" y="661988"/>
                  </a:lnTo>
                  <a:lnTo>
                    <a:pt x="354806" y="642938"/>
                  </a:lnTo>
                  <a:lnTo>
                    <a:pt x="371475" y="638175"/>
                  </a:lnTo>
                  <a:lnTo>
                    <a:pt x="378619" y="628650"/>
                  </a:lnTo>
                  <a:lnTo>
                    <a:pt x="400050" y="640557"/>
                  </a:lnTo>
                  <a:lnTo>
                    <a:pt x="414338" y="659607"/>
                  </a:lnTo>
                  <a:lnTo>
                    <a:pt x="438150" y="688182"/>
                  </a:lnTo>
                  <a:lnTo>
                    <a:pt x="452438" y="688182"/>
                  </a:lnTo>
                  <a:lnTo>
                    <a:pt x="464344" y="704850"/>
                  </a:lnTo>
                  <a:lnTo>
                    <a:pt x="450056" y="714375"/>
                  </a:lnTo>
                  <a:lnTo>
                    <a:pt x="481013" y="740569"/>
                  </a:lnTo>
                  <a:lnTo>
                    <a:pt x="497681" y="738188"/>
                  </a:lnTo>
                  <a:lnTo>
                    <a:pt x="526256" y="752475"/>
                  </a:lnTo>
                  <a:lnTo>
                    <a:pt x="566738" y="783432"/>
                  </a:lnTo>
                  <a:lnTo>
                    <a:pt x="578644" y="785813"/>
                  </a:lnTo>
                  <a:lnTo>
                    <a:pt x="588169" y="776288"/>
                  </a:lnTo>
                  <a:lnTo>
                    <a:pt x="566738" y="762000"/>
                  </a:lnTo>
                  <a:lnTo>
                    <a:pt x="535781" y="733425"/>
                  </a:lnTo>
                  <a:lnTo>
                    <a:pt x="523875" y="697707"/>
                  </a:lnTo>
                  <a:lnTo>
                    <a:pt x="531019" y="685800"/>
                  </a:lnTo>
                  <a:lnTo>
                    <a:pt x="557213" y="711994"/>
                  </a:lnTo>
                  <a:lnTo>
                    <a:pt x="597694" y="733425"/>
                  </a:lnTo>
                  <a:lnTo>
                    <a:pt x="619125" y="742950"/>
                  </a:lnTo>
                  <a:lnTo>
                    <a:pt x="611981" y="716757"/>
                  </a:lnTo>
                  <a:lnTo>
                    <a:pt x="623888" y="707232"/>
                  </a:lnTo>
                  <a:lnTo>
                    <a:pt x="619125" y="683419"/>
                  </a:lnTo>
                  <a:lnTo>
                    <a:pt x="602456" y="664369"/>
                  </a:lnTo>
                  <a:lnTo>
                    <a:pt x="607219" y="647700"/>
                  </a:lnTo>
                  <a:lnTo>
                    <a:pt x="592931" y="640557"/>
                  </a:lnTo>
                  <a:lnTo>
                    <a:pt x="585788" y="628650"/>
                  </a:lnTo>
                  <a:lnTo>
                    <a:pt x="564356" y="623888"/>
                  </a:lnTo>
                  <a:lnTo>
                    <a:pt x="550069" y="588169"/>
                  </a:lnTo>
                  <a:lnTo>
                    <a:pt x="540544" y="581025"/>
                  </a:lnTo>
                  <a:lnTo>
                    <a:pt x="550069" y="561975"/>
                  </a:lnTo>
                  <a:lnTo>
                    <a:pt x="545306" y="547688"/>
                  </a:lnTo>
                  <a:lnTo>
                    <a:pt x="540544" y="523875"/>
                  </a:lnTo>
                  <a:lnTo>
                    <a:pt x="571500" y="519113"/>
                  </a:lnTo>
                  <a:lnTo>
                    <a:pt x="595313" y="550069"/>
                  </a:lnTo>
                  <a:lnTo>
                    <a:pt x="626269" y="569119"/>
                  </a:lnTo>
                  <a:lnTo>
                    <a:pt x="631031" y="592932"/>
                  </a:lnTo>
                  <a:lnTo>
                    <a:pt x="659606" y="611982"/>
                  </a:lnTo>
                  <a:lnTo>
                    <a:pt x="650081" y="576263"/>
                  </a:lnTo>
                  <a:lnTo>
                    <a:pt x="669131" y="576263"/>
                  </a:lnTo>
                  <a:lnTo>
                    <a:pt x="683419" y="554832"/>
                  </a:lnTo>
                  <a:lnTo>
                    <a:pt x="671513" y="535782"/>
                  </a:lnTo>
                  <a:lnTo>
                    <a:pt x="695325" y="528638"/>
                  </a:lnTo>
                  <a:lnTo>
                    <a:pt x="676275" y="516732"/>
                  </a:lnTo>
                  <a:lnTo>
                    <a:pt x="645319" y="511969"/>
                  </a:lnTo>
                  <a:lnTo>
                    <a:pt x="652463" y="483394"/>
                  </a:lnTo>
                  <a:lnTo>
                    <a:pt x="631031" y="488157"/>
                  </a:lnTo>
                  <a:lnTo>
                    <a:pt x="631031" y="461963"/>
                  </a:lnTo>
                  <a:lnTo>
                    <a:pt x="609600" y="452438"/>
                  </a:lnTo>
                  <a:lnTo>
                    <a:pt x="602456" y="435769"/>
                  </a:lnTo>
                  <a:lnTo>
                    <a:pt x="585788" y="447675"/>
                  </a:lnTo>
                  <a:lnTo>
                    <a:pt x="576263" y="423863"/>
                  </a:lnTo>
                  <a:lnTo>
                    <a:pt x="545306" y="400050"/>
                  </a:lnTo>
                  <a:lnTo>
                    <a:pt x="526256" y="400050"/>
                  </a:lnTo>
                  <a:lnTo>
                    <a:pt x="540544" y="381000"/>
                  </a:lnTo>
                  <a:lnTo>
                    <a:pt x="540544" y="359569"/>
                  </a:lnTo>
                  <a:lnTo>
                    <a:pt x="535781" y="352425"/>
                  </a:lnTo>
                  <a:lnTo>
                    <a:pt x="578644" y="364332"/>
                  </a:lnTo>
                  <a:lnTo>
                    <a:pt x="566738" y="347663"/>
                  </a:lnTo>
                  <a:lnTo>
                    <a:pt x="528638" y="335757"/>
                  </a:lnTo>
                  <a:lnTo>
                    <a:pt x="519113" y="321469"/>
                  </a:lnTo>
                  <a:lnTo>
                    <a:pt x="557213" y="307182"/>
                  </a:lnTo>
                  <a:lnTo>
                    <a:pt x="545306" y="280988"/>
                  </a:lnTo>
                  <a:lnTo>
                    <a:pt x="538163" y="297657"/>
                  </a:lnTo>
                  <a:lnTo>
                    <a:pt x="514350" y="309563"/>
                  </a:lnTo>
                  <a:lnTo>
                    <a:pt x="507206" y="288132"/>
                  </a:lnTo>
                  <a:lnTo>
                    <a:pt x="500063" y="278607"/>
                  </a:lnTo>
                  <a:lnTo>
                    <a:pt x="523875" y="259557"/>
                  </a:lnTo>
                  <a:lnTo>
                    <a:pt x="504825" y="242888"/>
                  </a:lnTo>
                  <a:lnTo>
                    <a:pt x="485775" y="254794"/>
                  </a:lnTo>
                  <a:lnTo>
                    <a:pt x="473869" y="240507"/>
                  </a:lnTo>
                  <a:lnTo>
                    <a:pt x="471488" y="223838"/>
                  </a:lnTo>
                  <a:lnTo>
                    <a:pt x="452438" y="230982"/>
                  </a:lnTo>
                  <a:lnTo>
                    <a:pt x="450056" y="214313"/>
                  </a:lnTo>
                  <a:lnTo>
                    <a:pt x="457200" y="202407"/>
                  </a:lnTo>
                  <a:lnTo>
                    <a:pt x="433388" y="171450"/>
                  </a:lnTo>
                  <a:lnTo>
                    <a:pt x="423863" y="190500"/>
                  </a:lnTo>
                  <a:lnTo>
                    <a:pt x="416719" y="207169"/>
                  </a:lnTo>
                  <a:lnTo>
                    <a:pt x="397669" y="192882"/>
                  </a:lnTo>
                  <a:lnTo>
                    <a:pt x="395288" y="166688"/>
                  </a:lnTo>
                  <a:lnTo>
                    <a:pt x="383381" y="180975"/>
                  </a:lnTo>
                  <a:lnTo>
                    <a:pt x="376238" y="166688"/>
                  </a:lnTo>
                  <a:lnTo>
                    <a:pt x="376238" y="147638"/>
                  </a:lnTo>
                  <a:lnTo>
                    <a:pt x="364331" y="142875"/>
                  </a:lnTo>
                  <a:lnTo>
                    <a:pt x="364331" y="116682"/>
                  </a:lnTo>
                  <a:lnTo>
                    <a:pt x="309563" y="90488"/>
                  </a:lnTo>
                  <a:lnTo>
                    <a:pt x="288131" y="97632"/>
                  </a:lnTo>
                  <a:lnTo>
                    <a:pt x="292894" y="123825"/>
                  </a:lnTo>
                  <a:lnTo>
                    <a:pt x="273844" y="126207"/>
                  </a:lnTo>
                  <a:lnTo>
                    <a:pt x="259556" y="121444"/>
                  </a:lnTo>
                  <a:lnTo>
                    <a:pt x="247650" y="140494"/>
                  </a:lnTo>
                  <a:lnTo>
                    <a:pt x="223838" y="152400"/>
                  </a:lnTo>
                  <a:lnTo>
                    <a:pt x="221456" y="130969"/>
                  </a:lnTo>
                  <a:lnTo>
                    <a:pt x="223838" y="92869"/>
                  </a:lnTo>
                  <a:lnTo>
                    <a:pt x="216694" y="66675"/>
                  </a:lnTo>
                  <a:lnTo>
                    <a:pt x="214313" y="50007"/>
                  </a:lnTo>
                  <a:lnTo>
                    <a:pt x="204788" y="28575"/>
                  </a:lnTo>
                  <a:lnTo>
                    <a:pt x="202406" y="0"/>
                  </a:lnTo>
                  <a:lnTo>
                    <a:pt x="183356" y="7144"/>
                  </a:lnTo>
                  <a:lnTo>
                    <a:pt x="161926" y="23813"/>
                  </a:lnTo>
                  <a:lnTo>
                    <a:pt x="147638" y="33338"/>
                  </a:lnTo>
                  <a:lnTo>
                    <a:pt x="116682" y="88106"/>
                  </a:lnTo>
                  <a:lnTo>
                    <a:pt x="109537" y="147638"/>
                  </a:lnTo>
                  <a:lnTo>
                    <a:pt x="114300" y="22383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" name="Freeform: Shape 21"/>
            <p:cNvSpPr/>
            <p:nvPr/>
          </p:nvSpPr>
          <p:spPr bwMode="auto">
            <a:xfrm>
              <a:off x="2283619" y="1947863"/>
              <a:ext cx="109537" cy="88106"/>
            </a:xfrm>
            <a:custGeom>
              <a:avLst/>
              <a:gdLst>
                <a:gd name="connsiteX0" fmla="*/ 0 w 109537"/>
                <a:gd name="connsiteY0" fmla="*/ 0 h 88106"/>
                <a:gd name="connsiteX1" fmla="*/ 30956 w 109537"/>
                <a:gd name="connsiteY1" fmla="*/ 88106 h 88106"/>
                <a:gd name="connsiteX2" fmla="*/ 59531 w 109537"/>
                <a:gd name="connsiteY2" fmla="*/ 69056 h 88106"/>
                <a:gd name="connsiteX3" fmla="*/ 109537 w 109537"/>
                <a:gd name="connsiteY3" fmla="*/ 69056 h 88106"/>
                <a:gd name="connsiteX4" fmla="*/ 73819 w 109537"/>
                <a:gd name="connsiteY4" fmla="*/ 16668 h 88106"/>
                <a:gd name="connsiteX5" fmla="*/ 0 w 109537"/>
                <a:gd name="connsiteY5" fmla="*/ 0 h 88106"/>
                <a:gd name="connsiteX0" fmla="*/ 0 w 109537"/>
                <a:gd name="connsiteY0" fmla="*/ 0 h 88106"/>
                <a:gd name="connsiteX1" fmla="*/ 30956 w 109537"/>
                <a:gd name="connsiteY1" fmla="*/ 88106 h 88106"/>
                <a:gd name="connsiteX2" fmla="*/ 59531 w 109537"/>
                <a:gd name="connsiteY2" fmla="*/ 69056 h 88106"/>
                <a:gd name="connsiteX3" fmla="*/ 109537 w 109537"/>
                <a:gd name="connsiteY3" fmla="*/ 69056 h 88106"/>
                <a:gd name="connsiteX4" fmla="*/ 73819 w 109537"/>
                <a:gd name="connsiteY4" fmla="*/ 16668 h 88106"/>
                <a:gd name="connsiteX5" fmla="*/ 40481 w 109537"/>
                <a:gd name="connsiteY5" fmla="*/ 7143 h 88106"/>
                <a:gd name="connsiteX6" fmla="*/ 0 w 109537"/>
                <a:gd name="connsiteY6" fmla="*/ 0 h 88106"/>
                <a:gd name="connsiteX0" fmla="*/ 0 w 109537"/>
                <a:gd name="connsiteY0" fmla="*/ 0 h 88106"/>
                <a:gd name="connsiteX1" fmla="*/ 30956 w 109537"/>
                <a:gd name="connsiteY1" fmla="*/ 88106 h 88106"/>
                <a:gd name="connsiteX2" fmla="*/ 59531 w 109537"/>
                <a:gd name="connsiteY2" fmla="*/ 69056 h 88106"/>
                <a:gd name="connsiteX3" fmla="*/ 109537 w 109537"/>
                <a:gd name="connsiteY3" fmla="*/ 69056 h 88106"/>
                <a:gd name="connsiteX4" fmla="*/ 73819 w 109537"/>
                <a:gd name="connsiteY4" fmla="*/ 16668 h 88106"/>
                <a:gd name="connsiteX5" fmla="*/ 40481 w 109537"/>
                <a:gd name="connsiteY5" fmla="*/ 35718 h 88106"/>
                <a:gd name="connsiteX6" fmla="*/ 0 w 109537"/>
                <a:gd name="connsiteY6" fmla="*/ 0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537" h="88106">
                  <a:moveTo>
                    <a:pt x="0" y="0"/>
                  </a:moveTo>
                  <a:lnTo>
                    <a:pt x="30956" y="88106"/>
                  </a:lnTo>
                  <a:lnTo>
                    <a:pt x="59531" y="69056"/>
                  </a:lnTo>
                  <a:lnTo>
                    <a:pt x="109537" y="69056"/>
                  </a:lnTo>
                  <a:lnTo>
                    <a:pt x="73819" y="16668"/>
                  </a:lnTo>
                  <a:lnTo>
                    <a:pt x="40481" y="357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5" name="Oval 22"/>
            <p:cNvSpPr/>
            <p:nvPr/>
          </p:nvSpPr>
          <p:spPr bwMode="auto">
            <a:xfrm>
              <a:off x="2371012" y="2366962"/>
              <a:ext cx="45719" cy="6429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6" name="Freeform: Shape 23"/>
            <p:cNvSpPr/>
            <p:nvPr/>
          </p:nvSpPr>
          <p:spPr bwMode="auto">
            <a:xfrm>
              <a:off x="1916906" y="1912144"/>
              <a:ext cx="128588" cy="178594"/>
            </a:xfrm>
            <a:custGeom>
              <a:avLst/>
              <a:gdLst>
                <a:gd name="connsiteX0" fmla="*/ 26194 w 128588"/>
                <a:gd name="connsiteY0" fmla="*/ 178594 h 178594"/>
                <a:gd name="connsiteX1" fmla="*/ 28575 w 128588"/>
                <a:gd name="connsiteY1" fmla="*/ 114300 h 178594"/>
                <a:gd name="connsiteX2" fmla="*/ 57150 w 128588"/>
                <a:gd name="connsiteY2" fmla="*/ 119062 h 178594"/>
                <a:gd name="connsiteX3" fmla="*/ 83344 w 128588"/>
                <a:gd name="connsiteY3" fmla="*/ 126206 h 178594"/>
                <a:gd name="connsiteX4" fmla="*/ 102394 w 128588"/>
                <a:gd name="connsiteY4" fmla="*/ 73819 h 178594"/>
                <a:gd name="connsiteX5" fmla="*/ 128588 w 128588"/>
                <a:gd name="connsiteY5" fmla="*/ 23812 h 178594"/>
                <a:gd name="connsiteX6" fmla="*/ 97632 w 128588"/>
                <a:gd name="connsiteY6" fmla="*/ 9525 h 178594"/>
                <a:gd name="connsiteX7" fmla="*/ 73819 w 128588"/>
                <a:gd name="connsiteY7" fmla="*/ 19050 h 178594"/>
                <a:gd name="connsiteX8" fmla="*/ 61913 w 128588"/>
                <a:gd name="connsiteY8" fmla="*/ 0 h 178594"/>
                <a:gd name="connsiteX9" fmla="*/ 16669 w 128588"/>
                <a:gd name="connsiteY9" fmla="*/ 9525 h 178594"/>
                <a:gd name="connsiteX10" fmla="*/ 33338 w 128588"/>
                <a:gd name="connsiteY10" fmla="*/ 52387 h 178594"/>
                <a:gd name="connsiteX11" fmla="*/ 9525 w 128588"/>
                <a:gd name="connsiteY11" fmla="*/ 33337 h 178594"/>
                <a:gd name="connsiteX12" fmla="*/ 0 w 128588"/>
                <a:gd name="connsiteY12" fmla="*/ 78581 h 178594"/>
                <a:gd name="connsiteX13" fmla="*/ 2382 w 128588"/>
                <a:gd name="connsiteY13" fmla="*/ 116681 h 178594"/>
                <a:gd name="connsiteX14" fmla="*/ 26194 w 128588"/>
                <a:gd name="connsiteY14" fmla="*/ 178594 h 17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8588" h="178594">
                  <a:moveTo>
                    <a:pt x="26194" y="178594"/>
                  </a:moveTo>
                  <a:cubicBezTo>
                    <a:pt x="26988" y="157163"/>
                    <a:pt x="27781" y="135731"/>
                    <a:pt x="28575" y="114300"/>
                  </a:cubicBezTo>
                  <a:lnTo>
                    <a:pt x="57150" y="119062"/>
                  </a:lnTo>
                  <a:lnTo>
                    <a:pt x="83344" y="126206"/>
                  </a:lnTo>
                  <a:lnTo>
                    <a:pt x="102394" y="73819"/>
                  </a:lnTo>
                  <a:lnTo>
                    <a:pt x="128588" y="23812"/>
                  </a:lnTo>
                  <a:lnTo>
                    <a:pt x="97632" y="9525"/>
                  </a:lnTo>
                  <a:lnTo>
                    <a:pt x="73819" y="19050"/>
                  </a:lnTo>
                  <a:lnTo>
                    <a:pt x="61913" y="0"/>
                  </a:lnTo>
                  <a:lnTo>
                    <a:pt x="16669" y="9525"/>
                  </a:lnTo>
                  <a:lnTo>
                    <a:pt x="33338" y="52387"/>
                  </a:lnTo>
                  <a:lnTo>
                    <a:pt x="9525" y="33337"/>
                  </a:lnTo>
                  <a:lnTo>
                    <a:pt x="0" y="78581"/>
                  </a:lnTo>
                  <a:lnTo>
                    <a:pt x="2382" y="116681"/>
                  </a:lnTo>
                  <a:lnTo>
                    <a:pt x="26194" y="17859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7" name="Freeform 266"/>
            <p:cNvSpPr>
              <a:spLocks/>
            </p:cNvSpPr>
            <p:nvPr/>
          </p:nvSpPr>
          <p:spPr bwMode="auto">
            <a:xfrm>
              <a:off x="8418515" y="5801519"/>
              <a:ext cx="179387" cy="204788"/>
            </a:xfrm>
            <a:custGeom>
              <a:avLst/>
              <a:gdLst>
                <a:gd name="T0" fmla="*/ 0 w 138"/>
                <a:gd name="T1" fmla="*/ 2147483646 h 157"/>
                <a:gd name="T2" fmla="*/ 2147483646 w 138"/>
                <a:gd name="T3" fmla="*/ 2147483646 h 157"/>
                <a:gd name="T4" fmla="*/ 2147483646 w 138"/>
                <a:gd name="T5" fmla="*/ 2147483646 h 157"/>
                <a:gd name="T6" fmla="*/ 2147483646 w 138"/>
                <a:gd name="T7" fmla="*/ 2147483646 h 157"/>
                <a:gd name="T8" fmla="*/ 2147483646 w 138"/>
                <a:gd name="T9" fmla="*/ 2147483646 h 157"/>
                <a:gd name="T10" fmla="*/ 2147483646 w 138"/>
                <a:gd name="T11" fmla="*/ 2147483646 h 157"/>
                <a:gd name="T12" fmla="*/ 2147483646 w 138"/>
                <a:gd name="T13" fmla="*/ 0 h 157"/>
                <a:gd name="T14" fmla="*/ 2147483646 w 138"/>
                <a:gd name="T15" fmla="*/ 2147483646 h 157"/>
                <a:gd name="T16" fmla="*/ 2147483646 w 138"/>
                <a:gd name="T17" fmla="*/ 2147483646 h 157"/>
                <a:gd name="T18" fmla="*/ 2147483646 w 138"/>
                <a:gd name="T19" fmla="*/ 2147483646 h 157"/>
                <a:gd name="T20" fmla="*/ 2147483646 w 138"/>
                <a:gd name="T21" fmla="*/ 2147483646 h 157"/>
                <a:gd name="T22" fmla="*/ 2147483646 w 138"/>
                <a:gd name="T23" fmla="*/ 2147483646 h 157"/>
                <a:gd name="T24" fmla="*/ 2147483646 w 138"/>
                <a:gd name="T25" fmla="*/ 2147483646 h 157"/>
                <a:gd name="T26" fmla="*/ 2147483646 w 138"/>
                <a:gd name="T27" fmla="*/ 2147483646 h 157"/>
                <a:gd name="T28" fmla="*/ 2147483646 w 138"/>
                <a:gd name="T29" fmla="*/ 2147483646 h 157"/>
                <a:gd name="T30" fmla="*/ 2147483646 w 138"/>
                <a:gd name="T31" fmla="*/ 2147483646 h 157"/>
                <a:gd name="T32" fmla="*/ 2147483646 w 138"/>
                <a:gd name="T33" fmla="*/ 2147483646 h 157"/>
                <a:gd name="T34" fmla="*/ 0 w 138"/>
                <a:gd name="T35" fmla="*/ 2147483646 h 15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8" h="157">
                  <a:moveTo>
                    <a:pt x="0" y="133"/>
                  </a:moveTo>
                  <a:lnTo>
                    <a:pt x="18" y="97"/>
                  </a:lnTo>
                  <a:lnTo>
                    <a:pt x="30" y="79"/>
                  </a:lnTo>
                  <a:lnTo>
                    <a:pt x="66" y="60"/>
                  </a:lnTo>
                  <a:lnTo>
                    <a:pt x="78" y="54"/>
                  </a:lnTo>
                  <a:lnTo>
                    <a:pt x="90" y="30"/>
                  </a:lnTo>
                  <a:lnTo>
                    <a:pt x="102" y="0"/>
                  </a:lnTo>
                  <a:lnTo>
                    <a:pt x="114" y="12"/>
                  </a:lnTo>
                  <a:lnTo>
                    <a:pt x="138" y="18"/>
                  </a:lnTo>
                  <a:lnTo>
                    <a:pt x="138" y="36"/>
                  </a:lnTo>
                  <a:lnTo>
                    <a:pt x="114" y="54"/>
                  </a:lnTo>
                  <a:lnTo>
                    <a:pt x="102" y="67"/>
                  </a:lnTo>
                  <a:lnTo>
                    <a:pt x="78" y="91"/>
                  </a:lnTo>
                  <a:lnTo>
                    <a:pt x="72" y="115"/>
                  </a:lnTo>
                  <a:lnTo>
                    <a:pt x="66" y="151"/>
                  </a:lnTo>
                  <a:lnTo>
                    <a:pt x="36" y="157"/>
                  </a:lnTo>
                  <a:lnTo>
                    <a:pt x="18" y="151"/>
                  </a:lnTo>
                  <a:lnTo>
                    <a:pt x="0" y="13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8" name="Freeform 267"/>
            <p:cNvSpPr>
              <a:spLocks/>
            </p:cNvSpPr>
            <p:nvPr/>
          </p:nvSpPr>
          <p:spPr bwMode="auto">
            <a:xfrm>
              <a:off x="8578221" y="5611018"/>
              <a:ext cx="125412" cy="201613"/>
            </a:xfrm>
            <a:custGeom>
              <a:avLst/>
              <a:gdLst>
                <a:gd name="T0" fmla="*/ 2147483646 w 96"/>
                <a:gd name="T1" fmla="*/ 2147483646 h 156"/>
                <a:gd name="T2" fmla="*/ 2147483646 w 96"/>
                <a:gd name="T3" fmla="*/ 2147483646 h 156"/>
                <a:gd name="T4" fmla="*/ 2147483646 w 96"/>
                <a:gd name="T5" fmla="*/ 2147483646 h 156"/>
                <a:gd name="T6" fmla="*/ 0 w 96"/>
                <a:gd name="T7" fmla="*/ 0 h 156"/>
                <a:gd name="T8" fmla="*/ 2147483646 w 96"/>
                <a:gd name="T9" fmla="*/ 2147483646 h 156"/>
                <a:gd name="T10" fmla="*/ 2147483646 w 96"/>
                <a:gd name="T11" fmla="*/ 2147483646 h 156"/>
                <a:gd name="T12" fmla="*/ 2147483646 w 96"/>
                <a:gd name="T13" fmla="*/ 2147483646 h 156"/>
                <a:gd name="T14" fmla="*/ 2147483646 w 96"/>
                <a:gd name="T15" fmla="*/ 2147483646 h 156"/>
                <a:gd name="T16" fmla="*/ 2147483646 w 96"/>
                <a:gd name="T17" fmla="*/ 2147483646 h 156"/>
                <a:gd name="T18" fmla="*/ 2147483646 w 96"/>
                <a:gd name="T19" fmla="*/ 2147483646 h 156"/>
                <a:gd name="T20" fmla="*/ 2147483646 w 96"/>
                <a:gd name="T21" fmla="*/ 2147483646 h 156"/>
                <a:gd name="T22" fmla="*/ 2147483646 w 96"/>
                <a:gd name="T23" fmla="*/ 2147483646 h 156"/>
                <a:gd name="T24" fmla="*/ 2147483646 w 96"/>
                <a:gd name="T25" fmla="*/ 2147483646 h 156"/>
                <a:gd name="T26" fmla="*/ 2147483646 w 96"/>
                <a:gd name="T27" fmla="*/ 2147483646 h 156"/>
                <a:gd name="T28" fmla="*/ 2147483646 w 96"/>
                <a:gd name="T29" fmla="*/ 2147483646 h 156"/>
                <a:gd name="T30" fmla="*/ 2147483646 w 96"/>
                <a:gd name="T31" fmla="*/ 2147483646 h 156"/>
                <a:gd name="T32" fmla="*/ 2147483646 w 96"/>
                <a:gd name="T33" fmla="*/ 2147483646 h 156"/>
                <a:gd name="T34" fmla="*/ 2147483646 w 96"/>
                <a:gd name="T35" fmla="*/ 2147483646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6" h="156">
                  <a:moveTo>
                    <a:pt x="6" y="108"/>
                  </a:moveTo>
                  <a:lnTo>
                    <a:pt x="24" y="78"/>
                  </a:lnTo>
                  <a:lnTo>
                    <a:pt x="24" y="54"/>
                  </a:lnTo>
                  <a:lnTo>
                    <a:pt x="0" y="0"/>
                  </a:lnTo>
                  <a:lnTo>
                    <a:pt x="30" y="12"/>
                  </a:lnTo>
                  <a:lnTo>
                    <a:pt x="30" y="42"/>
                  </a:lnTo>
                  <a:lnTo>
                    <a:pt x="42" y="60"/>
                  </a:lnTo>
                  <a:lnTo>
                    <a:pt x="60" y="78"/>
                  </a:lnTo>
                  <a:lnTo>
                    <a:pt x="84" y="66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78" y="102"/>
                  </a:lnTo>
                  <a:lnTo>
                    <a:pt x="66" y="114"/>
                  </a:lnTo>
                  <a:lnTo>
                    <a:pt x="60" y="132"/>
                  </a:lnTo>
                  <a:lnTo>
                    <a:pt x="42" y="156"/>
                  </a:lnTo>
                  <a:lnTo>
                    <a:pt x="24" y="144"/>
                  </a:lnTo>
                  <a:lnTo>
                    <a:pt x="30" y="126"/>
                  </a:lnTo>
                  <a:lnTo>
                    <a:pt x="6" y="10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9" name="Freeform 268"/>
            <p:cNvSpPr>
              <a:spLocks/>
            </p:cNvSpPr>
            <p:nvPr/>
          </p:nvSpPr>
          <p:spPr bwMode="auto">
            <a:xfrm>
              <a:off x="7080251" y="4989513"/>
              <a:ext cx="989012" cy="750887"/>
            </a:xfrm>
            <a:custGeom>
              <a:avLst/>
              <a:gdLst>
                <a:gd name="T0" fmla="*/ 2147483646 w 757"/>
                <a:gd name="T1" fmla="*/ 2147483646 h 577"/>
                <a:gd name="T2" fmla="*/ 2147483646 w 757"/>
                <a:gd name="T3" fmla="*/ 2147483646 h 577"/>
                <a:gd name="T4" fmla="*/ 0 w 757"/>
                <a:gd name="T5" fmla="*/ 2147483646 h 577"/>
                <a:gd name="T6" fmla="*/ 2147483646 w 757"/>
                <a:gd name="T7" fmla="*/ 2147483646 h 577"/>
                <a:gd name="T8" fmla="*/ 2147483646 w 757"/>
                <a:gd name="T9" fmla="*/ 2147483646 h 577"/>
                <a:gd name="T10" fmla="*/ 2147483646 w 757"/>
                <a:gd name="T11" fmla="*/ 2147483646 h 577"/>
                <a:gd name="T12" fmla="*/ 2147483646 w 757"/>
                <a:gd name="T13" fmla="*/ 2147483646 h 577"/>
                <a:gd name="T14" fmla="*/ 2147483646 w 757"/>
                <a:gd name="T15" fmla="*/ 2147483646 h 577"/>
                <a:gd name="T16" fmla="*/ 2147483646 w 757"/>
                <a:gd name="T17" fmla="*/ 2147483646 h 577"/>
                <a:gd name="T18" fmla="*/ 2147483646 w 757"/>
                <a:gd name="T19" fmla="*/ 2147483646 h 577"/>
                <a:gd name="T20" fmla="*/ 2147483646 w 757"/>
                <a:gd name="T21" fmla="*/ 0 h 577"/>
                <a:gd name="T22" fmla="*/ 2147483646 w 757"/>
                <a:gd name="T23" fmla="*/ 2147483646 h 577"/>
                <a:gd name="T24" fmla="*/ 2147483646 w 757"/>
                <a:gd name="T25" fmla="*/ 2147483646 h 577"/>
                <a:gd name="T26" fmla="*/ 2147483646 w 757"/>
                <a:gd name="T27" fmla="*/ 2147483646 h 577"/>
                <a:gd name="T28" fmla="*/ 2147483646 w 757"/>
                <a:gd name="T29" fmla="*/ 2147483646 h 577"/>
                <a:gd name="T30" fmla="*/ 2147483646 w 757"/>
                <a:gd name="T31" fmla="*/ 2147483646 h 577"/>
                <a:gd name="T32" fmla="*/ 2147483646 w 757"/>
                <a:gd name="T33" fmla="*/ 2147483646 h 577"/>
                <a:gd name="T34" fmla="*/ 2147483646 w 757"/>
                <a:gd name="T35" fmla="*/ 2147483646 h 577"/>
                <a:gd name="T36" fmla="*/ 2147483646 w 757"/>
                <a:gd name="T37" fmla="*/ 2147483646 h 577"/>
                <a:gd name="T38" fmla="*/ 2147483646 w 757"/>
                <a:gd name="T39" fmla="*/ 2147483646 h 577"/>
                <a:gd name="T40" fmla="*/ 2147483646 w 757"/>
                <a:gd name="T41" fmla="*/ 2147483646 h 577"/>
                <a:gd name="T42" fmla="*/ 2147483646 w 757"/>
                <a:gd name="T43" fmla="*/ 2147483646 h 577"/>
                <a:gd name="T44" fmla="*/ 2147483646 w 757"/>
                <a:gd name="T45" fmla="*/ 2147483646 h 577"/>
                <a:gd name="T46" fmla="*/ 2147483646 w 757"/>
                <a:gd name="T47" fmla="*/ 2147483646 h 577"/>
                <a:gd name="T48" fmla="*/ 2147483646 w 757"/>
                <a:gd name="T49" fmla="*/ 2147483646 h 577"/>
                <a:gd name="T50" fmla="*/ 2147483646 w 757"/>
                <a:gd name="T51" fmla="*/ 2147483646 h 577"/>
                <a:gd name="T52" fmla="*/ 2147483646 w 757"/>
                <a:gd name="T53" fmla="*/ 2147483646 h 577"/>
                <a:gd name="T54" fmla="*/ 2147483646 w 757"/>
                <a:gd name="T55" fmla="*/ 2147483646 h 577"/>
                <a:gd name="T56" fmla="*/ 2147483646 w 757"/>
                <a:gd name="T57" fmla="*/ 2147483646 h 577"/>
                <a:gd name="T58" fmla="*/ 2147483646 w 757"/>
                <a:gd name="T59" fmla="*/ 2147483646 h 577"/>
                <a:gd name="T60" fmla="*/ 2147483646 w 757"/>
                <a:gd name="T61" fmla="*/ 2147483646 h 577"/>
                <a:gd name="T62" fmla="*/ 2147483646 w 757"/>
                <a:gd name="T63" fmla="*/ 2147483646 h 577"/>
                <a:gd name="T64" fmla="*/ 2147483646 w 757"/>
                <a:gd name="T65" fmla="*/ 2147483646 h 577"/>
                <a:gd name="T66" fmla="*/ 2147483646 w 757"/>
                <a:gd name="T67" fmla="*/ 2147483646 h 577"/>
                <a:gd name="T68" fmla="*/ 2147483646 w 757"/>
                <a:gd name="T69" fmla="*/ 2147483646 h 577"/>
                <a:gd name="T70" fmla="*/ 2147483646 w 757"/>
                <a:gd name="T71" fmla="*/ 2147483646 h 5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57" h="577">
                  <a:moveTo>
                    <a:pt x="30" y="463"/>
                  </a:moveTo>
                  <a:lnTo>
                    <a:pt x="36" y="415"/>
                  </a:lnTo>
                  <a:lnTo>
                    <a:pt x="30" y="385"/>
                  </a:lnTo>
                  <a:lnTo>
                    <a:pt x="6" y="307"/>
                  </a:lnTo>
                  <a:lnTo>
                    <a:pt x="6" y="283"/>
                  </a:lnTo>
                  <a:lnTo>
                    <a:pt x="0" y="247"/>
                  </a:lnTo>
                  <a:lnTo>
                    <a:pt x="6" y="217"/>
                  </a:lnTo>
                  <a:lnTo>
                    <a:pt x="30" y="193"/>
                  </a:lnTo>
                  <a:lnTo>
                    <a:pt x="78" y="175"/>
                  </a:lnTo>
                  <a:lnTo>
                    <a:pt x="114" y="151"/>
                  </a:lnTo>
                  <a:lnTo>
                    <a:pt x="144" y="145"/>
                  </a:lnTo>
                  <a:lnTo>
                    <a:pt x="156" y="109"/>
                  </a:lnTo>
                  <a:lnTo>
                    <a:pt x="180" y="97"/>
                  </a:lnTo>
                  <a:lnTo>
                    <a:pt x="204" y="90"/>
                  </a:lnTo>
                  <a:lnTo>
                    <a:pt x="240" y="60"/>
                  </a:lnTo>
                  <a:lnTo>
                    <a:pt x="264" y="48"/>
                  </a:lnTo>
                  <a:lnTo>
                    <a:pt x="282" y="60"/>
                  </a:lnTo>
                  <a:lnTo>
                    <a:pt x="300" y="66"/>
                  </a:lnTo>
                  <a:lnTo>
                    <a:pt x="312" y="42"/>
                  </a:lnTo>
                  <a:lnTo>
                    <a:pt x="330" y="24"/>
                  </a:lnTo>
                  <a:lnTo>
                    <a:pt x="360" y="18"/>
                  </a:lnTo>
                  <a:lnTo>
                    <a:pt x="372" y="0"/>
                  </a:lnTo>
                  <a:lnTo>
                    <a:pt x="396" y="6"/>
                  </a:lnTo>
                  <a:lnTo>
                    <a:pt x="438" y="12"/>
                  </a:lnTo>
                  <a:lnTo>
                    <a:pt x="432" y="36"/>
                  </a:lnTo>
                  <a:lnTo>
                    <a:pt x="420" y="66"/>
                  </a:lnTo>
                  <a:lnTo>
                    <a:pt x="438" y="78"/>
                  </a:lnTo>
                  <a:lnTo>
                    <a:pt x="468" y="78"/>
                  </a:lnTo>
                  <a:lnTo>
                    <a:pt x="492" y="115"/>
                  </a:lnTo>
                  <a:lnTo>
                    <a:pt x="510" y="109"/>
                  </a:lnTo>
                  <a:lnTo>
                    <a:pt x="540" y="90"/>
                  </a:lnTo>
                  <a:lnTo>
                    <a:pt x="540" y="30"/>
                  </a:lnTo>
                  <a:lnTo>
                    <a:pt x="564" y="0"/>
                  </a:lnTo>
                  <a:lnTo>
                    <a:pt x="576" y="42"/>
                  </a:lnTo>
                  <a:lnTo>
                    <a:pt x="582" y="54"/>
                  </a:lnTo>
                  <a:lnTo>
                    <a:pt x="594" y="60"/>
                  </a:lnTo>
                  <a:lnTo>
                    <a:pt x="612" y="121"/>
                  </a:lnTo>
                  <a:lnTo>
                    <a:pt x="642" y="151"/>
                  </a:lnTo>
                  <a:lnTo>
                    <a:pt x="678" y="163"/>
                  </a:lnTo>
                  <a:lnTo>
                    <a:pt x="690" y="199"/>
                  </a:lnTo>
                  <a:lnTo>
                    <a:pt x="708" y="211"/>
                  </a:lnTo>
                  <a:lnTo>
                    <a:pt x="714" y="241"/>
                  </a:lnTo>
                  <a:lnTo>
                    <a:pt x="751" y="265"/>
                  </a:lnTo>
                  <a:lnTo>
                    <a:pt x="751" y="289"/>
                  </a:lnTo>
                  <a:lnTo>
                    <a:pt x="757" y="325"/>
                  </a:lnTo>
                  <a:lnTo>
                    <a:pt x="757" y="379"/>
                  </a:lnTo>
                  <a:lnTo>
                    <a:pt x="714" y="469"/>
                  </a:lnTo>
                  <a:lnTo>
                    <a:pt x="696" y="523"/>
                  </a:lnTo>
                  <a:lnTo>
                    <a:pt x="696" y="547"/>
                  </a:lnTo>
                  <a:lnTo>
                    <a:pt x="684" y="547"/>
                  </a:lnTo>
                  <a:lnTo>
                    <a:pt x="660" y="559"/>
                  </a:lnTo>
                  <a:lnTo>
                    <a:pt x="636" y="577"/>
                  </a:lnTo>
                  <a:lnTo>
                    <a:pt x="618" y="577"/>
                  </a:lnTo>
                  <a:lnTo>
                    <a:pt x="594" y="559"/>
                  </a:lnTo>
                  <a:lnTo>
                    <a:pt x="576" y="571"/>
                  </a:lnTo>
                  <a:lnTo>
                    <a:pt x="534" y="553"/>
                  </a:lnTo>
                  <a:lnTo>
                    <a:pt x="498" y="535"/>
                  </a:lnTo>
                  <a:lnTo>
                    <a:pt x="480" y="505"/>
                  </a:lnTo>
                  <a:lnTo>
                    <a:pt x="468" y="481"/>
                  </a:lnTo>
                  <a:lnTo>
                    <a:pt x="444" y="487"/>
                  </a:lnTo>
                  <a:lnTo>
                    <a:pt x="420" y="463"/>
                  </a:lnTo>
                  <a:lnTo>
                    <a:pt x="378" y="421"/>
                  </a:lnTo>
                  <a:lnTo>
                    <a:pt x="312" y="409"/>
                  </a:lnTo>
                  <a:lnTo>
                    <a:pt x="264" y="415"/>
                  </a:lnTo>
                  <a:lnTo>
                    <a:pt x="204" y="433"/>
                  </a:lnTo>
                  <a:lnTo>
                    <a:pt x="198" y="451"/>
                  </a:lnTo>
                  <a:lnTo>
                    <a:pt x="162" y="457"/>
                  </a:lnTo>
                  <a:lnTo>
                    <a:pt x="138" y="457"/>
                  </a:lnTo>
                  <a:lnTo>
                    <a:pt x="120" y="475"/>
                  </a:lnTo>
                  <a:lnTo>
                    <a:pt x="84" y="487"/>
                  </a:lnTo>
                  <a:lnTo>
                    <a:pt x="60" y="487"/>
                  </a:lnTo>
                  <a:lnTo>
                    <a:pt x="30" y="4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0" name="Freeform 269"/>
            <p:cNvSpPr>
              <a:spLocks/>
            </p:cNvSpPr>
            <p:nvPr/>
          </p:nvSpPr>
          <p:spPr bwMode="auto">
            <a:xfrm>
              <a:off x="7860905" y="5792010"/>
              <a:ext cx="87313" cy="119063"/>
            </a:xfrm>
            <a:custGeom>
              <a:avLst/>
              <a:gdLst>
                <a:gd name="T0" fmla="*/ 0 w 66"/>
                <a:gd name="T1" fmla="*/ 2147483646 h 91"/>
                <a:gd name="T2" fmla="*/ 2147483646 w 66"/>
                <a:gd name="T3" fmla="*/ 2147483646 h 91"/>
                <a:gd name="T4" fmla="*/ 2147483646 w 66"/>
                <a:gd name="T5" fmla="*/ 2147483646 h 91"/>
                <a:gd name="T6" fmla="*/ 2147483646 w 66"/>
                <a:gd name="T7" fmla="*/ 2147483646 h 91"/>
                <a:gd name="T8" fmla="*/ 2147483646 w 66"/>
                <a:gd name="T9" fmla="*/ 2147483646 h 91"/>
                <a:gd name="T10" fmla="*/ 2147483646 w 66"/>
                <a:gd name="T11" fmla="*/ 2147483646 h 91"/>
                <a:gd name="T12" fmla="*/ 2147483646 w 66"/>
                <a:gd name="T13" fmla="*/ 0 h 91"/>
                <a:gd name="T14" fmla="*/ 2147483646 w 66"/>
                <a:gd name="T15" fmla="*/ 2147483646 h 91"/>
                <a:gd name="T16" fmla="*/ 0 w 66"/>
                <a:gd name="T17" fmla="*/ 2147483646 h 9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91">
                  <a:moveTo>
                    <a:pt x="0" y="18"/>
                  </a:moveTo>
                  <a:lnTo>
                    <a:pt x="12" y="48"/>
                  </a:lnTo>
                  <a:lnTo>
                    <a:pt x="18" y="72"/>
                  </a:lnTo>
                  <a:lnTo>
                    <a:pt x="36" y="91"/>
                  </a:lnTo>
                  <a:lnTo>
                    <a:pt x="48" y="66"/>
                  </a:lnTo>
                  <a:lnTo>
                    <a:pt x="66" y="30"/>
                  </a:lnTo>
                  <a:lnTo>
                    <a:pt x="66" y="0"/>
                  </a:lnTo>
                  <a:lnTo>
                    <a:pt x="42" y="1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1" name="Freeform 321"/>
            <p:cNvSpPr>
              <a:spLocks/>
            </p:cNvSpPr>
            <p:nvPr/>
          </p:nvSpPr>
          <p:spPr bwMode="auto">
            <a:xfrm rot="300647">
              <a:off x="4034590" y="3478918"/>
              <a:ext cx="317897" cy="249276"/>
            </a:xfrm>
            <a:custGeom>
              <a:avLst/>
              <a:gdLst>
                <a:gd name="T0" fmla="*/ 2147483646 w 10000"/>
                <a:gd name="T1" fmla="*/ 2147483646 h 10009"/>
                <a:gd name="T2" fmla="*/ 2147483646 w 10000"/>
                <a:gd name="T3" fmla="*/ 2147483646 h 10009"/>
                <a:gd name="T4" fmla="*/ 2147483646 w 10000"/>
                <a:gd name="T5" fmla="*/ 2147483646 h 10009"/>
                <a:gd name="T6" fmla="*/ 2147483646 w 10000"/>
                <a:gd name="T7" fmla="*/ 2147483646 h 10009"/>
                <a:gd name="T8" fmla="*/ 2147483646 w 10000"/>
                <a:gd name="T9" fmla="*/ 2147483646 h 10009"/>
                <a:gd name="T10" fmla="*/ 2147483646 w 10000"/>
                <a:gd name="T11" fmla="*/ 2147483646 h 10009"/>
                <a:gd name="T12" fmla="*/ 2147483646 w 10000"/>
                <a:gd name="T13" fmla="*/ 2147483646 h 10009"/>
                <a:gd name="T14" fmla="*/ 2147483646 w 10000"/>
                <a:gd name="T15" fmla="*/ 2147483646 h 10009"/>
                <a:gd name="T16" fmla="*/ 2147483646 w 10000"/>
                <a:gd name="T17" fmla="*/ 2147483646 h 10009"/>
                <a:gd name="T18" fmla="*/ 2147483646 w 10000"/>
                <a:gd name="T19" fmla="*/ 2147483646 h 10009"/>
                <a:gd name="T20" fmla="*/ 0 w 10000"/>
                <a:gd name="T21" fmla="*/ 2147483646 h 10009"/>
                <a:gd name="T22" fmla="*/ 2147483646 w 10000"/>
                <a:gd name="T23" fmla="*/ 2147483646 h 10009"/>
                <a:gd name="T24" fmla="*/ 2147483646 w 10000"/>
                <a:gd name="T25" fmla="*/ 2147483646 h 10009"/>
                <a:gd name="T26" fmla="*/ 2147483646 w 10000"/>
                <a:gd name="T27" fmla="*/ 2147483646 h 10009"/>
                <a:gd name="T28" fmla="*/ 2147483646 w 10000"/>
                <a:gd name="T29" fmla="*/ 2147483646 h 10009"/>
                <a:gd name="T30" fmla="*/ 2147483646 w 10000"/>
                <a:gd name="T31" fmla="*/ 2147483646 h 10009"/>
                <a:gd name="T32" fmla="*/ 2147483646 w 10000"/>
                <a:gd name="T33" fmla="*/ 2147483646 h 10009"/>
                <a:gd name="T34" fmla="*/ 2147483646 w 10000"/>
                <a:gd name="T35" fmla="*/ 2147483646 h 10009"/>
                <a:gd name="T36" fmla="*/ 2147483646 w 10000"/>
                <a:gd name="T37" fmla="*/ 2147483646 h 10009"/>
                <a:gd name="T38" fmla="*/ 2147483646 w 10000"/>
                <a:gd name="T39" fmla="*/ 2147483646 h 10009"/>
                <a:gd name="T40" fmla="*/ 2147483646 w 10000"/>
                <a:gd name="T41" fmla="*/ 2147483646 h 10009"/>
                <a:gd name="T42" fmla="*/ 2147483646 w 10000"/>
                <a:gd name="T43" fmla="*/ 2147483646 h 10009"/>
                <a:gd name="T44" fmla="*/ 2147483646 w 10000"/>
                <a:gd name="T45" fmla="*/ 2147483646 h 10009"/>
                <a:gd name="T46" fmla="*/ 2147483646 w 10000"/>
                <a:gd name="T47" fmla="*/ 2147483646 h 10009"/>
                <a:gd name="T48" fmla="*/ 2147483646 w 10000"/>
                <a:gd name="T49" fmla="*/ 2147483646 h 10009"/>
                <a:gd name="T50" fmla="*/ 2147483646 w 10000"/>
                <a:gd name="T51" fmla="*/ 2147483646 h 10009"/>
                <a:gd name="T52" fmla="*/ 2147483646 w 10000"/>
                <a:gd name="T53" fmla="*/ 2147483646 h 10009"/>
                <a:gd name="T54" fmla="*/ 2147483646 w 10000"/>
                <a:gd name="T55" fmla="*/ 2147483646 h 10009"/>
                <a:gd name="T56" fmla="*/ 2147483646 w 10000"/>
                <a:gd name="T57" fmla="*/ 2147483646 h 10009"/>
                <a:gd name="T58" fmla="*/ 2147483646 w 10000"/>
                <a:gd name="T59" fmla="*/ 2147483646 h 10009"/>
                <a:gd name="T60" fmla="*/ 2147483646 w 10000"/>
                <a:gd name="T61" fmla="*/ 2147483646 h 10009"/>
                <a:gd name="T62" fmla="*/ 2147483646 w 10000"/>
                <a:gd name="T63" fmla="*/ 2147483646 h 10009"/>
                <a:gd name="T64" fmla="*/ 2147483646 w 10000"/>
                <a:gd name="T65" fmla="*/ 2147483646 h 10009"/>
                <a:gd name="T66" fmla="*/ 2147483646 w 10000"/>
                <a:gd name="T67" fmla="*/ 2147483646 h 10009"/>
                <a:gd name="T68" fmla="*/ 2147483646 w 10000"/>
                <a:gd name="T69" fmla="*/ 2147483646 h 10009"/>
                <a:gd name="T70" fmla="*/ 2147483646 w 10000"/>
                <a:gd name="T71" fmla="*/ 2147483646 h 10009"/>
                <a:gd name="T72" fmla="*/ 2147483646 w 10000"/>
                <a:gd name="T73" fmla="*/ 2147483646 h 10009"/>
                <a:gd name="T74" fmla="*/ 2147483646 w 10000"/>
                <a:gd name="T75" fmla="*/ 2147483646 h 10009"/>
                <a:gd name="T76" fmla="*/ 2147483646 w 10000"/>
                <a:gd name="T77" fmla="*/ 2147483646 h 10009"/>
                <a:gd name="T78" fmla="*/ 2147483646 w 10000"/>
                <a:gd name="T79" fmla="*/ 2147483646 h 10009"/>
                <a:gd name="T80" fmla="*/ 2147483646 w 10000"/>
                <a:gd name="T81" fmla="*/ 2147483646 h 1000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9">
                  <a:moveTo>
                    <a:pt x="9121" y="1479"/>
                  </a:moveTo>
                  <a:cubicBezTo>
                    <a:pt x="8949" y="1545"/>
                    <a:pt x="8960" y="1470"/>
                    <a:pt x="8734" y="1437"/>
                  </a:cubicBezTo>
                  <a:cubicBezTo>
                    <a:pt x="8508" y="1404"/>
                    <a:pt x="8010" y="1295"/>
                    <a:pt x="7765" y="1279"/>
                  </a:cubicBezTo>
                  <a:cubicBezTo>
                    <a:pt x="7520" y="1263"/>
                    <a:pt x="7390" y="1332"/>
                    <a:pt x="7261" y="1342"/>
                  </a:cubicBezTo>
                  <a:cubicBezTo>
                    <a:pt x="7132" y="1353"/>
                    <a:pt x="7098" y="1443"/>
                    <a:pt x="6991" y="1342"/>
                  </a:cubicBezTo>
                  <a:cubicBezTo>
                    <a:pt x="6884" y="1241"/>
                    <a:pt x="6742" y="937"/>
                    <a:pt x="6618" y="734"/>
                  </a:cubicBezTo>
                  <a:cubicBezTo>
                    <a:pt x="5577" y="492"/>
                    <a:pt x="4284" y="74"/>
                    <a:pt x="3495" y="9"/>
                  </a:cubicBezTo>
                  <a:cubicBezTo>
                    <a:pt x="2706" y="-56"/>
                    <a:pt x="2420" y="231"/>
                    <a:pt x="1882" y="342"/>
                  </a:cubicBezTo>
                  <a:lnTo>
                    <a:pt x="1345" y="9"/>
                  </a:lnTo>
                  <a:lnTo>
                    <a:pt x="806" y="342"/>
                  </a:lnTo>
                  <a:cubicBezTo>
                    <a:pt x="806" y="342"/>
                    <a:pt x="268" y="1009"/>
                    <a:pt x="0" y="1009"/>
                  </a:cubicBezTo>
                  <a:lnTo>
                    <a:pt x="538" y="2676"/>
                  </a:lnTo>
                  <a:lnTo>
                    <a:pt x="1076" y="2009"/>
                  </a:lnTo>
                  <a:lnTo>
                    <a:pt x="2151" y="2342"/>
                  </a:lnTo>
                  <a:lnTo>
                    <a:pt x="2421" y="2676"/>
                  </a:lnTo>
                  <a:lnTo>
                    <a:pt x="2688" y="3009"/>
                  </a:lnTo>
                  <a:cubicBezTo>
                    <a:pt x="2600" y="3342"/>
                    <a:pt x="2510" y="3676"/>
                    <a:pt x="2421" y="4009"/>
                  </a:cubicBezTo>
                  <a:cubicBezTo>
                    <a:pt x="2330" y="4565"/>
                    <a:pt x="2241" y="5120"/>
                    <a:pt x="2151" y="5676"/>
                  </a:cubicBezTo>
                  <a:cubicBezTo>
                    <a:pt x="2062" y="6009"/>
                    <a:pt x="1971" y="6343"/>
                    <a:pt x="1882" y="6676"/>
                  </a:cubicBezTo>
                  <a:lnTo>
                    <a:pt x="1882" y="7342"/>
                  </a:lnTo>
                  <a:cubicBezTo>
                    <a:pt x="1882" y="7482"/>
                    <a:pt x="1889" y="7241"/>
                    <a:pt x="1884" y="7517"/>
                  </a:cubicBezTo>
                  <a:cubicBezTo>
                    <a:pt x="1879" y="7793"/>
                    <a:pt x="1882" y="7594"/>
                    <a:pt x="1882" y="7676"/>
                  </a:cubicBezTo>
                  <a:lnTo>
                    <a:pt x="1882" y="8009"/>
                  </a:lnTo>
                  <a:cubicBezTo>
                    <a:pt x="1792" y="8342"/>
                    <a:pt x="1703" y="8676"/>
                    <a:pt x="1613" y="9009"/>
                  </a:cubicBezTo>
                  <a:lnTo>
                    <a:pt x="2151" y="9009"/>
                  </a:lnTo>
                  <a:lnTo>
                    <a:pt x="3227" y="10009"/>
                  </a:lnTo>
                  <a:lnTo>
                    <a:pt x="4840" y="9342"/>
                  </a:lnTo>
                  <a:lnTo>
                    <a:pt x="6453" y="9009"/>
                  </a:lnTo>
                  <a:lnTo>
                    <a:pt x="7261" y="7676"/>
                  </a:lnTo>
                  <a:lnTo>
                    <a:pt x="8067" y="6342"/>
                  </a:lnTo>
                  <a:cubicBezTo>
                    <a:pt x="8067" y="6120"/>
                    <a:pt x="7941" y="6082"/>
                    <a:pt x="8067" y="5676"/>
                  </a:cubicBezTo>
                  <a:cubicBezTo>
                    <a:pt x="8193" y="5270"/>
                    <a:pt x="8503" y="4112"/>
                    <a:pt x="8822" y="3908"/>
                  </a:cubicBezTo>
                  <a:cubicBezTo>
                    <a:pt x="9185" y="3676"/>
                    <a:pt x="9126" y="3756"/>
                    <a:pt x="9189" y="3701"/>
                  </a:cubicBezTo>
                  <a:cubicBezTo>
                    <a:pt x="9252" y="3646"/>
                    <a:pt x="9284" y="3569"/>
                    <a:pt x="9318" y="3593"/>
                  </a:cubicBezTo>
                  <a:cubicBezTo>
                    <a:pt x="9388" y="3534"/>
                    <a:pt x="9296" y="3577"/>
                    <a:pt x="9415" y="3493"/>
                  </a:cubicBezTo>
                  <a:cubicBezTo>
                    <a:pt x="9534" y="3409"/>
                    <a:pt x="9908" y="3137"/>
                    <a:pt x="9969" y="2847"/>
                  </a:cubicBezTo>
                  <a:cubicBezTo>
                    <a:pt x="10030" y="2557"/>
                    <a:pt x="10018" y="1949"/>
                    <a:pt x="9783" y="1752"/>
                  </a:cubicBezTo>
                  <a:cubicBezTo>
                    <a:pt x="9774" y="1701"/>
                    <a:pt x="9763" y="1649"/>
                    <a:pt x="9754" y="1598"/>
                  </a:cubicBezTo>
                  <a:cubicBezTo>
                    <a:pt x="9738" y="1593"/>
                    <a:pt x="9576" y="1599"/>
                    <a:pt x="9561" y="1594"/>
                  </a:cubicBezTo>
                  <a:lnTo>
                    <a:pt x="9121" y="147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2" name="Freeform 322"/>
            <p:cNvSpPr>
              <a:spLocks/>
            </p:cNvSpPr>
            <p:nvPr/>
          </p:nvSpPr>
          <p:spPr bwMode="auto">
            <a:xfrm rot="497474">
              <a:off x="4044226" y="3491059"/>
              <a:ext cx="79824" cy="175053"/>
            </a:xfrm>
            <a:custGeom>
              <a:avLst/>
              <a:gdLst>
                <a:gd name="T0" fmla="*/ 2147483646 w 10000"/>
                <a:gd name="T1" fmla="*/ 2147483646 h 10437"/>
                <a:gd name="T2" fmla="*/ 2147483646 w 10000"/>
                <a:gd name="T3" fmla="*/ 2147483646 h 10437"/>
                <a:gd name="T4" fmla="*/ 2147483646 w 10000"/>
                <a:gd name="T5" fmla="*/ 2147483646 h 10437"/>
                <a:gd name="T6" fmla="*/ 2147483646 w 10000"/>
                <a:gd name="T7" fmla="*/ 2147483646 h 10437"/>
                <a:gd name="T8" fmla="*/ 2147483646 w 10000"/>
                <a:gd name="T9" fmla="*/ 2147483646 h 10437"/>
                <a:gd name="T10" fmla="*/ 2147483646 w 10000"/>
                <a:gd name="T11" fmla="*/ 2147483646 h 10437"/>
                <a:gd name="T12" fmla="*/ 2147483646 w 10000"/>
                <a:gd name="T13" fmla="*/ 2147483646 h 10437"/>
                <a:gd name="T14" fmla="*/ 2147483646 w 10000"/>
                <a:gd name="T15" fmla="*/ 2147483646 h 10437"/>
                <a:gd name="T16" fmla="*/ 2147483646 w 10000"/>
                <a:gd name="T17" fmla="*/ 2147483646 h 10437"/>
                <a:gd name="T18" fmla="*/ 2147483646 w 10000"/>
                <a:gd name="T19" fmla="*/ 2147483646 h 10437"/>
                <a:gd name="T20" fmla="*/ 2147483646 w 10000"/>
                <a:gd name="T21" fmla="*/ 2147483646 h 10437"/>
                <a:gd name="T22" fmla="*/ 2147483646 w 10000"/>
                <a:gd name="T23" fmla="*/ 0 h 10437"/>
                <a:gd name="T24" fmla="*/ 1652181647 w 10000"/>
                <a:gd name="T25" fmla="*/ 2147483646 h 10437"/>
                <a:gd name="T26" fmla="*/ 1101414143 w 10000"/>
                <a:gd name="T27" fmla="*/ 2147483646 h 10437"/>
                <a:gd name="T28" fmla="*/ 680164610 w 10000"/>
                <a:gd name="T29" fmla="*/ 2147483646 h 10437"/>
                <a:gd name="T30" fmla="*/ 1101414143 w 10000"/>
                <a:gd name="T31" fmla="*/ 2147483646 h 10437"/>
                <a:gd name="T32" fmla="*/ 1101414143 w 10000"/>
                <a:gd name="T33" fmla="*/ 2147483646 h 10437"/>
                <a:gd name="T34" fmla="*/ 126118672 w 10000"/>
                <a:gd name="T35" fmla="*/ 2147483646 h 10437"/>
                <a:gd name="T36" fmla="*/ 0 w 10000"/>
                <a:gd name="T37" fmla="*/ 2147483646 h 10437"/>
                <a:gd name="T38" fmla="*/ 357975358 w 10000"/>
                <a:gd name="T39" fmla="*/ 2147483646 h 10437"/>
                <a:gd name="T40" fmla="*/ 1101414143 w 10000"/>
                <a:gd name="T41" fmla="*/ 2147483646 h 10437"/>
                <a:gd name="T42" fmla="*/ 623990471 w 10000"/>
                <a:gd name="T43" fmla="*/ 2147483646 h 10437"/>
                <a:gd name="T44" fmla="*/ 2147483646 w 10000"/>
                <a:gd name="T45" fmla="*/ 2147483646 h 10437"/>
                <a:gd name="T46" fmla="*/ 2147483646 w 10000"/>
                <a:gd name="T47" fmla="*/ 2147483646 h 10437"/>
                <a:gd name="T48" fmla="*/ 2147483646 w 10000"/>
                <a:gd name="T49" fmla="*/ 2147483646 h 10437"/>
                <a:gd name="T50" fmla="*/ 2147483646 w 10000"/>
                <a:gd name="T51" fmla="*/ 2147483646 h 104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000" h="10437">
                  <a:moveTo>
                    <a:pt x="7000" y="8110"/>
                  </a:moveTo>
                  <a:lnTo>
                    <a:pt x="7000" y="7638"/>
                  </a:lnTo>
                  <a:cubicBezTo>
                    <a:pt x="7083" y="7334"/>
                    <a:pt x="7165" y="7030"/>
                    <a:pt x="7248" y="6726"/>
                  </a:cubicBezTo>
                  <a:lnTo>
                    <a:pt x="8000" y="5748"/>
                  </a:lnTo>
                  <a:lnTo>
                    <a:pt x="8000" y="5276"/>
                  </a:lnTo>
                  <a:cubicBezTo>
                    <a:pt x="8101" y="4899"/>
                    <a:pt x="8203" y="4522"/>
                    <a:pt x="8304" y="4145"/>
                  </a:cubicBezTo>
                  <a:lnTo>
                    <a:pt x="9000" y="3386"/>
                  </a:lnTo>
                  <a:cubicBezTo>
                    <a:pt x="9050" y="3079"/>
                    <a:pt x="9101" y="2772"/>
                    <a:pt x="9151" y="2465"/>
                  </a:cubicBezTo>
                  <a:lnTo>
                    <a:pt x="10000" y="1496"/>
                  </a:lnTo>
                  <a:lnTo>
                    <a:pt x="9000" y="1024"/>
                  </a:lnTo>
                  <a:lnTo>
                    <a:pt x="8000" y="472"/>
                  </a:lnTo>
                  <a:lnTo>
                    <a:pt x="5000" y="0"/>
                  </a:lnTo>
                  <a:lnTo>
                    <a:pt x="3000" y="472"/>
                  </a:lnTo>
                  <a:lnTo>
                    <a:pt x="2000" y="1024"/>
                  </a:lnTo>
                  <a:lnTo>
                    <a:pt x="1235" y="1429"/>
                  </a:lnTo>
                  <a:lnTo>
                    <a:pt x="2000" y="2913"/>
                  </a:lnTo>
                  <a:lnTo>
                    <a:pt x="2000" y="4803"/>
                  </a:lnTo>
                  <a:lnTo>
                    <a:pt x="229" y="6206"/>
                  </a:lnTo>
                  <a:cubicBezTo>
                    <a:pt x="153" y="6526"/>
                    <a:pt x="76" y="6845"/>
                    <a:pt x="0" y="7165"/>
                  </a:cubicBezTo>
                  <a:lnTo>
                    <a:pt x="650" y="7719"/>
                  </a:lnTo>
                  <a:lnTo>
                    <a:pt x="2000" y="7638"/>
                  </a:lnTo>
                  <a:lnTo>
                    <a:pt x="1133" y="10397"/>
                  </a:lnTo>
                  <a:lnTo>
                    <a:pt x="6483" y="10437"/>
                  </a:lnTo>
                  <a:cubicBezTo>
                    <a:pt x="6656" y="10000"/>
                    <a:pt x="7005" y="9867"/>
                    <a:pt x="7178" y="9430"/>
                  </a:cubicBezTo>
                  <a:cubicBezTo>
                    <a:pt x="7119" y="9305"/>
                    <a:pt x="7059" y="9180"/>
                    <a:pt x="7000" y="9055"/>
                  </a:cubicBezTo>
                  <a:lnTo>
                    <a:pt x="7000" y="81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342"/>
            <p:cNvSpPr>
              <a:spLocks/>
            </p:cNvSpPr>
            <p:nvPr/>
          </p:nvSpPr>
          <p:spPr bwMode="auto">
            <a:xfrm rot="21317764">
              <a:off x="4176500" y="3233923"/>
              <a:ext cx="304800" cy="293688"/>
            </a:xfrm>
            <a:custGeom>
              <a:avLst/>
              <a:gdLst>
                <a:gd name="T0" fmla="*/ 2147483646 w 10043"/>
                <a:gd name="T1" fmla="*/ 2147483646 h 10000"/>
                <a:gd name="T2" fmla="*/ 2147483646 w 10043"/>
                <a:gd name="T3" fmla="*/ 2147483646 h 10000"/>
                <a:gd name="T4" fmla="*/ 2147483646 w 10043"/>
                <a:gd name="T5" fmla="*/ 2147483646 h 10000"/>
                <a:gd name="T6" fmla="*/ 2147483646 w 10043"/>
                <a:gd name="T7" fmla="*/ 2147483646 h 10000"/>
                <a:gd name="T8" fmla="*/ 2147483646 w 10043"/>
                <a:gd name="T9" fmla="*/ 2147483646 h 10000"/>
                <a:gd name="T10" fmla="*/ 2147483646 w 10043"/>
                <a:gd name="T11" fmla="*/ 2147483646 h 10000"/>
                <a:gd name="T12" fmla="*/ 2147483646 w 10043"/>
                <a:gd name="T13" fmla="*/ 2147483646 h 10000"/>
                <a:gd name="T14" fmla="*/ 2147483646 w 10043"/>
                <a:gd name="T15" fmla="*/ 2147483646 h 10000"/>
                <a:gd name="T16" fmla="*/ 2147483646 w 10043"/>
                <a:gd name="T17" fmla="*/ 2147483646 h 10000"/>
                <a:gd name="T18" fmla="*/ 2147483646 w 10043"/>
                <a:gd name="T19" fmla="*/ 2147483646 h 10000"/>
                <a:gd name="T20" fmla="*/ 2147483646 w 10043"/>
                <a:gd name="T21" fmla="*/ 2147483646 h 10000"/>
                <a:gd name="T22" fmla="*/ 2147483646 w 10043"/>
                <a:gd name="T23" fmla="*/ 2147483646 h 10000"/>
                <a:gd name="T24" fmla="*/ 2147483646 w 10043"/>
                <a:gd name="T25" fmla="*/ 2147483646 h 10000"/>
                <a:gd name="T26" fmla="*/ 2147483646 w 10043"/>
                <a:gd name="T27" fmla="*/ 2147483646 h 10000"/>
                <a:gd name="T28" fmla="*/ 2147483646 w 10043"/>
                <a:gd name="T29" fmla="*/ 2147483646 h 10000"/>
                <a:gd name="T30" fmla="*/ 2147483646 w 10043"/>
                <a:gd name="T31" fmla="*/ 2147483646 h 10000"/>
                <a:gd name="T32" fmla="*/ 2147483646 w 10043"/>
                <a:gd name="T33" fmla="*/ 2147483646 h 10000"/>
                <a:gd name="T34" fmla="*/ 2147483646 w 10043"/>
                <a:gd name="T35" fmla="*/ 2147483646 h 10000"/>
                <a:gd name="T36" fmla="*/ 2147483646 w 10043"/>
                <a:gd name="T37" fmla="*/ 2147483646 h 10000"/>
                <a:gd name="T38" fmla="*/ 2147483646 w 10043"/>
                <a:gd name="T39" fmla="*/ 2147483646 h 10000"/>
                <a:gd name="T40" fmla="*/ 2147483646 w 10043"/>
                <a:gd name="T41" fmla="*/ 0 h 10000"/>
                <a:gd name="T42" fmla="*/ 2147483646 w 10043"/>
                <a:gd name="T43" fmla="*/ 2147483646 h 10000"/>
                <a:gd name="T44" fmla="*/ 2147483646 w 10043"/>
                <a:gd name="T45" fmla="*/ 2147483646 h 10000"/>
                <a:gd name="T46" fmla="*/ 2147483646 w 10043"/>
                <a:gd name="T47" fmla="*/ 2147483646 h 10000"/>
                <a:gd name="T48" fmla="*/ 2147483646 w 10043"/>
                <a:gd name="T49" fmla="*/ 2147483646 h 10000"/>
                <a:gd name="T50" fmla="*/ 2147483646 w 10043"/>
                <a:gd name="T51" fmla="*/ 2147483646 h 10000"/>
                <a:gd name="T52" fmla="*/ 2147483646 w 10043"/>
                <a:gd name="T53" fmla="*/ 2147483646 h 10000"/>
                <a:gd name="T54" fmla="*/ 2147483646 w 10043"/>
                <a:gd name="T55" fmla="*/ 2147483646 h 10000"/>
                <a:gd name="T56" fmla="*/ 2147483646 w 10043"/>
                <a:gd name="T57" fmla="*/ 2147483646 h 10000"/>
                <a:gd name="T58" fmla="*/ 2147483646 w 10043"/>
                <a:gd name="T59" fmla="*/ 2147483646 h 10000"/>
                <a:gd name="T60" fmla="*/ 2147483646 w 10043"/>
                <a:gd name="T61" fmla="*/ 2147483646 h 10000"/>
                <a:gd name="T62" fmla="*/ 2147483646 w 10043"/>
                <a:gd name="T63" fmla="*/ 2147483646 h 10000"/>
                <a:gd name="T64" fmla="*/ 2147483646 w 10043"/>
                <a:gd name="T65" fmla="*/ 2147483646 h 10000"/>
                <a:gd name="T66" fmla="*/ 2147483646 w 10043"/>
                <a:gd name="T67" fmla="*/ 2147483646 h 10000"/>
                <a:gd name="T68" fmla="*/ 2147483646 w 10043"/>
                <a:gd name="T69" fmla="*/ 2147483646 h 10000"/>
                <a:gd name="T70" fmla="*/ 2147483646 w 10043"/>
                <a:gd name="T71" fmla="*/ 2147483646 h 10000"/>
                <a:gd name="T72" fmla="*/ 2147483646 w 10043"/>
                <a:gd name="T73" fmla="*/ 2147483646 h 10000"/>
                <a:gd name="T74" fmla="*/ 2147483646 w 10043"/>
                <a:gd name="T75" fmla="*/ 2147483646 h 10000"/>
                <a:gd name="T76" fmla="*/ 2147483646 w 10043"/>
                <a:gd name="T77" fmla="*/ 2147483646 h 10000"/>
                <a:gd name="T78" fmla="*/ 2147483646 w 10043"/>
                <a:gd name="T79" fmla="*/ 2147483646 h 10000"/>
                <a:gd name="T80" fmla="*/ 2147483646 w 10043"/>
                <a:gd name="T81" fmla="*/ 2147483646 h 10000"/>
                <a:gd name="T82" fmla="*/ 2147483646 w 10043"/>
                <a:gd name="T83" fmla="*/ 2147483646 h 10000"/>
                <a:gd name="T84" fmla="*/ 2147483646 w 10043"/>
                <a:gd name="T85" fmla="*/ 2147483646 h 10000"/>
                <a:gd name="T86" fmla="*/ 2147483646 w 10043"/>
                <a:gd name="T87" fmla="*/ 2147483646 h 10000"/>
                <a:gd name="T88" fmla="*/ 2147483646 w 10043"/>
                <a:gd name="T89" fmla="*/ 2147483646 h 10000"/>
                <a:gd name="T90" fmla="*/ 2147483646 w 10043"/>
                <a:gd name="T91" fmla="*/ 2147483646 h 10000"/>
                <a:gd name="T92" fmla="*/ 2147483646 w 10043"/>
                <a:gd name="T93" fmla="*/ 2147483646 h 10000"/>
                <a:gd name="T94" fmla="*/ 2147483646 w 10043"/>
                <a:gd name="T95" fmla="*/ 2147483646 h 10000"/>
                <a:gd name="T96" fmla="*/ 2147483646 w 10043"/>
                <a:gd name="T97" fmla="*/ 2147483646 h 10000"/>
                <a:gd name="T98" fmla="*/ 2147483646 w 10043"/>
                <a:gd name="T99" fmla="*/ 2147483646 h 10000"/>
                <a:gd name="T100" fmla="*/ 2147483646 w 10043"/>
                <a:gd name="T101" fmla="*/ 2147483646 h 10000"/>
                <a:gd name="T102" fmla="*/ 2147483646 w 10043"/>
                <a:gd name="T103" fmla="*/ 2147483646 h 10000"/>
                <a:gd name="T104" fmla="*/ 2147483646 w 10043"/>
                <a:gd name="T105" fmla="*/ 2147483646 h 10000"/>
                <a:gd name="T106" fmla="*/ 2147483646 w 10043"/>
                <a:gd name="T107" fmla="*/ 2147483646 h 10000"/>
                <a:gd name="T108" fmla="*/ 2147483646 w 10043"/>
                <a:gd name="T109" fmla="*/ 2147483646 h 10000"/>
                <a:gd name="T110" fmla="*/ 2147483646 w 10043"/>
                <a:gd name="T111" fmla="*/ 2147483646 h 10000"/>
                <a:gd name="T112" fmla="*/ 2147483646 w 10043"/>
                <a:gd name="T113" fmla="*/ 2147483646 h 10000"/>
                <a:gd name="T114" fmla="*/ 2147483646 w 10043"/>
                <a:gd name="T115" fmla="*/ 2147483646 h 10000"/>
                <a:gd name="T116" fmla="*/ 2147483646 w 10043"/>
                <a:gd name="T117" fmla="*/ 2147483646 h 10000"/>
                <a:gd name="T118" fmla="*/ 2147483646 w 10043"/>
                <a:gd name="T119" fmla="*/ 2147483646 h 10000"/>
                <a:gd name="T120" fmla="*/ 2147483646 w 10043"/>
                <a:gd name="T121" fmla="*/ 2147483646 h 1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43" h="10000">
                  <a:moveTo>
                    <a:pt x="9119" y="7195"/>
                  </a:moveTo>
                  <a:cubicBezTo>
                    <a:pt x="9204" y="7033"/>
                    <a:pt x="9249" y="6746"/>
                    <a:pt x="9276" y="6559"/>
                  </a:cubicBezTo>
                  <a:cubicBezTo>
                    <a:pt x="9302" y="6372"/>
                    <a:pt x="9276" y="6235"/>
                    <a:pt x="9276" y="6074"/>
                  </a:cubicBezTo>
                  <a:cubicBezTo>
                    <a:pt x="9191" y="5911"/>
                    <a:pt x="9105" y="5750"/>
                    <a:pt x="9020" y="5588"/>
                  </a:cubicBezTo>
                  <a:cubicBezTo>
                    <a:pt x="8849" y="5588"/>
                    <a:pt x="8579" y="5641"/>
                    <a:pt x="8508" y="5588"/>
                  </a:cubicBezTo>
                  <a:cubicBezTo>
                    <a:pt x="8437" y="5534"/>
                    <a:pt x="8566" y="5375"/>
                    <a:pt x="8596" y="5268"/>
                  </a:cubicBezTo>
                  <a:cubicBezTo>
                    <a:pt x="8822" y="4969"/>
                    <a:pt x="9120" y="4562"/>
                    <a:pt x="9276" y="4373"/>
                  </a:cubicBezTo>
                  <a:cubicBezTo>
                    <a:pt x="9431" y="4183"/>
                    <a:pt x="9446" y="4210"/>
                    <a:pt x="9531" y="4129"/>
                  </a:cubicBezTo>
                  <a:lnTo>
                    <a:pt x="9531" y="3158"/>
                  </a:lnTo>
                  <a:lnTo>
                    <a:pt x="10043" y="2672"/>
                  </a:lnTo>
                  <a:lnTo>
                    <a:pt x="9276" y="2429"/>
                  </a:lnTo>
                  <a:lnTo>
                    <a:pt x="8764" y="2186"/>
                  </a:lnTo>
                  <a:lnTo>
                    <a:pt x="7996" y="1943"/>
                  </a:lnTo>
                  <a:lnTo>
                    <a:pt x="7741" y="1700"/>
                  </a:lnTo>
                  <a:lnTo>
                    <a:pt x="7229" y="1457"/>
                  </a:lnTo>
                  <a:lnTo>
                    <a:pt x="6717" y="1215"/>
                  </a:lnTo>
                  <a:lnTo>
                    <a:pt x="6461" y="729"/>
                  </a:lnTo>
                  <a:lnTo>
                    <a:pt x="5950" y="486"/>
                  </a:lnTo>
                  <a:lnTo>
                    <a:pt x="5694" y="0"/>
                  </a:lnTo>
                  <a:lnTo>
                    <a:pt x="5182" y="243"/>
                  </a:lnTo>
                  <a:lnTo>
                    <a:pt x="4671" y="1215"/>
                  </a:lnTo>
                  <a:cubicBezTo>
                    <a:pt x="4586" y="1296"/>
                    <a:pt x="4545" y="1311"/>
                    <a:pt x="4415" y="1457"/>
                  </a:cubicBezTo>
                  <a:cubicBezTo>
                    <a:pt x="4285" y="1603"/>
                    <a:pt x="4129" y="1996"/>
                    <a:pt x="3890" y="2092"/>
                  </a:cubicBezTo>
                  <a:cubicBezTo>
                    <a:pt x="3651" y="2188"/>
                    <a:pt x="3168" y="2108"/>
                    <a:pt x="2979" y="2034"/>
                  </a:cubicBezTo>
                  <a:cubicBezTo>
                    <a:pt x="2790" y="1960"/>
                    <a:pt x="2862" y="1718"/>
                    <a:pt x="2757" y="1649"/>
                  </a:cubicBezTo>
                  <a:cubicBezTo>
                    <a:pt x="2652" y="1580"/>
                    <a:pt x="2418" y="1522"/>
                    <a:pt x="2348" y="1621"/>
                  </a:cubicBezTo>
                  <a:cubicBezTo>
                    <a:pt x="2279" y="1720"/>
                    <a:pt x="2337" y="2029"/>
                    <a:pt x="2340" y="2245"/>
                  </a:cubicBezTo>
                  <a:cubicBezTo>
                    <a:pt x="2343" y="2461"/>
                    <a:pt x="2491" y="2803"/>
                    <a:pt x="2368" y="2915"/>
                  </a:cubicBezTo>
                  <a:cubicBezTo>
                    <a:pt x="2245" y="3027"/>
                    <a:pt x="1781" y="2985"/>
                    <a:pt x="1601" y="2915"/>
                  </a:cubicBezTo>
                  <a:cubicBezTo>
                    <a:pt x="1421" y="2845"/>
                    <a:pt x="1442" y="2545"/>
                    <a:pt x="1289" y="2497"/>
                  </a:cubicBezTo>
                  <a:cubicBezTo>
                    <a:pt x="1136" y="2449"/>
                    <a:pt x="893" y="2584"/>
                    <a:pt x="684" y="2625"/>
                  </a:cubicBezTo>
                  <a:cubicBezTo>
                    <a:pt x="475" y="2666"/>
                    <a:pt x="131" y="2638"/>
                    <a:pt x="33" y="2742"/>
                  </a:cubicBezTo>
                  <a:cubicBezTo>
                    <a:pt x="-65" y="2846"/>
                    <a:pt x="82" y="3088"/>
                    <a:pt x="94" y="3251"/>
                  </a:cubicBezTo>
                  <a:cubicBezTo>
                    <a:pt x="106" y="3414"/>
                    <a:pt x="-17" y="3533"/>
                    <a:pt x="105" y="3720"/>
                  </a:cubicBezTo>
                  <a:cubicBezTo>
                    <a:pt x="228" y="3907"/>
                    <a:pt x="584" y="4264"/>
                    <a:pt x="833" y="4373"/>
                  </a:cubicBezTo>
                  <a:cubicBezTo>
                    <a:pt x="1082" y="4481"/>
                    <a:pt x="1345" y="4373"/>
                    <a:pt x="1601" y="4373"/>
                  </a:cubicBezTo>
                  <a:lnTo>
                    <a:pt x="1856" y="4616"/>
                  </a:lnTo>
                  <a:lnTo>
                    <a:pt x="1856" y="4859"/>
                  </a:lnTo>
                  <a:lnTo>
                    <a:pt x="2112" y="5345"/>
                  </a:lnTo>
                  <a:cubicBezTo>
                    <a:pt x="2197" y="5588"/>
                    <a:pt x="2283" y="5831"/>
                    <a:pt x="2368" y="6074"/>
                  </a:cubicBezTo>
                  <a:lnTo>
                    <a:pt x="2624" y="6316"/>
                  </a:lnTo>
                  <a:cubicBezTo>
                    <a:pt x="2624" y="6559"/>
                    <a:pt x="2696" y="6675"/>
                    <a:pt x="2624" y="7045"/>
                  </a:cubicBezTo>
                  <a:cubicBezTo>
                    <a:pt x="2551" y="7414"/>
                    <a:pt x="2272" y="8240"/>
                    <a:pt x="2188" y="8533"/>
                  </a:cubicBezTo>
                  <a:cubicBezTo>
                    <a:pt x="2104" y="8826"/>
                    <a:pt x="2064" y="8649"/>
                    <a:pt x="2118" y="8804"/>
                  </a:cubicBezTo>
                  <a:cubicBezTo>
                    <a:pt x="2173" y="8958"/>
                    <a:pt x="2390" y="9351"/>
                    <a:pt x="2516" y="9462"/>
                  </a:cubicBezTo>
                  <a:cubicBezTo>
                    <a:pt x="2643" y="9574"/>
                    <a:pt x="2734" y="9472"/>
                    <a:pt x="2880" y="9474"/>
                  </a:cubicBezTo>
                  <a:cubicBezTo>
                    <a:pt x="3025" y="9476"/>
                    <a:pt x="3220" y="9474"/>
                    <a:pt x="3391" y="9474"/>
                  </a:cubicBezTo>
                  <a:lnTo>
                    <a:pt x="4159" y="9717"/>
                  </a:lnTo>
                  <a:lnTo>
                    <a:pt x="4671" y="9717"/>
                  </a:lnTo>
                  <a:lnTo>
                    <a:pt x="5438" y="9960"/>
                  </a:lnTo>
                  <a:cubicBezTo>
                    <a:pt x="5609" y="9960"/>
                    <a:pt x="5793" y="10051"/>
                    <a:pt x="5950" y="9960"/>
                  </a:cubicBezTo>
                  <a:cubicBezTo>
                    <a:pt x="6106" y="9870"/>
                    <a:pt x="6222" y="9506"/>
                    <a:pt x="6375" y="9413"/>
                  </a:cubicBezTo>
                  <a:cubicBezTo>
                    <a:pt x="6529" y="9321"/>
                    <a:pt x="6594" y="9367"/>
                    <a:pt x="6869" y="9401"/>
                  </a:cubicBezTo>
                  <a:cubicBezTo>
                    <a:pt x="7143" y="9436"/>
                    <a:pt x="7722" y="9569"/>
                    <a:pt x="8022" y="9625"/>
                  </a:cubicBezTo>
                  <a:cubicBezTo>
                    <a:pt x="8322" y="9682"/>
                    <a:pt x="8393" y="9858"/>
                    <a:pt x="8668" y="9743"/>
                  </a:cubicBezTo>
                  <a:cubicBezTo>
                    <a:pt x="8942" y="9628"/>
                    <a:pt x="9580" y="8937"/>
                    <a:pt x="9665" y="8937"/>
                  </a:cubicBezTo>
                  <a:lnTo>
                    <a:pt x="9079" y="8091"/>
                  </a:lnTo>
                  <a:cubicBezTo>
                    <a:pt x="9008" y="7886"/>
                    <a:pt x="8985" y="7957"/>
                    <a:pt x="8942" y="7836"/>
                  </a:cubicBezTo>
                  <a:cubicBezTo>
                    <a:pt x="8899" y="7714"/>
                    <a:pt x="9114" y="7387"/>
                    <a:pt x="9119" y="719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343"/>
            <p:cNvSpPr>
              <a:spLocks/>
            </p:cNvSpPr>
            <p:nvPr/>
          </p:nvSpPr>
          <p:spPr bwMode="auto">
            <a:xfrm>
              <a:off x="4433012" y="3381375"/>
              <a:ext cx="311150" cy="315912"/>
            </a:xfrm>
            <a:custGeom>
              <a:avLst/>
              <a:gdLst>
                <a:gd name="T0" fmla="*/ 2147483646 w 154"/>
                <a:gd name="T1" fmla="*/ 2147483646 h 154"/>
                <a:gd name="T2" fmla="*/ 2147483646 w 154"/>
                <a:gd name="T3" fmla="*/ 0 h 154"/>
                <a:gd name="T4" fmla="*/ 2147483646 w 154"/>
                <a:gd name="T5" fmla="*/ 0 h 154"/>
                <a:gd name="T6" fmla="*/ 2147483646 w 154"/>
                <a:gd name="T7" fmla="*/ 2147483646 h 154"/>
                <a:gd name="T8" fmla="*/ 2147483646 w 154"/>
                <a:gd name="T9" fmla="*/ 2147483646 h 154"/>
                <a:gd name="T10" fmla="*/ 2147483646 w 154"/>
                <a:gd name="T11" fmla="*/ 2147483646 h 154"/>
                <a:gd name="T12" fmla="*/ 2147483646 w 154"/>
                <a:gd name="T13" fmla="*/ 2147483646 h 154"/>
                <a:gd name="T14" fmla="*/ 2147483646 w 154"/>
                <a:gd name="T15" fmla="*/ 2147483646 h 154"/>
                <a:gd name="T16" fmla="*/ 2147483646 w 154"/>
                <a:gd name="T17" fmla="*/ 2147483646 h 154"/>
                <a:gd name="T18" fmla="*/ 2147483646 w 154"/>
                <a:gd name="T19" fmla="*/ 2147483646 h 154"/>
                <a:gd name="T20" fmla="*/ 2147483646 w 154"/>
                <a:gd name="T21" fmla="*/ 2147483646 h 154"/>
                <a:gd name="T22" fmla="*/ 0 w 154"/>
                <a:gd name="T23" fmla="*/ 2147483646 h 154"/>
                <a:gd name="T24" fmla="*/ 2147483646 w 154"/>
                <a:gd name="T25" fmla="*/ 2147483646 h 154"/>
                <a:gd name="T26" fmla="*/ 2147483646 w 154"/>
                <a:gd name="T27" fmla="*/ 2147483646 h 154"/>
                <a:gd name="T28" fmla="*/ 2147483646 w 154"/>
                <a:gd name="T29" fmla="*/ 2147483646 h 154"/>
                <a:gd name="T30" fmla="*/ 2147483646 w 154"/>
                <a:gd name="T31" fmla="*/ 2147483646 h 154"/>
                <a:gd name="T32" fmla="*/ 2147483646 w 154"/>
                <a:gd name="T33" fmla="*/ 2147483646 h 154"/>
                <a:gd name="T34" fmla="*/ 2147483646 w 154"/>
                <a:gd name="T35" fmla="*/ 2147483646 h 154"/>
                <a:gd name="T36" fmla="*/ 2147483646 w 154"/>
                <a:gd name="T37" fmla="*/ 2147483646 h 154"/>
                <a:gd name="T38" fmla="*/ 2147483646 w 154"/>
                <a:gd name="T39" fmla="*/ 2147483646 h 154"/>
                <a:gd name="T40" fmla="*/ 2147483646 w 154"/>
                <a:gd name="T41" fmla="*/ 2147483646 h 154"/>
                <a:gd name="T42" fmla="*/ 2147483646 w 154"/>
                <a:gd name="T43" fmla="*/ 2147483646 h 154"/>
                <a:gd name="T44" fmla="*/ 2147483646 w 154"/>
                <a:gd name="T45" fmla="*/ 2147483646 h 154"/>
                <a:gd name="T46" fmla="*/ 2147483646 w 154"/>
                <a:gd name="T47" fmla="*/ 2147483646 h 154"/>
                <a:gd name="T48" fmla="*/ 2147483646 w 154"/>
                <a:gd name="T49" fmla="*/ 2147483646 h 154"/>
                <a:gd name="T50" fmla="*/ 2147483646 w 154"/>
                <a:gd name="T51" fmla="*/ 2147483646 h 154"/>
                <a:gd name="T52" fmla="*/ 2147483646 w 154"/>
                <a:gd name="T53" fmla="*/ 2147483646 h 154"/>
                <a:gd name="T54" fmla="*/ 2147483646 w 154"/>
                <a:gd name="T55" fmla="*/ 2147483646 h 154"/>
                <a:gd name="T56" fmla="*/ 2147483646 w 154"/>
                <a:gd name="T57" fmla="*/ 2147483646 h 154"/>
                <a:gd name="T58" fmla="*/ 2147483646 w 154"/>
                <a:gd name="T59" fmla="*/ 2147483646 h 154"/>
                <a:gd name="T60" fmla="*/ 2147483646 w 154"/>
                <a:gd name="T61" fmla="*/ 2147483646 h 154"/>
                <a:gd name="T62" fmla="*/ 2147483646 w 154"/>
                <a:gd name="T63" fmla="*/ 2147483646 h 154"/>
                <a:gd name="T64" fmla="*/ 2147483646 w 154"/>
                <a:gd name="T65" fmla="*/ 2147483646 h 154"/>
                <a:gd name="T66" fmla="*/ 2147483646 w 154"/>
                <a:gd name="T67" fmla="*/ 2147483646 h 1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4" h="154">
                  <a:moveTo>
                    <a:pt x="87" y="4"/>
                  </a:moveTo>
                  <a:lnTo>
                    <a:pt x="71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6" y="4"/>
                  </a:lnTo>
                  <a:lnTo>
                    <a:pt x="37" y="8"/>
                  </a:lnTo>
                  <a:lnTo>
                    <a:pt x="25" y="12"/>
                  </a:lnTo>
                  <a:lnTo>
                    <a:pt x="21" y="8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25"/>
                  </a:lnTo>
                  <a:lnTo>
                    <a:pt x="0" y="33"/>
                  </a:lnTo>
                  <a:lnTo>
                    <a:pt x="4" y="45"/>
                  </a:lnTo>
                  <a:lnTo>
                    <a:pt x="12" y="54"/>
                  </a:lnTo>
                  <a:lnTo>
                    <a:pt x="21" y="45"/>
                  </a:lnTo>
                  <a:lnTo>
                    <a:pt x="42" y="54"/>
                  </a:lnTo>
                  <a:lnTo>
                    <a:pt x="54" y="78"/>
                  </a:lnTo>
                  <a:lnTo>
                    <a:pt x="67" y="95"/>
                  </a:lnTo>
                  <a:lnTo>
                    <a:pt x="96" y="112"/>
                  </a:lnTo>
                  <a:lnTo>
                    <a:pt x="114" y="126"/>
                  </a:lnTo>
                  <a:lnTo>
                    <a:pt x="106" y="154"/>
                  </a:lnTo>
                  <a:lnTo>
                    <a:pt x="133" y="133"/>
                  </a:lnTo>
                  <a:lnTo>
                    <a:pt x="133" y="120"/>
                  </a:lnTo>
                  <a:lnTo>
                    <a:pt x="146" y="124"/>
                  </a:lnTo>
                  <a:lnTo>
                    <a:pt x="154" y="124"/>
                  </a:lnTo>
                  <a:lnTo>
                    <a:pt x="133" y="104"/>
                  </a:lnTo>
                  <a:lnTo>
                    <a:pt x="117" y="91"/>
                  </a:lnTo>
                  <a:lnTo>
                    <a:pt x="104" y="87"/>
                  </a:lnTo>
                  <a:lnTo>
                    <a:pt x="87" y="58"/>
                  </a:lnTo>
                  <a:lnTo>
                    <a:pt x="79" y="41"/>
                  </a:lnTo>
                  <a:lnTo>
                    <a:pt x="83" y="25"/>
                  </a:lnTo>
                  <a:lnTo>
                    <a:pt x="87" y="25"/>
                  </a:lnTo>
                  <a:lnTo>
                    <a:pt x="87" y="16"/>
                  </a:lnTo>
                  <a:lnTo>
                    <a:pt x="87" y="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57"/>
            <p:cNvSpPr>
              <a:spLocks/>
            </p:cNvSpPr>
            <p:nvPr/>
          </p:nvSpPr>
          <p:spPr bwMode="auto">
            <a:xfrm>
              <a:off x="4047664" y="3049586"/>
              <a:ext cx="109537" cy="163513"/>
            </a:xfrm>
            <a:custGeom>
              <a:avLst/>
              <a:gdLst>
                <a:gd name="T0" fmla="*/ 2147483646 w 84"/>
                <a:gd name="T1" fmla="*/ 2147483646 h 126"/>
                <a:gd name="T2" fmla="*/ 0 w 84"/>
                <a:gd name="T3" fmla="*/ 2147483646 h 126"/>
                <a:gd name="T4" fmla="*/ 0 w 84"/>
                <a:gd name="T5" fmla="*/ 2147483646 h 126"/>
                <a:gd name="T6" fmla="*/ 2147483646 w 84"/>
                <a:gd name="T7" fmla="*/ 2147483646 h 126"/>
                <a:gd name="T8" fmla="*/ 2147483646 w 84"/>
                <a:gd name="T9" fmla="*/ 2147483646 h 126"/>
                <a:gd name="T10" fmla="*/ 2147483646 w 84"/>
                <a:gd name="T11" fmla="*/ 2147483646 h 126"/>
                <a:gd name="T12" fmla="*/ 2147483646 w 84"/>
                <a:gd name="T13" fmla="*/ 2147483646 h 126"/>
                <a:gd name="T14" fmla="*/ 2147483646 w 84"/>
                <a:gd name="T15" fmla="*/ 2147483646 h 126"/>
                <a:gd name="T16" fmla="*/ 2147483646 w 84"/>
                <a:gd name="T17" fmla="*/ 2147483646 h 126"/>
                <a:gd name="T18" fmla="*/ 2147483646 w 84"/>
                <a:gd name="T19" fmla="*/ 2147483646 h 126"/>
                <a:gd name="T20" fmla="*/ 2147483646 w 84"/>
                <a:gd name="T21" fmla="*/ 2147483646 h 126"/>
                <a:gd name="T22" fmla="*/ 2147483646 w 84"/>
                <a:gd name="T23" fmla="*/ 0 h 126"/>
                <a:gd name="T24" fmla="*/ 2147483646 w 84"/>
                <a:gd name="T25" fmla="*/ 2147483646 h 126"/>
                <a:gd name="T26" fmla="*/ 2147483646 w 84"/>
                <a:gd name="T27" fmla="*/ 2147483646 h 126"/>
                <a:gd name="T28" fmla="*/ 2147483646 w 84"/>
                <a:gd name="T29" fmla="*/ 2147483646 h 126"/>
                <a:gd name="T30" fmla="*/ 2147483646 w 84"/>
                <a:gd name="T31" fmla="*/ 2147483646 h 126"/>
                <a:gd name="T32" fmla="*/ 2147483646 w 84"/>
                <a:gd name="T33" fmla="*/ 2147483646 h 126"/>
                <a:gd name="T34" fmla="*/ 2147483646 w 84"/>
                <a:gd name="T35" fmla="*/ 2147483646 h 126"/>
                <a:gd name="T36" fmla="*/ 2147483646 w 84"/>
                <a:gd name="T37" fmla="*/ 2147483646 h 126"/>
                <a:gd name="T38" fmla="*/ 2147483646 w 84"/>
                <a:gd name="T39" fmla="*/ 2147483646 h 126"/>
                <a:gd name="T40" fmla="*/ 2147483646 w 84"/>
                <a:gd name="T41" fmla="*/ 2147483646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4" h="126">
                  <a:moveTo>
                    <a:pt x="18" y="126"/>
                  </a:moveTo>
                  <a:lnTo>
                    <a:pt x="0" y="114"/>
                  </a:lnTo>
                  <a:lnTo>
                    <a:pt x="0" y="102"/>
                  </a:lnTo>
                  <a:lnTo>
                    <a:pt x="6" y="96"/>
                  </a:lnTo>
                  <a:lnTo>
                    <a:pt x="12" y="84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18"/>
                  </a:lnTo>
                  <a:lnTo>
                    <a:pt x="84" y="30"/>
                  </a:lnTo>
                  <a:lnTo>
                    <a:pt x="72" y="42"/>
                  </a:lnTo>
                  <a:lnTo>
                    <a:pt x="78" y="66"/>
                  </a:lnTo>
                  <a:lnTo>
                    <a:pt x="72" y="96"/>
                  </a:lnTo>
                  <a:lnTo>
                    <a:pt x="54" y="102"/>
                  </a:lnTo>
                  <a:lnTo>
                    <a:pt x="18" y="12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6" name="Freeform 258"/>
            <p:cNvSpPr>
              <a:spLocks/>
            </p:cNvSpPr>
            <p:nvPr/>
          </p:nvSpPr>
          <p:spPr bwMode="auto">
            <a:xfrm>
              <a:off x="5558684" y="1635919"/>
              <a:ext cx="436562" cy="557212"/>
            </a:xfrm>
            <a:custGeom>
              <a:avLst/>
              <a:gdLst>
                <a:gd name="T0" fmla="*/ 2147483646 w 336"/>
                <a:gd name="T1" fmla="*/ 2147483646 h 427"/>
                <a:gd name="T2" fmla="*/ 2147483646 w 336"/>
                <a:gd name="T3" fmla="*/ 2147483646 h 427"/>
                <a:gd name="T4" fmla="*/ 2147483646 w 336"/>
                <a:gd name="T5" fmla="*/ 2147483646 h 427"/>
                <a:gd name="T6" fmla="*/ 2147483646 w 336"/>
                <a:gd name="T7" fmla="*/ 2147483646 h 427"/>
                <a:gd name="T8" fmla="*/ 2147483646 w 336"/>
                <a:gd name="T9" fmla="*/ 2147483646 h 427"/>
                <a:gd name="T10" fmla="*/ 2147483646 w 336"/>
                <a:gd name="T11" fmla="*/ 2147483646 h 427"/>
                <a:gd name="T12" fmla="*/ 2147483646 w 336"/>
                <a:gd name="T13" fmla="*/ 2147483646 h 427"/>
                <a:gd name="T14" fmla="*/ 2147483646 w 336"/>
                <a:gd name="T15" fmla="*/ 2147483646 h 427"/>
                <a:gd name="T16" fmla="*/ 2147483646 w 336"/>
                <a:gd name="T17" fmla="*/ 2147483646 h 427"/>
                <a:gd name="T18" fmla="*/ 2147483646 w 336"/>
                <a:gd name="T19" fmla="*/ 2147483646 h 427"/>
                <a:gd name="T20" fmla="*/ 2147483646 w 336"/>
                <a:gd name="T21" fmla="*/ 2147483646 h 427"/>
                <a:gd name="T22" fmla="*/ 2147483646 w 336"/>
                <a:gd name="T23" fmla="*/ 0 h 427"/>
                <a:gd name="T24" fmla="*/ 2147483646 w 336"/>
                <a:gd name="T25" fmla="*/ 2147483646 h 427"/>
                <a:gd name="T26" fmla="*/ 2147483646 w 336"/>
                <a:gd name="T27" fmla="*/ 2147483646 h 427"/>
                <a:gd name="T28" fmla="*/ 2147483646 w 336"/>
                <a:gd name="T29" fmla="*/ 2147483646 h 427"/>
                <a:gd name="T30" fmla="*/ 2147483646 w 336"/>
                <a:gd name="T31" fmla="*/ 2147483646 h 427"/>
                <a:gd name="T32" fmla="*/ 2147483646 w 336"/>
                <a:gd name="T33" fmla="*/ 2147483646 h 427"/>
                <a:gd name="T34" fmla="*/ 2147483646 w 336"/>
                <a:gd name="T35" fmla="*/ 2147483646 h 427"/>
                <a:gd name="T36" fmla="*/ 2147483646 w 336"/>
                <a:gd name="T37" fmla="*/ 2147483646 h 427"/>
                <a:gd name="T38" fmla="*/ 2147483646 w 336"/>
                <a:gd name="T39" fmla="*/ 2147483646 h 427"/>
                <a:gd name="T40" fmla="*/ 2147483646 w 336"/>
                <a:gd name="T41" fmla="*/ 2147483646 h 427"/>
                <a:gd name="T42" fmla="*/ 2147483646 w 336"/>
                <a:gd name="T43" fmla="*/ 2147483646 h 427"/>
                <a:gd name="T44" fmla="*/ 2147483646 w 336"/>
                <a:gd name="T45" fmla="*/ 2147483646 h 427"/>
                <a:gd name="T46" fmla="*/ 2147483646 w 336"/>
                <a:gd name="T47" fmla="*/ 2147483646 h 427"/>
                <a:gd name="T48" fmla="*/ 2147483646 w 336"/>
                <a:gd name="T49" fmla="*/ 2147483646 h 427"/>
                <a:gd name="T50" fmla="*/ 2147483646 w 336"/>
                <a:gd name="T51" fmla="*/ 2147483646 h 427"/>
                <a:gd name="T52" fmla="*/ 2147483646 w 336"/>
                <a:gd name="T53" fmla="*/ 2147483646 h 427"/>
                <a:gd name="T54" fmla="*/ 0 w 336"/>
                <a:gd name="T55" fmla="*/ 2147483646 h 427"/>
                <a:gd name="T56" fmla="*/ 2147483646 w 336"/>
                <a:gd name="T57" fmla="*/ 2147483646 h 427"/>
                <a:gd name="T58" fmla="*/ 2147483646 w 336"/>
                <a:gd name="T59" fmla="*/ 2147483646 h 427"/>
                <a:gd name="T60" fmla="*/ 2147483646 w 336"/>
                <a:gd name="T61" fmla="*/ 2147483646 h 427"/>
                <a:gd name="T62" fmla="*/ 2147483646 w 336"/>
                <a:gd name="T63" fmla="*/ 2147483646 h 427"/>
                <a:gd name="T64" fmla="*/ 2147483646 w 336"/>
                <a:gd name="T65" fmla="*/ 2147483646 h 4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36" h="427">
                  <a:moveTo>
                    <a:pt x="120" y="427"/>
                  </a:moveTo>
                  <a:lnTo>
                    <a:pt x="96" y="397"/>
                  </a:lnTo>
                  <a:lnTo>
                    <a:pt x="78" y="325"/>
                  </a:lnTo>
                  <a:lnTo>
                    <a:pt x="96" y="282"/>
                  </a:lnTo>
                  <a:lnTo>
                    <a:pt x="144" y="180"/>
                  </a:lnTo>
                  <a:lnTo>
                    <a:pt x="192" y="150"/>
                  </a:lnTo>
                  <a:lnTo>
                    <a:pt x="222" y="114"/>
                  </a:lnTo>
                  <a:lnTo>
                    <a:pt x="252" y="96"/>
                  </a:lnTo>
                  <a:lnTo>
                    <a:pt x="294" y="72"/>
                  </a:lnTo>
                  <a:lnTo>
                    <a:pt x="336" y="30"/>
                  </a:lnTo>
                  <a:lnTo>
                    <a:pt x="330" y="6"/>
                  </a:lnTo>
                  <a:lnTo>
                    <a:pt x="294" y="0"/>
                  </a:lnTo>
                  <a:lnTo>
                    <a:pt x="270" y="24"/>
                  </a:lnTo>
                  <a:lnTo>
                    <a:pt x="252" y="42"/>
                  </a:lnTo>
                  <a:lnTo>
                    <a:pt x="222" y="48"/>
                  </a:lnTo>
                  <a:lnTo>
                    <a:pt x="186" y="48"/>
                  </a:lnTo>
                  <a:lnTo>
                    <a:pt x="174" y="60"/>
                  </a:lnTo>
                  <a:lnTo>
                    <a:pt x="162" y="78"/>
                  </a:lnTo>
                  <a:lnTo>
                    <a:pt x="114" y="126"/>
                  </a:lnTo>
                  <a:lnTo>
                    <a:pt x="90" y="138"/>
                  </a:lnTo>
                  <a:lnTo>
                    <a:pt x="84" y="168"/>
                  </a:lnTo>
                  <a:lnTo>
                    <a:pt x="66" y="186"/>
                  </a:lnTo>
                  <a:lnTo>
                    <a:pt x="42" y="216"/>
                  </a:lnTo>
                  <a:lnTo>
                    <a:pt x="42" y="240"/>
                  </a:lnTo>
                  <a:lnTo>
                    <a:pt x="30" y="270"/>
                  </a:lnTo>
                  <a:lnTo>
                    <a:pt x="12" y="295"/>
                  </a:lnTo>
                  <a:lnTo>
                    <a:pt x="18" y="325"/>
                  </a:lnTo>
                  <a:lnTo>
                    <a:pt x="0" y="349"/>
                  </a:lnTo>
                  <a:lnTo>
                    <a:pt x="18" y="391"/>
                  </a:lnTo>
                  <a:lnTo>
                    <a:pt x="48" y="403"/>
                  </a:lnTo>
                  <a:lnTo>
                    <a:pt x="54" y="415"/>
                  </a:lnTo>
                  <a:lnTo>
                    <a:pt x="72" y="421"/>
                  </a:lnTo>
                  <a:lnTo>
                    <a:pt x="120" y="42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27" name="Freeform 259"/>
            <p:cNvSpPr>
              <a:spLocks/>
            </p:cNvSpPr>
            <p:nvPr/>
          </p:nvSpPr>
          <p:spPr bwMode="auto">
            <a:xfrm>
              <a:off x="5356622" y="4983165"/>
              <a:ext cx="166688" cy="346075"/>
            </a:xfrm>
            <a:custGeom>
              <a:avLst/>
              <a:gdLst>
                <a:gd name="T0" fmla="*/ 2147483646 w 126"/>
                <a:gd name="T1" fmla="*/ 2147483646 h 265"/>
                <a:gd name="T2" fmla="*/ 0 w 126"/>
                <a:gd name="T3" fmla="*/ 2147483646 h 265"/>
                <a:gd name="T4" fmla="*/ 2147483646 w 126"/>
                <a:gd name="T5" fmla="*/ 2147483646 h 265"/>
                <a:gd name="T6" fmla="*/ 2147483646 w 126"/>
                <a:gd name="T7" fmla="*/ 2147483646 h 265"/>
                <a:gd name="T8" fmla="*/ 2147483646 w 126"/>
                <a:gd name="T9" fmla="*/ 2147483646 h 265"/>
                <a:gd name="T10" fmla="*/ 2147483646 w 126"/>
                <a:gd name="T11" fmla="*/ 2147483646 h 265"/>
                <a:gd name="T12" fmla="*/ 2147483646 w 126"/>
                <a:gd name="T13" fmla="*/ 2147483646 h 265"/>
                <a:gd name="T14" fmla="*/ 2147483646 w 126"/>
                <a:gd name="T15" fmla="*/ 2147483646 h 265"/>
                <a:gd name="T16" fmla="*/ 2147483646 w 126"/>
                <a:gd name="T17" fmla="*/ 0 h 265"/>
                <a:gd name="T18" fmla="*/ 2147483646 w 126"/>
                <a:gd name="T19" fmla="*/ 2147483646 h 265"/>
                <a:gd name="T20" fmla="*/ 2147483646 w 126"/>
                <a:gd name="T21" fmla="*/ 2147483646 h 265"/>
                <a:gd name="T22" fmla="*/ 2147483646 w 126"/>
                <a:gd name="T23" fmla="*/ 2147483646 h 265"/>
                <a:gd name="T24" fmla="*/ 2147483646 w 126"/>
                <a:gd name="T25" fmla="*/ 2147483646 h 265"/>
                <a:gd name="T26" fmla="*/ 2147483646 w 126"/>
                <a:gd name="T27" fmla="*/ 2147483646 h 265"/>
                <a:gd name="T28" fmla="*/ 2147483646 w 126"/>
                <a:gd name="T29" fmla="*/ 2147483646 h 265"/>
                <a:gd name="T30" fmla="*/ 2147483646 w 126"/>
                <a:gd name="T31" fmla="*/ 2147483646 h 265"/>
                <a:gd name="T32" fmla="*/ 2147483646 w 126"/>
                <a:gd name="T33" fmla="*/ 2147483646 h 2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6" h="265">
                  <a:moveTo>
                    <a:pt x="6" y="217"/>
                  </a:moveTo>
                  <a:lnTo>
                    <a:pt x="0" y="193"/>
                  </a:lnTo>
                  <a:lnTo>
                    <a:pt x="12" y="169"/>
                  </a:lnTo>
                  <a:lnTo>
                    <a:pt x="24" y="139"/>
                  </a:lnTo>
                  <a:lnTo>
                    <a:pt x="12" y="91"/>
                  </a:lnTo>
                  <a:lnTo>
                    <a:pt x="30" y="78"/>
                  </a:lnTo>
                  <a:lnTo>
                    <a:pt x="54" y="60"/>
                  </a:lnTo>
                  <a:lnTo>
                    <a:pt x="78" y="24"/>
                  </a:lnTo>
                  <a:lnTo>
                    <a:pt x="108" y="0"/>
                  </a:lnTo>
                  <a:lnTo>
                    <a:pt x="126" y="24"/>
                  </a:lnTo>
                  <a:lnTo>
                    <a:pt x="126" y="66"/>
                  </a:lnTo>
                  <a:lnTo>
                    <a:pt x="126" y="91"/>
                  </a:lnTo>
                  <a:lnTo>
                    <a:pt x="78" y="253"/>
                  </a:lnTo>
                  <a:lnTo>
                    <a:pt x="54" y="259"/>
                  </a:lnTo>
                  <a:lnTo>
                    <a:pt x="30" y="265"/>
                  </a:lnTo>
                  <a:lnTo>
                    <a:pt x="6" y="247"/>
                  </a:lnTo>
                  <a:lnTo>
                    <a:pt x="6" y="21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279"/>
            <p:cNvSpPr>
              <a:spLocks/>
            </p:cNvSpPr>
            <p:nvPr/>
          </p:nvSpPr>
          <p:spPr bwMode="auto">
            <a:xfrm>
              <a:off x="4582423" y="3681943"/>
              <a:ext cx="77787" cy="46037"/>
            </a:xfrm>
            <a:custGeom>
              <a:avLst/>
              <a:gdLst>
                <a:gd name="T0" fmla="*/ 0 w 60"/>
                <a:gd name="T1" fmla="*/ 2147483646 h 36"/>
                <a:gd name="T2" fmla="*/ 2147483646 w 60"/>
                <a:gd name="T3" fmla="*/ 0 h 36"/>
                <a:gd name="T4" fmla="*/ 2147483646 w 60"/>
                <a:gd name="T5" fmla="*/ 2147483646 h 36"/>
                <a:gd name="T6" fmla="*/ 2147483646 w 60"/>
                <a:gd name="T7" fmla="*/ 2147483646 h 36"/>
                <a:gd name="T8" fmla="*/ 2147483646 w 60"/>
                <a:gd name="T9" fmla="*/ 2147483646 h 36"/>
                <a:gd name="T10" fmla="*/ 2147483646 w 60"/>
                <a:gd name="T11" fmla="*/ 2147483646 h 36"/>
                <a:gd name="T12" fmla="*/ 0 w 60"/>
                <a:gd name="T13" fmla="*/ 2147483646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0" h="36">
                  <a:moveTo>
                    <a:pt x="0" y="12"/>
                  </a:moveTo>
                  <a:lnTo>
                    <a:pt x="3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36"/>
                  </a:lnTo>
                  <a:lnTo>
                    <a:pt x="30" y="2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280"/>
            <p:cNvSpPr>
              <a:spLocks/>
            </p:cNvSpPr>
            <p:nvPr/>
          </p:nvSpPr>
          <p:spPr bwMode="auto">
            <a:xfrm>
              <a:off x="4495110" y="3593043"/>
              <a:ext cx="31750" cy="61912"/>
            </a:xfrm>
            <a:custGeom>
              <a:avLst/>
              <a:gdLst>
                <a:gd name="T0" fmla="*/ 0 w 24"/>
                <a:gd name="T1" fmla="*/ 2147483646 h 48"/>
                <a:gd name="T2" fmla="*/ 2147483646 w 24"/>
                <a:gd name="T3" fmla="*/ 2147483646 h 48"/>
                <a:gd name="T4" fmla="*/ 2147483646 w 24"/>
                <a:gd name="T5" fmla="*/ 0 h 48"/>
                <a:gd name="T6" fmla="*/ 2147483646 w 24"/>
                <a:gd name="T7" fmla="*/ 2147483646 h 48"/>
                <a:gd name="T8" fmla="*/ 2147483646 w 24"/>
                <a:gd name="T9" fmla="*/ 2147483646 h 48"/>
                <a:gd name="T10" fmla="*/ 0 w 24"/>
                <a:gd name="T11" fmla="*/ 214748364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48">
                  <a:moveTo>
                    <a:pt x="0" y="48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24" y="24"/>
                  </a:lnTo>
                  <a:lnTo>
                    <a:pt x="24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281"/>
            <p:cNvSpPr>
              <a:spLocks/>
            </p:cNvSpPr>
            <p:nvPr/>
          </p:nvSpPr>
          <p:spPr bwMode="auto">
            <a:xfrm>
              <a:off x="4487173" y="3529543"/>
              <a:ext cx="39687" cy="47625"/>
            </a:xfrm>
            <a:custGeom>
              <a:avLst/>
              <a:gdLst>
                <a:gd name="T0" fmla="*/ 0 w 30"/>
                <a:gd name="T1" fmla="*/ 2147483646 h 37"/>
                <a:gd name="T2" fmla="*/ 2147483646 w 30"/>
                <a:gd name="T3" fmla="*/ 0 h 37"/>
                <a:gd name="T4" fmla="*/ 2147483646 w 30"/>
                <a:gd name="T5" fmla="*/ 2147483646 h 37"/>
                <a:gd name="T6" fmla="*/ 2147483646 w 30"/>
                <a:gd name="T7" fmla="*/ 2147483646 h 37"/>
                <a:gd name="T8" fmla="*/ 0 w 30"/>
                <a:gd name="T9" fmla="*/ 2147483646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301"/>
            <p:cNvSpPr>
              <a:spLocks/>
            </p:cNvSpPr>
            <p:nvPr/>
          </p:nvSpPr>
          <p:spPr bwMode="auto">
            <a:xfrm>
              <a:off x="4848835" y="3008828"/>
              <a:ext cx="235112" cy="211138"/>
            </a:xfrm>
            <a:custGeom>
              <a:avLst/>
              <a:gdLst>
                <a:gd name="T0" fmla="*/ 2147483646 w 30"/>
                <a:gd name="T1" fmla="*/ 2147483646 h 27"/>
                <a:gd name="T2" fmla="*/ 2147483646 w 30"/>
                <a:gd name="T3" fmla="*/ 2147483646 h 27"/>
                <a:gd name="T4" fmla="*/ 2147483646 w 30"/>
                <a:gd name="T5" fmla="*/ 2147483646 h 27"/>
                <a:gd name="T6" fmla="*/ 2147483646 w 30"/>
                <a:gd name="T7" fmla="*/ 2147483646 h 27"/>
                <a:gd name="T8" fmla="*/ 2147483646 w 30"/>
                <a:gd name="T9" fmla="*/ 0 h 27"/>
                <a:gd name="T10" fmla="*/ 2147483646 w 30"/>
                <a:gd name="T11" fmla="*/ 2147483646 h 27"/>
                <a:gd name="T12" fmla="*/ 2147483646 w 30"/>
                <a:gd name="T13" fmla="*/ 2147483646 h 27"/>
                <a:gd name="T14" fmla="*/ 2147483646 w 30"/>
                <a:gd name="T15" fmla="*/ 2147483646 h 27"/>
                <a:gd name="T16" fmla="*/ 2147483646 w 30"/>
                <a:gd name="T17" fmla="*/ 2147483646 h 27"/>
                <a:gd name="T18" fmla="*/ 2147483646 w 30"/>
                <a:gd name="T19" fmla="*/ 2147483646 h 27"/>
                <a:gd name="T20" fmla="*/ 2147483646 w 30"/>
                <a:gd name="T21" fmla="*/ 2147483646 h 27"/>
                <a:gd name="T22" fmla="*/ 2147483646 w 30"/>
                <a:gd name="T23" fmla="*/ 2147483646 h 27"/>
                <a:gd name="T24" fmla="*/ 2147483646 w 30"/>
                <a:gd name="T25" fmla="*/ 2147483646 h 27"/>
                <a:gd name="T26" fmla="*/ 2147483646 w 30"/>
                <a:gd name="T27" fmla="*/ 2147483646 h 27"/>
                <a:gd name="T28" fmla="*/ 2147483646 w 30"/>
                <a:gd name="T29" fmla="*/ 2147483646 h 27"/>
                <a:gd name="T30" fmla="*/ 2147483646 w 30"/>
                <a:gd name="T31" fmla="*/ 2147483646 h 27"/>
                <a:gd name="T32" fmla="*/ 0 w 30"/>
                <a:gd name="T33" fmla="*/ 2147483646 h 27"/>
                <a:gd name="T34" fmla="*/ 2147483646 w 30"/>
                <a:gd name="T35" fmla="*/ 2147483646 h 27"/>
                <a:gd name="T36" fmla="*/ 2147483646 w 30"/>
                <a:gd name="T37" fmla="*/ 2147483646 h 27"/>
                <a:gd name="T38" fmla="*/ 2147483646 w 30"/>
                <a:gd name="T39" fmla="*/ 2147483646 h 27"/>
                <a:gd name="T40" fmla="*/ 2147483646 w 30"/>
                <a:gd name="T41" fmla="*/ 2147483646 h 27"/>
                <a:gd name="T42" fmla="*/ 2147483646 w 30"/>
                <a:gd name="T43" fmla="*/ 2147483646 h 27"/>
                <a:gd name="T44" fmla="*/ 2147483646 w 30"/>
                <a:gd name="T45" fmla="*/ 2147483646 h 27"/>
                <a:gd name="T46" fmla="*/ 2147483646 w 30"/>
                <a:gd name="T47" fmla="*/ 2147483646 h 27"/>
                <a:gd name="T48" fmla="*/ 2147483646 w 30"/>
                <a:gd name="T49" fmla="*/ 2147483646 h 27"/>
                <a:gd name="T50" fmla="*/ 2147483646 w 30"/>
                <a:gd name="T51" fmla="*/ 2147483646 h 27"/>
                <a:gd name="T52" fmla="*/ 2147483646 w 30"/>
                <a:gd name="T53" fmla="*/ 2147483646 h 27"/>
                <a:gd name="T54" fmla="*/ 2147483646 w 30"/>
                <a:gd name="T55" fmla="*/ 2147483646 h 27"/>
                <a:gd name="T56" fmla="*/ 2147483646 w 30"/>
                <a:gd name="T57" fmla="*/ 2147483646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connsiteX0" fmla="*/ 10075 w 10075"/>
                <a:gd name="connsiteY0" fmla="*/ 5185 h 10000"/>
                <a:gd name="connsiteX1" fmla="*/ 9075 w 10075"/>
                <a:gd name="connsiteY1" fmla="*/ 4074 h 10000"/>
                <a:gd name="connsiteX2" fmla="*/ 7742 w 10075"/>
                <a:gd name="connsiteY2" fmla="*/ 1111 h 10000"/>
                <a:gd name="connsiteX3" fmla="*/ 6742 w 10075"/>
                <a:gd name="connsiteY3" fmla="*/ 741 h 10000"/>
                <a:gd name="connsiteX4" fmla="*/ 5742 w 10075"/>
                <a:gd name="connsiteY4" fmla="*/ 0 h 10000"/>
                <a:gd name="connsiteX5" fmla="*/ 4742 w 10075"/>
                <a:gd name="connsiteY5" fmla="*/ 741 h 10000"/>
                <a:gd name="connsiteX6" fmla="*/ 3742 w 10075"/>
                <a:gd name="connsiteY6" fmla="*/ 1111 h 10000"/>
                <a:gd name="connsiteX7" fmla="*/ 4075 w 10075"/>
                <a:gd name="connsiteY7" fmla="*/ 1111 h 10000"/>
                <a:gd name="connsiteX8" fmla="*/ 3408 w 10075"/>
                <a:gd name="connsiteY8" fmla="*/ 2222 h 10000"/>
                <a:gd name="connsiteX9" fmla="*/ 2742 w 10075"/>
                <a:gd name="connsiteY9" fmla="*/ 2963 h 10000"/>
                <a:gd name="connsiteX10" fmla="*/ 2742 w 10075"/>
                <a:gd name="connsiteY10" fmla="*/ 4074 h 10000"/>
                <a:gd name="connsiteX11" fmla="*/ 1742 w 10075"/>
                <a:gd name="connsiteY11" fmla="*/ 4074 h 10000"/>
                <a:gd name="connsiteX12" fmla="*/ 1075 w 10075"/>
                <a:gd name="connsiteY12" fmla="*/ 4444 h 10000"/>
                <a:gd name="connsiteX13" fmla="*/ 408 w 10075"/>
                <a:gd name="connsiteY13" fmla="*/ 4815 h 10000"/>
                <a:gd name="connsiteX14" fmla="*/ 0 w 10075"/>
                <a:gd name="connsiteY14" fmla="*/ 5072 h 10000"/>
                <a:gd name="connsiteX15" fmla="*/ 742 w 10075"/>
                <a:gd name="connsiteY15" fmla="*/ 6667 h 10000"/>
                <a:gd name="connsiteX16" fmla="*/ 75 w 10075"/>
                <a:gd name="connsiteY16" fmla="*/ 7407 h 10000"/>
                <a:gd name="connsiteX17" fmla="*/ 408 w 10075"/>
                <a:gd name="connsiteY17" fmla="*/ 8519 h 10000"/>
                <a:gd name="connsiteX18" fmla="*/ 408 w 10075"/>
                <a:gd name="connsiteY18" fmla="*/ 9259 h 10000"/>
                <a:gd name="connsiteX19" fmla="*/ 1075 w 10075"/>
                <a:gd name="connsiteY19" fmla="*/ 8889 h 10000"/>
                <a:gd name="connsiteX20" fmla="*/ 2408 w 10075"/>
                <a:gd name="connsiteY20" fmla="*/ 8889 h 10000"/>
                <a:gd name="connsiteX21" fmla="*/ 4408 w 10075"/>
                <a:gd name="connsiteY21" fmla="*/ 9630 h 10000"/>
                <a:gd name="connsiteX22" fmla="*/ 6742 w 10075"/>
                <a:gd name="connsiteY22" fmla="*/ 9630 h 10000"/>
                <a:gd name="connsiteX23" fmla="*/ 8075 w 10075"/>
                <a:gd name="connsiteY23" fmla="*/ 10000 h 10000"/>
                <a:gd name="connsiteX24" fmla="*/ 8742 w 10075"/>
                <a:gd name="connsiteY24" fmla="*/ 7778 h 10000"/>
                <a:gd name="connsiteX25" fmla="*/ 9075 w 10075"/>
                <a:gd name="connsiteY25" fmla="*/ 7778 h 10000"/>
                <a:gd name="connsiteX26" fmla="*/ 8742 w 10075"/>
                <a:gd name="connsiteY26" fmla="*/ 6296 h 10000"/>
                <a:gd name="connsiteX27" fmla="*/ 9742 w 10075"/>
                <a:gd name="connsiteY27" fmla="*/ 5926 h 10000"/>
                <a:gd name="connsiteX28" fmla="*/ 10075 w 10075"/>
                <a:gd name="connsiteY28" fmla="*/ 5185 h 10000"/>
                <a:gd name="connsiteX0" fmla="*/ 10177 w 10177"/>
                <a:gd name="connsiteY0" fmla="*/ 5185 h 10000"/>
                <a:gd name="connsiteX1" fmla="*/ 9177 w 10177"/>
                <a:gd name="connsiteY1" fmla="*/ 4074 h 10000"/>
                <a:gd name="connsiteX2" fmla="*/ 7844 w 10177"/>
                <a:gd name="connsiteY2" fmla="*/ 1111 h 10000"/>
                <a:gd name="connsiteX3" fmla="*/ 6844 w 10177"/>
                <a:gd name="connsiteY3" fmla="*/ 741 h 10000"/>
                <a:gd name="connsiteX4" fmla="*/ 5844 w 10177"/>
                <a:gd name="connsiteY4" fmla="*/ 0 h 10000"/>
                <a:gd name="connsiteX5" fmla="*/ 4844 w 10177"/>
                <a:gd name="connsiteY5" fmla="*/ 741 h 10000"/>
                <a:gd name="connsiteX6" fmla="*/ 3844 w 10177"/>
                <a:gd name="connsiteY6" fmla="*/ 1111 h 10000"/>
                <a:gd name="connsiteX7" fmla="*/ 4177 w 10177"/>
                <a:gd name="connsiteY7" fmla="*/ 1111 h 10000"/>
                <a:gd name="connsiteX8" fmla="*/ 3510 w 10177"/>
                <a:gd name="connsiteY8" fmla="*/ 2222 h 10000"/>
                <a:gd name="connsiteX9" fmla="*/ 2844 w 10177"/>
                <a:gd name="connsiteY9" fmla="*/ 2963 h 10000"/>
                <a:gd name="connsiteX10" fmla="*/ 2844 w 10177"/>
                <a:gd name="connsiteY10" fmla="*/ 4074 h 10000"/>
                <a:gd name="connsiteX11" fmla="*/ 1844 w 10177"/>
                <a:gd name="connsiteY11" fmla="*/ 4074 h 10000"/>
                <a:gd name="connsiteX12" fmla="*/ 1177 w 10177"/>
                <a:gd name="connsiteY12" fmla="*/ 4444 h 10000"/>
                <a:gd name="connsiteX13" fmla="*/ 510 w 10177"/>
                <a:gd name="connsiteY13" fmla="*/ 4815 h 10000"/>
                <a:gd name="connsiteX14" fmla="*/ 0 w 10177"/>
                <a:gd name="connsiteY14" fmla="*/ 4395 h 10000"/>
                <a:gd name="connsiteX15" fmla="*/ 844 w 10177"/>
                <a:gd name="connsiteY15" fmla="*/ 6667 h 10000"/>
                <a:gd name="connsiteX16" fmla="*/ 177 w 10177"/>
                <a:gd name="connsiteY16" fmla="*/ 7407 h 10000"/>
                <a:gd name="connsiteX17" fmla="*/ 510 w 10177"/>
                <a:gd name="connsiteY17" fmla="*/ 8519 h 10000"/>
                <a:gd name="connsiteX18" fmla="*/ 510 w 10177"/>
                <a:gd name="connsiteY18" fmla="*/ 9259 h 10000"/>
                <a:gd name="connsiteX19" fmla="*/ 1177 w 10177"/>
                <a:gd name="connsiteY19" fmla="*/ 8889 h 10000"/>
                <a:gd name="connsiteX20" fmla="*/ 2510 w 10177"/>
                <a:gd name="connsiteY20" fmla="*/ 8889 h 10000"/>
                <a:gd name="connsiteX21" fmla="*/ 4510 w 10177"/>
                <a:gd name="connsiteY21" fmla="*/ 9630 h 10000"/>
                <a:gd name="connsiteX22" fmla="*/ 6844 w 10177"/>
                <a:gd name="connsiteY22" fmla="*/ 9630 h 10000"/>
                <a:gd name="connsiteX23" fmla="*/ 8177 w 10177"/>
                <a:gd name="connsiteY23" fmla="*/ 10000 h 10000"/>
                <a:gd name="connsiteX24" fmla="*/ 8844 w 10177"/>
                <a:gd name="connsiteY24" fmla="*/ 7778 h 10000"/>
                <a:gd name="connsiteX25" fmla="*/ 9177 w 10177"/>
                <a:gd name="connsiteY25" fmla="*/ 7778 h 10000"/>
                <a:gd name="connsiteX26" fmla="*/ 8844 w 10177"/>
                <a:gd name="connsiteY26" fmla="*/ 6296 h 10000"/>
                <a:gd name="connsiteX27" fmla="*/ 9844 w 10177"/>
                <a:gd name="connsiteY27" fmla="*/ 5926 h 10000"/>
                <a:gd name="connsiteX28" fmla="*/ 10177 w 10177"/>
                <a:gd name="connsiteY28" fmla="*/ 5185 h 10000"/>
                <a:gd name="connsiteX0" fmla="*/ 10075 w 10075"/>
                <a:gd name="connsiteY0" fmla="*/ 5185 h 10000"/>
                <a:gd name="connsiteX1" fmla="*/ 9075 w 10075"/>
                <a:gd name="connsiteY1" fmla="*/ 4074 h 10000"/>
                <a:gd name="connsiteX2" fmla="*/ 7742 w 10075"/>
                <a:gd name="connsiteY2" fmla="*/ 1111 h 10000"/>
                <a:gd name="connsiteX3" fmla="*/ 6742 w 10075"/>
                <a:gd name="connsiteY3" fmla="*/ 741 h 10000"/>
                <a:gd name="connsiteX4" fmla="*/ 5742 w 10075"/>
                <a:gd name="connsiteY4" fmla="*/ 0 h 10000"/>
                <a:gd name="connsiteX5" fmla="*/ 4742 w 10075"/>
                <a:gd name="connsiteY5" fmla="*/ 741 h 10000"/>
                <a:gd name="connsiteX6" fmla="*/ 3742 w 10075"/>
                <a:gd name="connsiteY6" fmla="*/ 1111 h 10000"/>
                <a:gd name="connsiteX7" fmla="*/ 4075 w 10075"/>
                <a:gd name="connsiteY7" fmla="*/ 1111 h 10000"/>
                <a:gd name="connsiteX8" fmla="*/ 3408 w 10075"/>
                <a:gd name="connsiteY8" fmla="*/ 2222 h 10000"/>
                <a:gd name="connsiteX9" fmla="*/ 2742 w 10075"/>
                <a:gd name="connsiteY9" fmla="*/ 2963 h 10000"/>
                <a:gd name="connsiteX10" fmla="*/ 2742 w 10075"/>
                <a:gd name="connsiteY10" fmla="*/ 4074 h 10000"/>
                <a:gd name="connsiteX11" fmla="*/ 1742 w 10075"/>
                <a:gd name="connsiteY11" fmla="*/ 4074 h 10000"/>
                <a:gd name="connsiteX12" fmla="*/ 1075 w 10075"/>
                <a:gd name="connsiteY12" fmla="*/ 4444 h 10000"/>
                <a:gd name="connsiteX13" fmla="*/ 408 w 10075"/>
                <a:gd name="connsiteY13" fmla="*/ 4815 h 10000"/>
                <a:gd name="connsiteX14" fmla="*/ 0 w 10075"/>
                <a:gd name="connsiteY14" fmla="*/ 4057 h 10000"/>
                <a:gd name="connsiteX15" fmla="*/ 742 w 10075"/>
                <a:gd name="connsiteY15" fmla="*/ 6667 h 10000"/>
                <a:gd name="connsiteX16" fmla="*/ 75 w 10075"/>
                <a:gd name="connsiteY16" fmla="*/ 7407 h 10000"/>
                <a:gd name="connsiteX17" fmla="*/ 408 w 10075"/>
                <a:gd name="connsiteY17" fmla="*/ 8519 h 10000"/>
                <a:gd name="connsiteX18" fmla="*/ 408 w 10075"/>
                <a:gd name="connsiteY18" fmla="*/ 9259 h 10000"/>
                <a:gd name="connsiteX19" fmla="*/ 1075 w 10075"/>
                <a:gd name="connsiteY19" fmla="*/ 8889 h 10000"/>
                <a:gd name="connsiteX20" fmla="*/ 2408 w 10075"/>
                <a:gd name="connsiteY20" fmla="*/ 8889 h 10000"/>
                <a:gd name="connsiteX21" fmla="*/ 4408 w 10075"/>
                <a:gd name="connsiteY21" fmla="*/ 9630 h 10000"/>
                <a:gd name="connsiteX22" fmla="*/ 6742 w 10075"/>
                <a:gd name="connsiteY22" fmla="*/ 9630 h 10000"/>
                <a:gd name="connsiteX23" fmla="*/ 8075 w 10075"/>
                <a:gd name="connsiteY23" fmla="*/ 10000 h 10000"/>
                <a:gd name="connsiteX24" fmla="*/ 8742 w 10075"/>
                <a:gd name="connsiteY24" fmla="*/ 7778 h 10000"/>
                <a:gd name="connsiteX25" fmla="*/ 9075 w 10075"/>
                <a:gd name="connsiteY25" fmla="*/ 7778 h 10000"/>
                <a:gd name="connsiteX26" fmla="*/ 8742 w 10075"/>
                <a:gd name="connsiteY26" fmla="*/ 6296 h 10000"/>
                <a:gd name="connsiteX27" fmla="*/ 9742 w 10075"/>
                <a:gd name="connsiteY27" fmla="*/ 5926 h 10000"/>
                <a:gd name="connsiteX28" fmla="*/ 10075 w 10075"/>
                <a:gd name="connsiteY28" fmla="*/ 518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075" h="10000">
                  <a:moveTo>
                    <a:pt x="10075" y="5185"/>
                  </a:moveTo>
                  <a:lnTo>
                    <a:pt x="9075" y="4074"/>
                  </a:lnTo>
                  <a:lnTo>
                    <a:pt x="7742" y="1111"/>
                  </a:lnTo>
                  <a:lnTo>
                    <a:pt x="6742" y="741"/>
                  </a:lnTo>
                  <a:lnTo>
                    <a:pt x="5742" y="0"/>
                  </a:lnTo>
                  <a:lnTo>
                    <a:pt x="4742" y="741"/>
                  </a:lnTo>
                  <a:lnTo>
                    <a:pt x="3742" y="1111"/>
                  </a:lnTo>
                  <a:lnTo>
                    <a:pt x="4075" y="1111"/>
                  </a:lnTo>
                  <a:lnTo>
                    <a:pt x="3408" y="2222"/>
                  </a:lnTo>
                  <a:lnTo>
                    <a:pt x="2742" y="2963"/>
                  </a:lnTo>
                  <a:cubicBezTo>
                    <a:pt x="2742" y="2963"/>
                    <a:pt x="3075" y="4074"/>
                    <a:pt x="2742" y="4074"/>
                  </a:cubicBezTo>
                  <a:lnTo>
                    <a:pt x="1742" y="4074"/>
                  </a:lnTo>
                  <a:lnTo>
                    <a:pt x="1075" y="4444"/>
                  </a:lnTo>
                  <a:cubicBezTo>
                    <a:pt x="408" y="4815"/>
                    <a:pt x="587" y="4879"/>
                    <a:pt x="408" y="4815"/>
                  </a:cubicBezTo>
                  <a:cubicBezTo>
                    <a:pt x="229" y="4751"/>
                    <a:pt x="0" y="4057"/>
                    <a:pt x="0" y="4057"/>
                  </a:cubicBezTo>
                  <a:cubicBezTo>
                    <a:pt x="334" y="5539"/>
                    <a:pt x="730" y="6109"/>
                    <a:pt x="742" y="6667"/>
                  </a:cubicBezTo>
                  <a:cubicBezTo>
                    <a:pt x="755" y="7225"/>
                    <a:pt x="75" y="7407"/>
                    <a:pt x="75" y="7407"/>
                  </a:cubicBezTo>
                  <a:lnTo>
                    <a:pt x="408" y="8519"/>
                  </a:lnTo>
                  <a:lnTo>
                    <a:pt x="408" y="9259"/>
                  </a:lnTo>
                  <a:lnTo>
                    <a:pt x="1075" y="8889"/>
                  </a:lnTo>
                  <a:lnTo>
                    <a:pt x="2408" y="8889"/>
                  </a:lnTo>
                  <a:lnTo>
                    <a:pt x="4408" y="9630"/>
                  </a:lnTo>
                  <a:lnTo>
                    <a:pt x="6742" y="9630"/>
                  </a:lnTo>
                  <a:lnTo>
                    <a:pt x="8075" y="10000"/>
                  </a:lnTo>
                  <a:lnTo>
                    <a:pt x="8742" y="7778"/>
                  </a:lnTo>
                  <a:lnTo>
                    <a:pt x="9075" y="7778"/>
                  </a:lnTo>
                  <a:lnTo>
                    <a:pt x="8742" y="6296"/>
                  </a:lnTo>
                  <a:lnTo>
                    <a:pt x="9742" y="5926"/>
                  </a:lnTo>
                  <a:lnTo>
                    <a:pt x="10075" y="518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3923643" y="4344961"/>
              <a:ext cx="188912" cy="141288"/>
            </a:xfrm>
            <a:custGeom>
              <a:avLst/>
              <a:gdLst>
                <a:gd name="T0" fmla="*/ 2147483646 w 24"/>
                <a:gd name="T1" fmla="*/ 2147483646 h 18"/>
                <a:gd name="T2" fmla="*/ 2147483646 w 24"/>
                <a:gd name="T3" fmla="*/ 2147483646 h 18"/>
                <a:gd name="T4" fmla="*/ 2147483646 w 24"/>
                <a:gd name="T5" fmla="*/ 2147483646 h 18"/>
                <a:gd name="T6" fmla="*/ 2147483646 w 24"/>
                <a:gd name="T7" fmla="*/ 2147483646 h 18"/>
                <a:gd name="T8" fmla="*/ 2147483646 w 24"/>
                <a:gd name="T9" fmla="*/ 2147483646 h 18"/>
                <a:gd name="T10" fmla="*/ 2147483646 w 24"/>
                <a:gd name="T11" fmla="*/ 2147483646 h 18"/>
                <a:gd name="T12" fmla="*/ 2147483646 w 24"/>
                <a:gd name="T13" fmla="*/ 2147483646 h 18"/>
                <a:gd name="T14" fmla="*/ 2147483646 w 24"/>
                <a:gd name="T15" fmla="*/ 2147483646 h 18"/>
                <a:gd name="T16" fmla="*/ 2147483646 w 24"/>
                <a:gd name="T17" fmla="*/ 2147483646 h 18"/>
                <a:gd name="T18" fmla="*/ 2147483646 w 24"/>
                <a:gd name="T19" fmla="*/ 2147483646 h 18"/>
                <a:gd name="T20" fmla="*/ 2147483646 w 24"/>
                <a:gd name="T21" fmla="*/ 2147483646 h 18"/>
                <a:gd name="T22" fmla="*/ 2147483646 w 24"/>
                <a:gd name="T23" fmla="*/ 2147483646 h 18"/>
                <a:gd name="T24" fmla="*/ 2147483646 w 24"/>
                <a:gd name="T25" fmla="*/ 2147483646 h 18"/>
                <a:gd name="T26" fmla="*/ 2147483646 w 24"/>
                <a:gd name="T27" fmla="*/ 2147483646 h 18"/>
                <a:gd name="T28" fmla="*/ 2147483646 w 24"/>
                <a:gd name="T29" fmla="*/ 2147483646 h 18"/>
                <a:gd name="T30" fmla="*/ 2147483646 w 24"/>
                <a:gd name="T31" fmla="*/ 2147483646 h 18"/>
                <a:gd name="T32" fmla="*/ 2147483646 w 24"/>
                <a:gd name="T33" fmla="*/ 0 h 18"/>
                <a:gd name="T34" fmla="*/ 2147483646 w 24"/>
                <a:gd name="T35" fmla="*/ 0 h 18"/>
                <a:gd name="T36" fmla="*/ 2147483646 w 24"/>
                <a:gd name="T37" fmla="*/ 2147483646 h 18"/>
                <a:gd name="T38" fmla="*/ 2147483646 w 24"/>
                <a:gd name="T39" fmla="*/ 2147483646 h 18"/>
                <a:gd name="T40" fmla="*/ 2147483646 w 24"/>
                <a:gd name="T41" fmla="*/ 2147483646 h 18"/>
                <a:gd name="T42" fmla="*/ 0 w 24"/>
                <a:gd name="T43" fmla="*/ 2147483646 h 18"/>
                <a:gd name="T44" fmla="*/ 2147483646 w 24"/>
                <a:gd name="T45" fmla="*/ 2147483646 h 18"/>
                <a:gd name="T46" fmla="*/ 2147483646 w 24"/>
                <a:gd name="T47" fmla="*/ 2147483646 h 18"/>
                <a:gd name="T48" fmla="*/ 2147483646 w 24"/>
                <a:gd name="T49" fmla="*/ 2147483646 h 18"/>
                <a:gd name="T50" fmla="*/ 2147483646 w 24"/>
                <a:gd name="T51" fmla="*/ 2147483646 h 1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18">
                  <a:moveTo>
                    <a:pt x="9" y="1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9" y="18"/>
                    <a:pt x="20" y="18"/>
                  </a:cubicBez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4" y="16"/>
                    <a:pt x="24" y="16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1"/>
                    <a:pt x="20" y="1"/>
                  </a:cubicBezTo>
                  <a:cubicBezTo>
                    <a:pt x="20" y="1"/>
                    <a:pt x="16" y="2"/>
                    <a:pt x="16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8" y="12"/>
                    <a:pt x="8" y="12"/>
                    <a:pt x="8" y="12"/>
                  </a:cubicBezTo>
                  <a:lnTo>
                    <a:pt x="9" y="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3877605" y="4243361"/>
              <a:ext cx="147638" cy="111125"/>
            </a:xfrm>
            <a:custGeom>
              <a:avLst/>
              <a:gdLst>
                <a:gd name="T0" fmla="*/ 2147483646 w 114"/>
                <a:gd name="T1" fmla="*/ 2147483646 h 85"/>
                <a:gd name="T2" fmla="*/ 2147483646 w 114"/>
                <a:gd name="T3" fmla="*/ 2147483646 h 85"/>
                <a:gd name="T4" fmla="*/ 2147483646 w 114"/>
                <a:gd name="T5" fmla="*/ 2147483646 h 85"/>
                <a:gd name="T6" fmla="*/ 2147483646 w 114"/>
                <a:gd name="T7" fmla="*/ 2147483646 h 85"/>
                <a:gd name="T8" fmla="*/ 2147483646 w 114"/>
                <a:gd name="T9" fmla="*/ 2147483646 h 85"/>
                <a:gd name="T10" fmla="*/ 2147483646 w 114"/>
                <a:gd name="T11" fmla="*/ 2147483646 h 85"/>
                <a:gd name="T12" fmla="*/ 2147483646 w 114"/>
                <a:gd name="T13" fmla="*/ 2147483646 h 85"/>
                <a:gd name="T14" fmla="*/ 2147483646 w 114"/>
                <a:gd name="T15" fmla="*/ 2147483646 h 85"/>
                <a:gd name="T16" fmla="*/ 2147483646 w 114"/>
                <a:gd name="T17" fmla="*/ 2147483646 h 85"/>
                <a:gd name="T18" fmla="*/ 2147483646 w 114"/>
                <a:gd name="T19" fmla="*/ 2147483646 h 85"/>
                <a:gd name="T20" fmla="*/ 2147483646 w 114"/>
                <a:gd name="T21" fmla="*/ 2147483646 h 85"/>
                <a:gd name="T22" fmla="*/ 2147483646 w 114"/>
                <a:gd name="T23" fmla="*/ 0 h 85"/>
                <a:gd name="T24" fmla="*/ 2147483646 w 114"/>
                <a:gd name="T25" fmla="*/ 2147483646 h 85"/>
                <a:gd name="T26" fmla="*/ 2147483646 w 114"/>
                <a:gd name="T27" fmla="*/ 2147483646 h 85"/>
                <a:gd name="T28" fmla="*/ 0 w 114"/>
                <a:gd name="T29" fmla="*/ 2147483646 h 85"/>
                <a:gd name="T30" fmla="*/ 2147483646 w 114"/>
                <a:gd name="T31" fmla="*/ 2147483646 h 85"/>
                <a:gd name="T32" fmla="*/ 2147483646 w 114"/>
                <a:gd name="T33" fmla="*/ 2147483646 h 85"/>
                <a:gd name="T34" fmla="*/ 2147483646 w 114"/>
                <a:gd name="T35" fmla="*/ 2147483646 h 85"/>
                <a:gd name="T36" fmla="*/ 2147483646 w 114"/>
                <a:gd name="T37" fmla="*/ 2147483646 h 8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5">
                  <a:moveTo>
                    <a:pt x="54" y="79"/>
                  </a:moveTo>
                  <a:lnTo>
                    <a:pt x="66" y="79"/>
                  </a:lnTo>
                  <a:lnTo>
                    <a:pt x="78" y="79"/>
                  </a:lnTo>
                  <a:lnTo>
                    <a:pt x="108" y="85"/>
                  </a:lnTo>
                  <a:lnTo>
                    <a:pt x="114" y="85"/>
                  </a:lnTo>
                  <a:lnTo>
                    <a:pt x="102" y="61"/>
                  </a:lnTo>
                  <a:lnTo>
                    <a:pt x="96" y="43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18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12" y="6"/>
                  </a:lnTo>
                  <a:lnTo>
                    <a:pt x="0" y="43"/>
                  </a:lnTo>
                  <a:lnTo>
                    <a:pt x="12" y="85"/>
                  </a:lnTo>
                  <a:lnTo>
                    <a:pt x="18" y="85"/>
                  </a:lnTo>
                  <a:lnTo>
                    <a:pt x="24" y="85"/>
                  </a:lnTo>
                  <a:lnTo>
                    <a:pt x="54" y="7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305"/>
            <p:cNvSpPr>
              <a:spLocks/>
            </p:cNvSpPr>
            <p:nvPr/>
          </p:nvSpPr>
          <p:spPr bwMode="auto">
            <a:xfrm>
              <a:off x="3887840" y="3972446"/>
              <a:ext cx="298450" cy="319087"/>
            </a:xfrm>
            <a:custGeom>
              <a:avLst/>
              <a:gdLst>
                <a:gd name="T0" fmla="*/ 2147483646 w 38"/>
                <a:gd name="T1" fmla="*/ 2147483646 h 41"/>
                <a:gd name="T2" fmla="*/ 2147483646 w 38"/>
                <a:gd name="T3" fmla="*/ 2147483646 h 41"/>
                <a:gd name="T4" fmla="*/ 2147483646 w 38"/>
                <a:gd name="T5" fmla="*/ 2147483646 h 41"/>
                <a:gd name="T6" fmla="*/ 2147483646 w 38"/>
                <a:gd name="T7" fmla="*/ 2147483646 h 41"/>
                <a:gd name="T8" fmla="*/ 2147483646 w 38"/>
                <a:gd name="T9" fmla="*/ 2147483646 h 41"/>
                <a:gd name="T10" fmla="*/ 2147483646 w 38"/>
                <a:gd name="T11" fmla="*/ 2147483646 h 41"/>
                <a:gd name="T12" fmla="*/ 2147483646 w 38"/>
                <a:gd name="T13" fmla="*/ 2147483646 h 41"/>
                <a:gd name="T14" fmla="*/ 2147483646 w 38"/>
                <a:gd name="T15" fmla="*/ 2147483646 h 41"/>
                <a:gd name="T16" fmla="*/ 2147483646 w 38"/>
                <a:gd name="T17" fmla="*/ 2147483646 h 41"/>
                <a:gd name="T18" fmla="*/ 2147483646 w 38"/>
                <a:gd name="T19" fmla="*/ 2147483646 h 41"/>
                <a:gd name="T20" fmla="*/ 2147483646 w 38"/>
                <a:gd name="T21" fmla="*/ 2147483646 h 41"/>
                <a:gd name="T22" fmla="*/ 2147483646 w 38"/>
                <a:gd name="T23" fmla="*/ 2147483646 h 41"/>
                <a:gd name="T24" fmla="*/ 2147483646 w 38"/>
                <a:gd name="T25" fmla="*/ 2147483646 h 41"/>
                <a:gd name="T26" fmla="*/ 2147483646 w 38"/>
                <a:gd name="T27" fmla="*/ 0 h 41"/>
                <a:gd name="T28" fmla="*/ 2147483646 w 38"/>
                <a:gd name="T29" fmla="*/ 2147483646 h 41"/>
                <a:gd name="T30" fmla="*/ 2147483646 w 38"/>
                <a:gd name="T31" fmla="*/ 2147483646 h 41"/>
                <a:gd name="T32" fmla="*/ 2147483646 w 38"/>
                <a:gd name="T33" fmla="*/ 2147483646 h 41"/>
                <a:gd name="T34" fmla="*/ 2147483646 w 38"/>
                <a:gd name="T35" fmla="*/ 2147483646 h 41"/>
                <a:gd name="T36" fmla="*/ 2147483646 w 38"/>
                <a:gd name="T37" fmla="*/ 2147483646 h 41"/>
                <a:gd name="T38" fmla="*/ 2147483646 w 38"/>
                <a:gd name="T39" fmla="*/ 2147483646 h 41"/>
                <a:gd name="T40" fmla="*/ 0 w 38"/>
                <a:gd name="T41" fmla="*/ 2147483646 h 41"/>
                <a:gd name="T42" fmla="*/ 2147483646 w 38"/>
                <a:gd name="T43" fmla="*/ 2147483646 h 41"/>
                <a:gd name="T44" fmla="*/ 2147483646 w 38"/>
                <a:gd name="T45" fmla="*/ 2147483646 h 41"/>
                <a:gd name="T46" fmla="*/ 2147483646 w 38"/>
                <a:gd name="T47" fmla="*/ 2147483646 h 41"/>
                <a:gd name="T48" fmla="*/ 2147483646 w 38"/>
                <a:gd name="T49" fmla="*/ 2147483646 h 41"/>
                <a:gd name="T50" fmla="*/ 2147483646 w 38"/>
                <a:gd name="T51" fmla="*/ 2147483646 h 4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connsiteX0" fmla="*/ 1579 w 10000"/>
                <a:gd name="connsiteY0" fmla="*/ 8537 h 10000"/>
                <a:gd name="connsiteX1" fmla="*/ 2895 w 10000"/>
                <a:gd name="connsiteY1" fmla="*/ 9268 h 10000"/>
                <a:gd name="connsiteX2" fmla="*/ 3421 w 10000"/>
                <a:gd name="connsiteY2" fmla="*/ 9756 h 10000"/>
                <a:gd name="connsiteX3" fmla="*/ 3947 w 10000"/>
                <a:gd name="connsiteY3" fmla="*/ 10000 h 10000"/>
                <a:gd name="connsiteX4" fmla="*/ 3947 w 10000"/>
                <a:gd name="connsiteY4" fmla="*/ 10000 h 10000"/>
                <a:gd name="connsiteX5" fmla="*/ 4737 w 10000"/>
                <a:gd name="connsiteY5" fmla="*/ 9268 h 10000"/>
                <a:gd name="connsiteX6" fmla="*/ 5263 w 10000"/>
                <a:gd name="connsiteY6" fmla="*/ 9756 h 10000"/>
                <a:gd name="connsiteX7" fmla="*/ 5526 w 10000"/>
                <a:gd name="connsiteY7" fmla="*/ 9512 h 10000"/>
                <a:gd name="connsiteX8" fmla="*/ 9211 w 10000"/>
                <a:gd name="connsiteY8" fmla="*/ 9512 h 10000"/>
                <a:gd name="connsiteX9" fmla="*/ 10000 w 10000"/>
                <a:gd name="connsiteY9" fmla="*/ 9024 h 10000"/>
                <a:gd name="connsiteX10" fmla="*/ 9474 w 10000"/>
                <a:gd name="connsiteY10" fmla="*/ 8780 h 10000"/>
                <a:gd name="connsiteX11" fmla="*/ 8684 w 10000"/>
                <a:gd name="connsiteY11" fmla="*/ 1707 h 10000"/>
                <a:gd name="connsiteX12" fmla="*/ 9474 w 10000"/>
                <a:gd name="connsiteY12" fmla="*/ 1707 h 10000"/>
                <a:gd name="connsiteX13" fmla="*/ 7105 w 10000"/>
                <a:gd name="connsiteY13" fmla="*/ 0 h 10000"/>
                <a:gd name="connsiteX14" fmla="*/ 7105 w 10000"/>
                <a:gd name="connsiteY14" fmla="*/ 732 h 10000"/>
                <a:gd name="connsiteX15" fmla="*/ 4474 w 10000"/>
                <a:gd name="connsiteY15" fmla="*/ 732 h 10000"/>
                <a:gd name="connsiteX16" fmla="*/ 4211 w 10000"/>
                <a:gd name="connsiteY16" fmla="*/ 2683 h 10000"/>
                <a:gd name="connsiteX17" fmla="*/ 3684 w 10000"/>
                <a:gd name="connsiteY17" fmla="*/ 3171 h 10000"/>
                <a:gd name="connsiteX18" fmla="*/ 3421 w 10000"/>
                <a:gd name="connsiteY18" fmla="*/ 4878 h 10000"/>
                <a:gd name="connsiteX19" fmla="*/ 263 w 10000"/>
                <a:gd name="connsiteY19" fmla="*/ 4634 h 10000"/>
                <a:gd name="connsiteX20" fmla="*/ 0 w 10000"/>
                <a:gd name="connsiteY20" fmla="*/ 4878 h 10000"/>
                <a:gd name="connsiteX21" fmla="*/ 230 w 10000"/>
                <a:gd name="connsiteY21" fmla="*/ 6416 h 10000"/>
                <a:gd name="connsiteX22" fmla="*/ 789 w 10000"/>
                <a:gd name="connsiteY22" fmla="*/ 8049 h 10000"/>
                <a:gd name="connsiteX23" fmla="*/ 263 w 10000"/>
                <a:gd name="connsiteY23" fmla="*/ 8780 h 10000"/>
                <a:gd name="connsiteX24" fmla="*/ 1053 w 10000"/>
                <a:gd name="connsiteY24" fmla="*/ 8780 h 10000"/>
                <a:gd name="connsiteX25" fmla="*/ 1579 w 10000"/>
                <a:gd name="connsiteY25" fmla="*/ 853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000" h="10000">
                  <a:moveTo>
                    <a:pt x="1579" y="8537"/>
                  </a:moveTo>
                  <a:lnTo>
                    <a:pt x="2895" y="9268"/>
                  </a:lnTo>
                  <a:lnTo>
                    <a:pt x="3421" y="9756"/>
                  </a:lnTo>
                  <a:lnTo>
                    <a:pt x="3947" y="10000"/>
                  </a:lnTo>
                  <a:lnTo>
                    <a:pt x="3947" y="10000"/>
                  </a:lnTo>
                  <a:lnTo>
                    <a:pt x="4737" y="9268"/>
                  </a:lnTo>
                  <a:lnTo>
                    <a:pt x="5263" y="9756"/>
                  </a:lnTo>
                  <a:lnTo>
                    <a:pt x="5526" y="9512"/>
                  </a:lnTo>
                  <a:lnTo>
                    <a:pt x="9211" y="9512"/>
                  </a:lnTo>
                  <a:lnTo>
                    <a:pt x="10000" y="9024"/>
                  </a:lnTo>
                  <a:lnTo>
                    <a:pt x="9474" y="8780"/>
                  </a:lnTo>
                  <a:lnTo>
                    <a:pt x="8684" y="1707"/>
                  </a:lnTo>
                  <a:lnTo>
                    <a:pt x="9474" y="1707"/>
                  </a:lnTo>
                  <a:lnTo>
                    <a:pt x="7105" y="0"/>
                  </a:lnTo>
                  <a:lnTo>
                    <a:pt x="7105" y="732"/>
                  </a:lnTo>
                  <a:lnTo>
                    <a:pt x="4474" y="732"/>
                  </a:lnTo>
                  <a:lnTo>
                    <a:pt x="4211" y="2683"/>
                  </a:lnTo>
                  <a:lnTo>
                    <a:pt x="3684" y="3171"/>
                  </a:lnTo>
                  <a:cubicBezTo>
                    <a:pt x="3684" y="3171"/>
                    <a:pt x="3684" y="4878"/>
                    <a:pt x="3421" y="4878"/>
                  </a:cubicBezTo>
                  <a:cubicBezTo>
                    <a:pt x="3421" y="4878"/>
                    <a:pt x="1316" y="4634"/>
                    <a:pt x="263" y="4634"/>
                  </a:cubicBezTo>
                  <a:cubicBezTo>
                    <a:pt x="0" y="4878"/>
                    <a:pt x="6" y="4581"/>
                    <a:pt x="0" y="4878"/>
                  </a:cubicBezTo>
                  <a:cubicBezTo>
                    <a:pt x="-6" y="5175"/>
                    <a:pt x="230" y="6416"/>
                    <a:pt x="230" y="6416"/>
                  </a:cubicBezTo>
                  <a:cubicBezTo>
                    <a:pt x="230" y="8124"/>
                    <a:pt x="784" y="7655"/>
                    <a:pt x="789" y="8049"/>
                  </a:cubicBezTo>
                  <a:cubicBezTo>
                    <a:pt x="795" y="8443"/>
                    <a:pt x="263" y="8780"/>
                    <a:pt x="263" y="8780"/>
                  </a:cubicBezTo>
                  <a:lnTo>
                    <a:pt x="1053" y="8780"/>
                  </a:lnTo>
                  <a:lnTo>
                    <a:pt x="1579" y="853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307"/>
            <p:cNvSpPr>
              <a:spLocks/>
            </p:cNvSpPr>
            <p:nvPr/>
          </p:nvSpPr>
          <p:spPr bwMode="auto">
            <a:xfrm>
              <a:off x="4510140" y="3803192"/>
              <a:ext cx="409575" cy="388937"/>
            </a:xfrm>
            <a:custGeom>
              <a:avLst/>
              <a:gdLst>
                <a:gd name="T0" fmla="*/ 2147483646 w 52"/>
                <a:gd name="T1" fmla="*/ 2147483646 h 50"/>
                <a:gd name="T2" fmla="*/ 2147483646 w 52"/>
                <a:gd name="T3" fmla="*/ 2147483646 h 50"/>
                <a:gd name="T4" fmla="*/ 2147483646 w 52"/>
                <a:gd name="T5" fmla="*/ 2147483646 h 50"/>
                <a:gd name="T6" fmla="*/ 0 w 52"/>
                <a:gd name="T7" fmla="*/ 2147483646 h 50"/>
                <a:gd name="T8" fmla="*/ 0 w 52"/>
                <a:gd name="T9" fmla="*/ 2147483646 h 50"/>
                <a:gd name="T10" fmla="*/ 2147483646 w 52"/>
                <a:gd name="T11" fmla="*/ 2147483646 h 50"/>
                <a:gd name="T12" fmla="*/ 2147483646 w 52"/>
                <a:gd name="T13" fmla="*/ 2147483646 h 50"/>
                <a:gd name="T14" fmla="*/ 2147483646 w 52"/>
                <a:gd name="T15" fmla="*/ 2147483646 h 50"/>
                <a:gd name="T16" fmla="*/ 2147483646 w 52"/>
                <a:gd name="T17" fmla="*/ 2147483646 h 50"/>
                <a:gd name="T18" fmla="*/ 2147483646 w 52"/>
                <a:gd name="T19" fmla="*/ 2147483646 h 50"/>
                <a:gd name="T20" fmla="*/ 2147483646 w 52"/>
                <a:gd name="T21" fmla="*/ 2147483646 h 50"/>
                <a:gd name="T22" fmla="*/ 2147483646 w 52"/>
                <a:gd name="T23" fmla="*/ 2147483646 h 50"/>
                <a:gd name="T24" fmla="*/ 2147483646 w 52"/>
                <a:gd name="T25" fmla="*/ 2147483646 h 50"/>
                <a:gd name="T26" fmla="*/ 2147483646 w 52"/>
                <a:gd name="T27" fmla="*/ 2147483646 h 50"/>
                <a:gd name="T28" fmla="*/ 2147483646 w 52"/>
                <a:gd name="T29" fmla="*/ 2147483646 h 50"/>
                <a:gd name="T30" fmla="*/ 2147483646 w 52"/>
                <a:gd name="T31" fmla="*/ 2147483646 h 50"/>
                <a:gd name="T32" fmla="*/ 2147483646 w 52"/>
                <a:gd name="T33" fmla="*/ 2147483646 h 50"/>
                <a:gd name="T34" fmla="*/ 2147483646 w 52"/>
                <a:gd name="T35" fmla="*/ 2147483646 h 50"/>
                <a:gd name="T36" fmla="*/ 2147483646 w 52"/>
                <a:gd name="T37" fmla="*/ 2147483646 h 50"/>
                <a:gd name="T38" fmla="*/ 2147483646 w 52"/>
                <a:gd name="T39" fmla="*/ 2147483646 h 50"/>
                <a:gd name="T40" fmla="*/ 2147483646 w 52"/>
                <a:gd name="T41" fmla="*/ 2147483646 h 50"/>
                <a:gd name="T42" fmla="*/ 2147483646 w 52"/>
                <a:gd name="T43" fmla="*/ 2147483646 h 50"/>
                <a:gd name="T44" fmla="*/ 2147483646 w 52"/>
                <a:gd name="T45" fmla="*/ 2147483646 h 50"/>
                <a:gd name="T46" fmla="*/ 2147483646 w 52"/>
                <a:gd name="T47" fmla="*/ 2147483646 h 50"/>
                <a:gd name="T48" fmla="*/ 2147483646 w 52"/>
                <a:gd name="T49" fmla="*/ 2147483646 h 50"/>
                <a:gd name="T50" fmla="*/ 2147483646 w 52"/>
                <a:gd name="T51" fmla="*/ 2147483646 h 50"/>
                <a:gd name="T52" fmla="*/ 2147483646 w 52"/>
                <a:gd name="T53" fmla="*/ 2147483646 h 50"/>
                <a:gd name="T54" fmla="*/ 2147483646 w 52"/>
                <a:gd name="T55" fmla="*/ 2147483646 h 50"/>
                <a:gd name="T56" fmla="*/ 2147483646 w 52"/>
                <a:gd name="T57" fmla="*/ 2147483646 h 50"/>
                <a:gd name="T58" fmla="*/ 2147483646 w 52"/>
                <a:gd name="T59" fmla="*/ 2147483646 h 50"/>
                <a:gd name="T60" fmla="*/ 2147483646 w 52"/>
                <a:gd name="T61" fmla="*/ 2147483646 h 50"/>
                <a:gd name="T62" fmla="*/ 2147483646 w 52"/>
                <a:gd name="T63" fmla="*/ 2147483646 h 50"/>
                <a:gd name="T64" fmla="*/ 2147483646 w 52"/>
                <a:gd name="T65" fmla="*/ 2147483646 h 50"/>
                <a:gd name="T66" fmla="*/ 2147483646 w 52"/>
                <a:gd name="T67" fmla="*/ 0 h 50"/>
                <a:gd name="T68" fmla="*/ 2147483646 w 52"/>
                <a:gd name="T69" fmla="*/ 2147483646 h 50"/>
                <a:gd name="T70" fmla="*/ 2147483646 w 52"/>
                <a:gd name="T71" fmla="*/ 2147483646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connsiteX0" fmla="*/ 769 w 10000"/>
                <a:gd name="connsiteY0" fmla="*/ 1200 h 10000"/>
                <a:gd name="connsiteX1" fmla="*/ 577 w 10000"/>
                <a:gd name="connsiteY1" fmla="*/ 1800 h 10000"/>
                <a:gd name="connsiteX2" fmla="*/ 385 w 10000"/>
                <a:gd name="connsiteY2" fmla="*/ 2000 h 10000"/>
                <a:gd name="connsiteX3" fmla="*/ 0 w 10000"/>
                <a:gd name="connsiteY3" fmla="*/ 2400 h 10000"/>
                <a:gd name="connsiteX4" fmla="*/ 0 w 10000"/>
                <a:gd name="connsiteY4" fmla="*/ 5800 h 10000"/>
                <a:gd name="connsiteX5" fmla="*/ 1154 w 10000"/>
                <a:gd name="connsiteY5" fmla="*/ 6800 h 10000"/>
                <a:gd name="connsiteX6" fmla="*/ 1731 w 10000"/>
                <a:gd name="connsiteY6" fmla="*/ 7000 h 10000"/>
                <a:gd name="connsiteX7" fmla="*/ 3269 w 10000"/>
                <a:gd name="connsiteY7" fmla="*/ 7200 h 10000"/>
                <a:gd name="connsiteX8" fmla="*/ 3654 w 10000"/>
                <a:gd name="connsiteY8" fmla="*/ 7600 h 10000"/>
                <a:gd name="connsiteX9" fmla="*/ 4423 w 10000"/>
                <a:gd name="connsiteY9" fmla="*/ 7200 h 10000"/>
                <a:gd name="connsiteX10" fmla="*/ 9038 w 10000"/>
                <a:gd name="connsiteY10" fmla="*/ 9800 h 10000"/>
                <a:gd name="connsiteX11" fmla="*/ 9038 w 10000"/>
                <a:gd name="connsiteY11" fmla="*/ 9600 h 10000"/>
                <a:gd name="connsiteX12" fmla="*/ 9038 w 10000"/>
                <a:gd name="connsiteY12" fmla="*/ 9800 h 10000"/>
                <a:gd name="connsiteX13" fmla="*/ 9231 w 10000"/>
                <a:gd name="connsiteY13" fmla="*/ 10000 h 10000"/>
                <a:gd name="connsiteX14" fmla="*/ 9231 w 10000"/>
                <a:gd name="connsiteY14" fmla="*/ 9400 h 10000"/>
                <a:gd name="connsiteX15" fmla="*/ 9808 w 10000"/>
                <a:gd name="connsiteY15" fmla="*/ 9400 h 10000"/>
                <a:gd name="connsiteX16" fmla="*/ 10000 w 10000"/>
                <a:gd name="connsiteY16" fmla="*/ 8200 h 10000"/>
                <a:gd name="connsiteX17" fmla="*/ 9808 w 10000"/>
                <a:gd name="connsiteY17" fmla="*/ 8200 h 10000"/>
                <a:gd name="connsiteX18" fmla="*/ 9808 w 10000"/>
                <a:gd name="connsiteY18" fmla="*/ 3200 h 10000"/>
                <a:gd name="connsiteX19" fmla="*/ 9615 w 10000"/>
                <a:gd name="connsiteY19" fmla="*/ 2800 h 10000"/>
                <a:gd name="connsiteX20" fmla="*/ 9423 w 10000"/>
                <a:gd name="connsiteY20" fmla="*/ 2200 h 10000"/>
                <a:gd name="connsiteX21" fmla="*/ 9615 w 10000"/>
                <a:gd name="connsiteY21" fmla="*/ 1600 h 10000"/>
                <a:gd name="connsiteX22" fmla="*/ 9808 w 10000"/>
                <a:gd name="connsiteY22" fmla="*/ 1200 h 10000"/>
                <a:gd name="connsiteX23" fmla="*/ 9231 w 10000"/>
                <a:gd name="connsiteY23" fmla="*/ 1000 h 10000"/>
                <a:gd name="connsiteX24" fmla="*/ 8654 w 10000"/>
                <a:gd name="connsiteY24" fmla="*/ 600 h 10000"/>
                <a:gd name="connsiteX25" fmla="*/ 7885 w 10000"/>
                <a:gd name="connsiteY25" fmla="*/ 400 h 10000"/>
                <a:gd name="connsiteX26" fmla="*/ 6091 w 10000"/>
                <a:gd name="connsiteY26" fmla="*/ 922 h 10000"/>
                <a:gd name="connsiteX27" fmla="*/ 6731 w 10000"/>
                <a:gd name="connsiteY27" fmla="*/ 1600 h 10000"/>
                <a:gd name="connsiteX28" fmla="*/ 5577 w 10000"/>
                <a:gd name="connsiteY28" fmla="*/ 2000 h 10000"/>
                <a:gd name="connsiteX29" fmla="*/ 4808 w 10000"/>
                <a:gd name="connsiteY29" fmla="*/ 1400 h 10000"/>
                <a:gd name="connsiteX30" fmla="*/ 4231 w 10000"/>
                <a:gd name="connsiteY30" fmla="*/ 1000 h 10000"/>
                <a:gd name="connsiteX31" fmla="*/ 3846 w 10000"/>
                <a:gd name="connsiteY31" fmla="*/ 600 h 10000"/>
                <a:gd name="connsiteX32" fmla="*/ 2500 w 10000"/>
                <a:gd name="connsiteY32" fmla="*/ 400 h 10000"/>
                <a:gd name="connsiteX33" fmla="*/ 1538 w 10000"/>
                <a:gd name="connsiteY33" fmla="*/ 0 h 10000"/>
                <a:gd name="connsiteX34" fmla="*/ 1538 w 10000"/>
                <a:gd name="connsiteY34" fmla="*/ 400 h 10000"/>
                <a:gd name="connsiteX35" fmla="*/ 769 w 10000"/>
                <a:gd name="connsiteY35" fmla="*/ 1200 h 10000"/>
                <a:gd name="connsiteX0" fmla="*/ 769 w 10000"/>
                <a:gd name="connsiteY0" fmla="*/ 1200 h 10000"/>
                <a:gd name="connsiteX1" fmla="*/ 577 w 10000"/>
                <a:gd name="connsiteY1" fmla="*/ 1800 h 10000"/>
                <a:gd name="connsiteX2" fmla="*/ 385 w 10000"/>
                <a:gd name="connsiteY2" fmla="*/ 2000 h 10000"/>
                <a:gd name="connsiteX3" fmla="*/ 0 w 10000"/>
                <a:gd name="connsiteY3" fmla="*/ 2400 h 10000"/>
                <a:gd name="connsiteX4" fmla="*/ 0 w 10000"/>
                <a:gd name="connsiteY4" fmla="*/ 5800 h 10000"/>
                <a:gd name="connsiteX5" fmla="*/ 1154 w 10000"/>
                <a:gd name="connsiteY5" fmla="*/ 6800 h 10000"/>
                <a:gd name="connsiteX6" fmla="*/ 1731 w 10000"/>
                <a:gd name="connsiteY6" fmla="*/ 7000 h 10000"/>
                <a:gd name="connsiteX7" fmla="*/ 3269 w 10000"/>
                <a:gd name="connsiteY7" fmla="*/ 7200 h 10000"/>
                <a:gd name="connsiteX8" fmla="*/ 3654 w 10000"/>
                <a:gd name="connsiteY8" fmla="*/ 7600 h 10000"/>
                <a:gd name="connsiteX9" fmla="*/ 4423 w 10000"/>
                <a:gd name="connsiteY9" fmla="*/ 7200 h 10000"/>
                <a:gd name="connsiteX10" fmla="*/ 9038 w 10000"/>
                <a:gd name="connsiteY10" fmla="*/ 9800 h 10000"/>
                <a:gd name="connsiteX11" fmla="*/ 9038 w 10000"/>
                <a:gd name="connsiteY11" fmla="*/ 9600 h 10000"/>
                <a:gd name="connsiteX12" fmla="*/ 9038 w 10000"/>
                <a:gd name="connsiteY12" fmla="*/ 9800 h 10000"/>
                <a:gd name="connsiteX13" fmla="*/ 9231 w 10000"/>
                <a:gd name="connsiteY13" fmla="*/ 10000 h 10000"/>
                <a:gd name="connsiteX14" fmla="*/ 9231 w 10000"/>
                <a:gd name="connsiteY14" fmla="*/ 9400 h 10000"/>
                <a:gd name="connsiteX15" fmla="*/ 9808 w 10000"/>
                <a:gd name="connsiteY15" fmla="*/ 9400 h 10000"/>
                <a:gd name="connsiteX16" fmla="*/ 10000 w 10000"/>
                <a:gd name="connsiteY16" fmla="*/ 8200 h 10000"/>
                <a:gd name="connsiteX17" fmla="*/ 9808 w 10000"/>
                <a:gd name="connsiteY17" fmla="*/ 8200 h 10000"/>
                <a:gd name="connsiteX18" fmla="*/ 9808 w 10000"/>
                <a:gd name="connsiteY18" fmla="*/ 3200 h 10000"/>
                <a:gd name="connsiteX19" fmla="*/ 9615 w 10000"/>
                <a:gd name="connsiteY19" fmla="*/ 2800 h 10000"/>
                <a:gd name="connsiteX20" fmla="*/ 9423 w 10000"/>
                <a:gd name="connsiteY20" fmla="*/ 2200 h 10000"/>
                <a:gd name="connsiteX21" fmla="*/ 9615 w 10000"/>
                <a:gd name="connsiteY21" fmla="*/ 1600 h 10000"/>
                <a:gd name="connsiteX22" fmla="*/ 9808 w 10000"/>
                <a:gd name="connsiteY22" fmla="*/ 1200 h 10000"/>
                <a:gd name="connsiteX23" fmla="*/ 9231 w 10000"/>
                <a:gd name="connsiteY23" fmla="*/ 1000 h 10000"/>
                <a:gd name="connsiteX24" fmla="*/ 8654 w 10000"/>
                <a:gd name="connsiteY24" fmla="*/ 600 h 10000"/>
                <a:gd name="connsiteX25" fmla="*/ 7885 w 10000"/>
                <a:gd name="connsiteY25" fmla="*/ 400 h 10000"/>
                <a:gd name="connsiteX26" fmla="*/ 6091 w 10000"/>
                <a:gd name="connsiteY26" fmla="*/ 922 h 10000"/>
                <a:gd name="connsiteX27" fmla="*/ 6208 w 10000"/>
                <a:gd name="connsiteY27" fmla="*/ 1600 h 10000"/>
                <a:gd name="connsiteX28" fmla="*/ 5577 w 10000"/>
                <a:gd name="connsiteY28" fmla="*/ 2000 h 10000"/>
                <a:gd name="connsiteX29" fmla="*/ 4808 w 10000"/>
                <a:gd name="connsiteY29" fmla="*/ 1400 h 10000"/>
                <a:gd name="connsiteX30" fmla="*/ 4231 w 10000"/>
                <a:gd name="connsiteY30" fmla="*/ 1000 h 10000"/>
                <a:gd name="connsiteX31" fmla="*/ 3846 w 10000"/>
                <a:gd name="connsiteY31" fmla="*/ 600 h 10000"/>
                <a:gd name="connsiteX32" fmla="*/ 2500 w 10000"/>
                <a:gd name="connsiteY32" fmla="*/ 400 h 10000"/>
                <a:gd name="connsiteX33" fmla="*/ 1538 w 10000"/>
                <a:gd name="connsiteY33" fmla="*/ 0 h 10000"/>
                <a:gd name="connsiteX34" fmla="*/ 1538 w 10000"/>
                <a:gd name="connsiteY34" fmla="*/ 400 h 10000"/>
                <a:gd name="connsiteX35" fmla="*/ 769 w 10000"/>
                <a:gd name="connsiteY35" fmla="*/ 12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000" h="10000">
                  <a:moveTo>
                    <a:pt x="769" y="1200"/>
                  </a:moveTo>
                  <a:lnTo>
                    <a:pt x="577" y="1800"/>
                  </a:lnTo>
                  <a:lnTo>
                    <a:pt x="385" y="2000"/>
                  </a:lnTo>
                  <a:lnTo>
                    <a:pt x="0" y="2400"/>
                  </a:lnTo>
                  <a:lnTo>
                    <a:pt x="0" y="5800"/>
                  </a:lnTo>
                  <a:lnTo>
                    <a:pt x="1154" y="6800"/>
                  </a:lnTo>
                  <a:lnTo>
                    <a:pt x="1731" y="7000"/>
                  </a:lnTo>
                  <a:lnTo>
                    <a:pt x="3269" y="7200"/>
                  </a:lnTo>
                  <a:lnTo>
                    <a:pt x="3654" y="7600"/>
                  </a:lnTo>
                  <a:lnTo>
                    <a:pt x="4423" y="7200"/>
                  </a:lnTo>
                  <a:lnTo>
                    <a:pt x="9038" y="9800"/>
                  </a:lnTo>
                  <a:lnTo>
                    <a:pt x="9038" y="9600"/>
                  </a:lnTo>
                  <a:lnTo>
                    <a:pt x="9038" y="9800"/>
                  </a:lnTo>
                  <a:cubicBezTo>
                    <a:pt x="9102" y="9867"/>
                    <a:pt x="9167" y="9933"/>
                    <a:pt x="9231" y="10000"/>
                  </a:cubicBezTo>
                  <a:lnTo>
                    <a:pt x="9231" y="9400"/>
                  </a:lnTo>
                  <a:lnTo>
                    <a:pt x="9808" y="9400"/>
                  </a:lnTo>
                  <a:lnTo>
                    <a:pt x="10000" y="8200"/>
                  </a:lnTo>
                  <a:lnTo>
                    <a:pt x="9808" y="8200"/>
                  </a:lnTo>
                  <a:cubicBezTo>
                    <a:pt x="9615" y="8200"/>
                    <a:pt x="9808" y="3200"/>
                    <a:pt x="9808" y="3200"/>
                  </a:cubicBezTo>
                  <a:lnTo>
                    <a:pt x="9615" y="2800"/>
                  </a:lnTo>
                  <a:cubicBezTo>
                    <a:pt x="9615" y="2600"/>
                    <a:pt x="9423" y="2200"/>
                    <a:pt x="9423" y="2200"/>
                  </a:cubicBezTo>
                  <a:lnTo>
                    <a:pt x="9615" y="1600"/>
                  </a:lnTo>
                  <a:lnTo>
                    <a:pt x="9808" y="1200"/>
                  </a:lnTo>
                  <a:lnTo>
                    <a:pt x="9231" y="1000"/>
                  </a:lnTo>
                  <a:lnTo>
                    <a:pt x="8654" y="600"/>
                  </a:lnTo>
                  <a:cubicBezTo>
                    <a:pt x="7885" y="400"/>
                    <a:pt x="8312" y="346"/>
                    <a:pt x="7885" y="400"/>
                  </a:cubicBezTo>
                  <a:cubicBezTo>
                    <a:pt x="7458" y="454"/>
                    <a:pt x="6370" y="722"/>
                    <a:pt x="6091" y="922"/>
                  </a:cubicBezTo>
                  <a:cubicBezTo>
                    <a:pt x="5812" y="1122"/>
                    <a:pt x="6294" y="1420"/>
                    <a:pt x="6208" y="1600"/>
                  </a:cubicBezTo>
                  <a:cubicBezTo>
                    <a:pt x="6122" y="1780"/>
                    <a:pt x="5810" y="2033"/>
                    <a:pt x="5577" y="2000"/>
                  </a:cubicBezTo>
                  <a:cubicBezTo>
                    <a:pt x="5344" y="1967"/>
                    <a:pt x="5064" y="1600"/>
                    <a:pt x="4808" y="1400"/>
                  </a:cubicBezTo>
                  <a:lnTo>
                    <a:pt x="4231" y="1000"/>
                  </a:lnTo>
                  <a:lnTo>
                    <a:pt x="3846" y="600"/>
                  </a:lnTo>
                  <a:lnTo>
                    <a:pt x="2500" y="400"/>
                  </a:lnTo>
                  <a:lnTo>
                    <a:pt x="1538" y="0"/>
                  </a:lnTo>
                  <a:lnTo>
                    <a:pt x="1538" y="400"/>
                  </a:lnTo>
                  <a:lnTo>
                    <a:pt x="769" y="120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6" name="Freeform 308"/>
            <p:cNvSpPr>
              <a:spLocks/>
            </p:cNvSpPr>
            <p:nvPr/>
          </p:nvSpPr>
          <p:spPr bwMode="auto">
            <a:xfrm>
              <a:off x="4489502" y="3675583"/>
              <a:ext cx="103188" cy="193675"/>
            </a:xfrm>
            <a:custGeom>
              <a:avLst/>
              <a:gdLst>
                <a:gd name="T0" fmla="*/ 2147483646 w 78"/>
                <a:gd name="T1" fmla="*/ 2147483646 h 150"/>
                <a:gd name="T2" fmla="*/ 2147483646 w 78"/>
                <a:gd name="T3" fmla="*/ 2147483646 h 150"/>
                <a:gd name="T4" fmla="*/ 2147483646 w 78"/>
                <a:gd name="T5" fmla="*/ 2147483646 h 150"/>
                <a:gd name="T6" fmla="*/ 0 w 78"/>
                <a:gd name="T7" fmla="*/ 2147483646 h 150"/>
                <a:gd name="T8" fmla="*/ 0 w 78"/>
                <a:gd name="T9" fmla="*/ 2147483646 h 150"/>
                <a:gd name="T10" fmla="*/ 2147483646 w 78"/>
                <a:gd name="T11" fmla="*/ 2147483646 h 150"/>
                <a:gd name="T12" fmla="*/ 2147483646 w 78"/>
                <a:gd name="T13" fmla="*/ 2147483646 h 150"/>
                <a:gd name="T14" fmla="*/ 2147483646 w 78"/>
                <a:gd name="T15" fmla="*/ 2147483646 h 150"/>
                <a:gd name="T16" fmla="*/ 2147483646 w 78"/>
                <a:gd name="T17" fmla="*/ 2147483646 h 150"/>
                <a:gd name="T18" fmla="*/ 2147483646 w 78"/>
                <a:gd name="T19" fmla="*/ 2147483646 h 150"/>
                <a:gd name="T20" fmla="*/ 2147483646 w 78"/>
                <a:gd name="T21" fmla="*/ 2147483646 h 150"/>
                <a:gd name="T22" fmla="*/ 2147483646 w 78"/>
                <a:gd name="T23" fmla="*/ 2147483646 h 150"/>
                <a:gd name="T24" fmla="*/ 2147483646 w 78"/>
                <a:gd name="T25" fmla="*/ 2147483646 h 150"/>
                <a:gd name="T26" fmla="*/ 2147483646 w 78"/>
                <a:gd name="T27" fmla="*/ 2147483646 h 150"/>
                <a:gd name="T28" fmla="*/ 2147483646 w 78"/>
                <a:gd name="T29" fmla="*/ 2147483646 h 150"/>
                <a:gd name="T30" fmla="*/ 2147483646 w 78"/>
                <a:gd name="T31" fmla="*/ 2147483646 h 150"/>
                <a:gd name="T32" fmla="*/ 2147483646 w 78"/>
                <a:gd name="T33" fmla="*/ 2147483646 h 150"/>
                <a:gd name="T34" fmla="*/ 2147483646 w 78"/>
                <a:gd name="T35" fmla="*/ 2147483646 h 150"/>
                <a:gd name="T36" fmla="*/ 2147483646 w 78"/>
                <a:gd name="T37" fmla="*/ 0 h 150"/>
                <a:gd name="T38" fmla="*/ 2147483646 w 78"/>
                <a:gd name="T39" fmla="*/ 0 h 150"/>
                <a:gd name="T40" fmla="*/ 2147483646 w 78"/>
                <a:gd name="T41" fmla="*/ 2147483646 h 150"/>
                <a:gd name="T42" fmla="*/ 2147483646 w 78"/>
                <a:gd name="T43" fmla="*/ 2147483646 h 1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78" h="150">
                  <a:moveTo>
                    <a:pt x="18" y="12"/>
                  </a:moveTo>
                  <a:lnTo>
                    <a:pt x="18" y="30"/>
                  </a:lnTo>
                  <a:lnTo>
                    <a:pt x="18" y="54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36" y="120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44"/>
                  </a:lnTo>
                  <a:lnTo>
                    <a:pt x="54" y="126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60" y="84"/>
                  </a:lnTo>
                  <a:lnTo>
                    <a:pt x="42" y="72"/>
                  </a:lnTo>
                  <a:lnTo>
                    <a:pt x="66" y="36"/>
                  </a:lnTo>
                  <a:lnTo>
                    <a:pt x="60" y="12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Freeform 309"/>
            <p:cNvSpPr>
              <a:spLocks/>
            </p:cNvSpPr>
            <p:nvPr/>
          </p:nvSpPr>
          <p:spPr bwMode="auto">
            <a:xfrm>
              <a:off x="3983090" y="3721621"/>
              <a:ext cx="296862" cy="227012"/>
            </a:xfrm>
            <a:custGeom>
              <a:avLst/>
              <a:gdLst>
                <a:gd name="T0" fmla="*/ 2147483646 w 228"/>
                <a:gd name="T1" fmla="*/ 2147483646 h 174"/>
                <a:gd name="T2" fmla="*/ 2147483646 w 228"/>
                <a:gd name="T3" fmla="*/ 2147483646 h 174"/>
                <a:gd name="T4" fmla="*/ 2147483646 w 228"/>
                <a:gd name="T5" fmla="*/ 2147483646 h 174"/>
                <a:gd name="T6" fmla="*/ 2147483646 w 228"/>
                <a:gd name="T7" fmla="*/ 2147483646 h 174"/>
                <a:gd name="T8" fmla="*/ 2147483646 w 228"/>
                <a:gd name="T9" fmla="*/ 2147483646 h 174"/>
                <a:gd name="T10" fmla="*/ 2147483646 w 228"/>
                <a:gd name="T11" fmla="*/ 2147483646 h 174"/>
                <a:gd name="T12" fmla="*/ 2147483646 w 228"/>
                <a:gd name="T13" fmla="*/ 2147483646 h 174"/>
                <a:gd name="T14" fmla="*/ 2147483646 w 228"/>
                <a:gd name="T15" fmla="*/ 2147483646 h 174"/>
                <a:gd name="T16" fmla="*/ 2147483646 w 228"/>
                <a:gd name="T17" fmla="*/ 2147483646 h 174"/>
                <a:gd name="T18" fmla="*/ 2147483646 w 228"/>
                <a:gd name="T19" fmla="*/ 2147483646 h 174"/>
                <a:gd name="T20" fmla="*/ 2147483646 w 228"/>
                <a:gd name="T21" fmla="*/ 2147483646 h 174"/>
                <a:gd name="T22" fmla="*/ 2147483646 w 228"/>
                <a:gd name="T23" fmla="*/ 2147483646 h 174"/>
                <a:gd name="T24" fmla="*/ 2147483646 w 228"/>
                <a:gd name="T25" fmla="*/ 2147483646 h 174"/>
                <a:gd name="T26" fmla="*/ 2147483646 w 228"/>
                <a:gd name="T27" fmla="*/ 0 h 174"/>
                <a:gd name="T28" fmla="*/ 2147483646 w 228"/>
                <a:gd name="T29" fmla="*/ 2147483646 h 174"/>
                <a:gd name="T30" fmla="*/ 2147483646 w 228"/>
                <a:gd name="T31" fmla="*/ 2147483646 h 174"/>
                <a:gd name="T32" fmla="*/ 2147483646 w 228"/>
                <a:gd name="T33" fmla="*/ 2147483646 h 174"/>
                <a:gd name="T34" fmla="*/ 2147483646 w 228"/>
                <a:gd name="T35" fmla="*/ 2147483646 h 174"/>
                <a:gd name="T36" fmla="*/ 2147483646 w 228"/>
                <a:gd name="T37" fmla="*/ 2147483646 h 174"/>
                <a:gd name="T38" fmla="*/ 0 w 228"/>
                <a:gd name="T39" fmla="*/ 2147483646 h 174"/>
                <a:gd name="T40" fmla="*/ 2147483646 w 228"/>
                <a:gd name="T41" fmla="*/ 2147483646 h 174"/>
                <a:gd name="T42" fmla="*/ 2147483646 w 228"/>
                <a:gd name="T43" fmla="*/ 2147483646 h 1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28" h="174">
                  <a:moveTo>
                    <a:pt x="90" y="156"/>
                  </a:moveTo>
                  <a:lnTo>
                    <a:pt x="114" y="138"/>
                  </a:lnTo>
                  <a:lnTo>
                    <a:pt x="144" y="120"/>
                  </a:lnTo>
                  <a:lnTo>
                    <a:pt x="180" y="108"/>
                  </a:lnTo>
                  <a:lnTo>
                    <a:pt x="186" y="96"/>
                  </a:lnTo>
                  <a:lnTo>
                    <a:pt x="192" y="84"/>
                  </a:lnTo>
                  <a:lnTo>
                    <a:pt x="216" y="78"/>
                  </a:lnTo>
                  <a:lnTo>
                    <a:pt x="228" y="72"/>
                  </a:lnTo>
                  <a:lnTo>
                    <a:pt x="222" y="42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8" y="12"/>
                  </a:lnTo>
                  <a:lnTo>
                    <a:pt x="144" y="0"/>
                  </a:lnTo>
                  <a:lnTo>
                    <a:pt x="120" y="36"/>
                  </a:lnTo>
                  <a:lnTo>
                    <a:pt x="96" y="60"/>
                  </a:lnTo>
                  <a:lnTo>
                    <a:pt x="72" y="90"/>
                  </a:lnTo>
                  <a:lnTo>
                    <a:pt x="66" y="138"/>
                  </a:lnTo>
                  <a:lnTo>
                    <a:pt x="12" y="162"/>
                  </a:lnTo>
                  <a:lnTo>
                    <a:pt x="0" y="174"/>
                  </a:lnTo>
                  <a:lnTo>
                    <a:pt x="84" y="174"/>
                  </a:lnTo>
                  <a:lnTo>
                    <a:pt x="90" y="15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Freeform 310"/>
            <p:cNvSpPr>
              <a:spLocks/>
            </p:cNvSpPr>
            <p:nvPr/>
          </p:nvSpPr>
          <p:spPr bwMode="auto">
            <a:xfrm>
              <a:off x="3894190" y="3948633"/>
              <a:ext cx="204787" cy="177800"/>
            </a:xfrm>
            <a:custGeom>
              <a:avLst/>
              <a:gdLst>
                <a:gd name="T0" fmla="*/ 2147483646 w 26"/>
                <a:gd name="T1" fmla="*/ 2147483646 h 23"/>
                <a:gd name="T2" fmla="*/ 2147483646 w 26"/>
                <a:gd name="T3" fmla="*/ 2147483646 h 23"/>
                <a:gd name="T4" fmla="*/ 2147483646 w 26"/>
                <a:gd name="T5" fmla="*/ 2147483646 h 23"/>
                <a:gd name="T6" fmla="*/ 2147483646 w 26"/>
                <a:gd name="T7" fmla="*/ 2147483646 h 23"/>
                <a:gd name="T8" fmla="*/ 2147483646 w 26"/>
                <a:gd name="T9" fmla="*/ 2147483646 h 23"/>
                <a:gd name="T10" fmla="*/ 2147483646 w 26"/>
                <a:gd name="T11" fmla="*/ 2147483646 h 23"/>
                <a:gd name="T12" fmla="*/ 2147483646 w 26"/>
                <a:gd name="T13" fmla="*/ 0 h 23"/>
                <a:gd name="T14" fmla="*/ 2147483646 w 26"/>
                <a:gd name="T15" fmla="*/ 0 h 23"/>
                <a:gd name="T16" fmla="*/ 2147483646 w 26"/>
                <a:gd name="T17" fmla="*/ 2147483646 h 23"/>
                <a:gd name="T18" fmla="*/ 2147483646 w 26"/>
                <a:gd name="T19" fmla="*/ 2147483646 h 23"/>
                <a:gd name="T20" fmla="*/ 0 w 26"/>
                <a:gd name="T21" fmla="*/ 2147483646 h 23"/>
                <a:gd name="T22" fmla="*/ 2147483646 w 26"/>
                <a:gd name="T23" fmla="*/ 2147483646 h 23"/>
                <a:gd name="T24" fmla="*/ 2147483646 w 26"/>
                <a:gd name="T25" fmla="*/ 2147483646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23">
                  <a:moveTo>
                    <a:pt x="13" y="16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2"/>
                    <a:pt x="12" y="23"/>
                    <a:pt x="12" y="23"/>
                  </a:cubicBezTo>
                  <a:cubicBezTo>
                    <a:pt x="13" y="23"/>
                    <a:pt x="13" y="16"/>
                    <a:pt x="13" y="16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Freeform 311"/>
            <p:cNvSpPr>
              <a:spLocks/>
            </p:cNvSpPr>
            <p:nvPr/>
          </p:nvSpPr>
          <p:spPr bwMode="auto">
            <a:xfrm>
              <a:off x="3901418" y="4344961"/>
              <a:ext cx="61912" cy="47625"/>
            </a:xfrm>
            <a:custGeom>
              <a:avLst/>
              <a:gdLst>
                <a:gd name="T0" fmla="*/ 2147483646 w 48"/>
                <a:gd name="T1" fmla="*/ 2147483646 h 36"/>
                <a:gd name="T2" fmla="*/ 2147483646 w 48"/>
                <a:gd name="T3" fmla="*/ 2147483646 h 36"/>
                <a:gd name="T4" fmla="*/ 2147483646 w 48"/>
                <a:gd name="T5" fmla="*/ 0 h 36"/>
                <a:gd name="T6" fmla="*/ 2147483646 w 48"/>
                <a:gd name="T7" fmla="*/ 0 h 36"/>
                <a:gd name="T8" fmla="*/ 2147483646 w 48"/>
                <a:gd name="T9" fmla="*/ 2147483646 h 36"/>
                <a:gd name="T10" fmla="*/ 0 w 48"/>
                <a:gd name="T11" fmla="*/ 2147483646 h 36"/>
                <a:gd name="T12" fmla="*/ 2147483646 w 48"/>
                <a:gd name="T13" fmla="*/ 2147483646 h 36"/>
                <a:gd name="T14" fmla="*/ 2147483646 w 48"/>
                <a:gd name="T15" fmla="*/ 2147483646 h 36"/>
                <a:gd name="T16" fmla="*/ 2147483646 w 48"/>
                <a:gd name="T17" fmla="*/ 2147483646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36">
                  <a:moveTo>
                    <a:pt x="48" y="24"/>
                  </a:move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8" y="36"/>
                  </a:lnTo>
                  <a:lnTo>
                    <a:pt x="36" y="24"/>
                  </a:lnTo>
                  <a:lnTo>
                    <a:pt x="48" y="2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Freeform 313"/>
            <p:cNvSpPr>
              <a:spLocks/>
            </p:cNvSpPr>
            <p:nvPr/>
          </p:nvSpPr>
          <p:spPr bwMode="auto">
            <a:xfrm>
              <a:off x="4096680" y="4400524"/>
              <a:ext cx="149225" cy="147637"/>
            </a:xfrm>
            <a:custGeom>
              <a:avLst/>
              <a:gdLst>
                <a:gd name="T0" fmla="*/ 2147483646 w 19"/>
                <a:gd name="T1" fmla="*/ 2147483646 h 19"/>
                <a:gd name="T2" fmla="*/ 2147483646 w 19"/>
                <a:gd name="T3" fmla="*/ 2147483646 h 19"/>
                <a:gd name="T4" fmla="*/ 2147483646 w 19"/>
                <a:gd name="T5" fmla="*/ 2147483646 h 19"/>
                <a:gd name="T6" fmla="*/ 2147483646 w 19"/>
                <a:gd name="T7" fmla="*/ 2147483646 h 19"/>
                <a:gd name="T8" fmla="*/ 2147483646 w 19"/>
                <a:gd name="T9" fmla="*/ 2147483646 h 19"/>
                <a:gd name="T10" fmla="*/ 2147483646 w 19"/>
                <a:gd name="T11" fmla="*/ 2147483646 h 19"/>
                <a:gd name="T12" fmla="*/ 2147483646 w 19"/>
                <a:gd name="T13" fmla="*/ 0 h 19"/>
                <a:gd name="T14" fmla="*/ 2147483646 w 19"/>
                <a:gd name="T15" fmla="*/ 0 h 19"/>
                <a:gd name="T16" fmla="*/ 2147483646 w 19"/>
                <a:gd name="T17" fmla="*/ 0 h 19"/>
                <a:gd name="T18" fmla="*/ 2147483646 w 19"/>
                <a:gd name="T19" fmla="*/ 2147483646 h 19"/>
                <a:gd name="T20" fmla="*/ 2147483646 w 19"/>
                <a:gd name="T21" fmla="*/ 2147483646 h 19"/>
                <a:gd name="T22" fmla="*/ 2147483646 w 19"/>
                <a:gd name="T23" fmla="*/ 2147483646 h 19"/>
                <a:gd name="T24" fmla="*/ 2147483646 w 19"/>
                <a:gd name="T25" fmla="*/ 2147483646 h 19"/>
                <a:gd name="T26" fmla="*/ 0 w 19"/>
                <a:gd name="T27" fmla="*/ 2147483646 h 19"/>
                <a:gd name="T28" fmla="*/ 2147483646 w 19"/>
                <a:gd name="T29" fmla="*/ 2147483646 h 19"/>
                <a:gd name="T30" fmla="*/ 2147483646 w 19"/>
                <a:gd name="T31" fmla="*/ 2147483646 h 19"/>
                <a:gd name="T32" fmla="*/ 2147483646 w 19"/>
                <a:gd name="T33" fmla="*/ 2147483646 h 19"/>
                <a:gd name="T34" fmla="*/ 2147483646 w 19"/>
                <a:gd name="T35" fmla="*/ 2147483646 h 19"/>
                <a:gd name="T36" fmla="*/ 2147483646 w 19"/>
                <a:gd name="T37" fmla="*/ 2147483646 h 19"/>
                <a:gd name="T38" fmla="*/ 2147483646 w 19"/>
                <a:gd name="T39" fmla="*/ 2147483646 h 19"/>
                <a:gd name="T40" fmla="*/ 2147483646 w 19"/>
                <a:gd name="T41" fmla="*/ 2147483646 h 19"/>
                <a:gd name="T42" fmla="*/ 2147483646 w 19"/>
                <a:gd name="T43" fmla="*/ 2147483646 h 19"/>
                <a:gd name="T44" fmla="*/ 2147483646 w 19"/>
                <a:gd name="T45" fmla="*/ 2147483646 h 1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" h="19">
                  <a:moveTo>
                    <a:pt x="17" y="10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4"/>
                    <a:pt x="1" y="14"/>
                  </a:cubicBezTo>
                  <a:cubicBezTo>
                    <a:pt x="1" y="14"/>
                    <a:pt x="4" y="16"/>
                    <a:pt x="4" y="1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3"/>
                    <a:pt x="17" y="13"/>
                    <a:pt x="17" y="13"/>
                  </a:cubicBezTo>
                  <a:lnTo>
                    <a:pt x="17" y="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314"/>
            <p:cNvSpPr>
              <a:spLocks/>
            </p:cNvSpPr>
            <p:nvPr/>
          </p:nvSpPr>
          <p:spPr bwMode="auto">
            <a:xfrm>
              <a:off x="4020480" y="4456086"/>
              <a:ext cx="106363" cy="92075"/>
            </a:xfrm>
            <a:custGeom>
              <a:avLst/>
              <a:gdLst>
                <a:gd name="T0" fmla="*/ 2147483646 w 14"/>
                <a:gd name="T1" fmla="*/ 2147483646 h 12"/>
                <a:gd name="T2" fmla="*/ 2147483646 w 14"/>
                <a:gd name="T3" fmla="*/ 2147483646 h 12"/>
                <a:gd name="T4" fmla="*/ 2147483646 w 14"/>
                <a:gd name="T5" fmla="*/ 2147483646 h 12"/>
                <a:gd name="T6" fmla="*/ 2147483646 w 14"/>
                <a:gd name="T7" fmla="*/ 2147483646 h 12"/>
                <a:gd name="T8" fmla="*/ 2147483646 w 14"/>
                <a:gd name="T9" fmla="*/ 2147483646 h 12"/>
                <a:gd name="T10" fmla="*/ 2147483646 w 14"/>
                <a:gd name="T11" fmla="*/ 0 h 12"/>
                <a:gd name="T12" fmla="*/ 2147483646 w 14"/>
                <a:gd name="T13" fmla="*/ 2147483646 h 12"/>
                <a:gd name="T14" fmla="*/ 2147483646 w 14"/>
                <a:gd name="T15" fmla="*/ 2147483646 h 12"/>
                <a:gd name="T16" fmla="*/ 0 w 14"/>
                <a:gd name="T17" fmla="*/ 2147483646 h 12"/>
                <a:gd name="T18" fmla="*/ 2147483646 w 14"/>
                <a:gd name="T19" fmla="*/ 2147483646 h 12"/>
                <a:gd name="T20" fmla="*/ 2147483646 w 14"/>
                <a:gd name="T21" fmla="*/ 2147483646 h 12"/>
                <a:gd name="T22" fmla="*/ 2147483646 w 14"/>
                <a:gd name="T23" fmla="*/ 2147483646 h 12"/>
                <a:gd name="T24" fmla="*/ 2147483646 w 14"/>
                <a:gd name="T25" fmla="*/ 2147483646 h 12"/>
                <a:gd name="T26" fmla="*/ 2147483646 w 14"/>
                <a:gd name="T27" fmla="*/ 2147483646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4" h="12">
                  <a:moveTo>
                    <a:pt x="11" y="7"/>
                  </a:moveTo>
                  <a:cubicBezTo>
                    <a:pt x="10" y="7"/>
                    <a:pt x="11" y="4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8" y="4"/>
                    <a:pt x="8" y="4"/>
                  </a:cubicBezTo>
                  <a:cubicBezTo>
                    <a:pt x="7" y="4"/>
                    <a:pt x="6" y="1"/>
                    <a:pt x="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1" y="7"/>
                    <a:pt x="11" y="7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315"/>
            <p:cNvSpPr>
              <a:spLocks/>
            </p:cNvSpPr>
            <p:nvPr/>
          </p:nvSpPr>
          <p:spPr bwMode="auto">
            <a:xfrm>
              <a:off x="3971268" y="4424336"/>
              <a:ext cx="79375" cy="69850"/>
            </a:xfrm>
            <a:custGeom>
              <a:avLst/>
              <a:gdLst>
                <a:gd name="T0" fmla="*/ 2147483646 w 60"/>
                <a:gd name="T1" fmla="*/ 2147483646 h 54"/>
                <a:gd name="T2" fmla="*/ 2147483646 w 60"/>
                <a:gd name="T3" fmla="*/ 2147483646 h 54"/>
                <a:gd name="T4" fmla="*/ 2147483646 w 60"/>
                <a:gd name="T5" fmla="*/ 2147483646 h 54"/>
                <a:gd name="T6" fmla="*/ 2147483646 w 60"/>
                <a:gd name="T7" fmla="*/ 0 h 54"/>
                <a:gd name="T8" fmla="*/ 2147483646 w 60"/>
                <a:gd name="T9" fmla="*/ 0 h 54"/>
                <a:gd name="T10" fmla="*/ 2147483646 w 60"/>
                <a:gd name="T11" fmla="*/ 2147483646 h 54"/>
                <a:gd name="T12" fmla="*/ 0 w 60"/>
                <a:gd name="T13" fmla="*/ 2147483646 h 54"/>
                <a:gd name="T14" fmla="*/ 2147483646 w 60"/>
                <a:gd name="T15" fmla="*/ 2147483646 h 54"/>
                <a:gd name="T16" fmla="*/ 2147483646 w 60"/>
                <a:gd name="T17" fmla="*/ 2147483646 h 54"/>
                <a:gd name="T18" fmla="*/ 2147483646 w 60"/>
                <a:gd name="T19" fmla="*/ 2147483646 h 54"/>
                <a:gd name="T20" fmla="*/ 2147483646 w 60"/>
                <a:gd name="T21" fmla="*/ 2147483646 h 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4">
                  <a:moveTo>
                    <a:pt x="54" y="36"/>
                  </a:moveTo>
                  <a:lnTo>
                    <a:pt x="60" y="24"/>
                  </a:lnTo>
                  <a:lnTo>
                    <a:pt x="54" y="18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12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36" y="54"/>
                  </a:lnTo>
                  <a:lnTo>
                    <a:pt x="42" y="42"/>
                  </a:lnTo>
                  <a:lnTo>
                    <a:pt x="54" y="3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Freeform 318"/>
            <p:cNvSpPr>
              <a:spLocks/>
            </p:cNvSpPr>
            <p:nvPr/>
          </p:nvSpPr>
          <p:spPr bwMode="auto">
            <a:xfrm>
              <a:off x="4089452" y="3675583"/>
              <a:ext cx="512763" cy="504825"/>
            </a:xfrm>
            <a:custGeom>
              <a:avLst/>
              <a:gdLst>
                <a:gd name="T0" fmla="*/ 2147483646 w 390"/>
                <a:gd name="T1" fmla="*/ 2147483646 h 390"/>
                <a:gd name="T2" fmla="*/ 2147483646 w 390"/>
                <a:gd name="T3" fmla="*/ 2147483646 h 390"/>
                <a:gd name="T4" fmla="*/ 2147483646 w 390"/>
                <a:gd name="T5" fmla="*/ 2147483646 h 390"/>
                <a:gd name="T6" fmla="*/ 2147483646 w 390"/>
                <a:gd name="T7" fmla="*/ 2147483646 h 390"/>
                <a:gd name="T8" fmla="*/ 2147483646 w 390"/>
                <a:gd name="T9" fmla="*/ 2147483646 h 390"/>
                <a:gd name="T10" fmla="*/ 2147483646 w 390"/>
                <a:gd name="T11" fmla="*/ 2147483646 h 390"/>
                <a:gd name="T12" fmla="*/ 2147483646 w 390"/>
                <a:gd name="T13" fmla="*/ 2147483646 h 390"/>
                <a:gd name="T14" fmla="*/ 2147483646 w 390"/>
                <a:gd name="T15" fmla="*/ 2147483646 h 390"/>
                <a:gd name="T16" fmla="*/ 2147483646 w 390"/>
                <a:gd name="T17" fmla="*/ 2147483646 h 390"/>
                <a:gd name="T18" fmla="*/ 2147483646 w 390"/>
                <a:gd name="T19" fmla="*/ 2147483646 h 390"/>
                <a:gd name="T20" fmla="*/ 2147483646 w 390"/>
                <a:gd name="T21" fmla="*/ 2147483646 h 390"/>
                <a:gd name="T22" fmla="*/ 2147483646 w 390"/>
                <a:gd name="T23" fmla="*/ 2147483646 h 390"/>
                <a:gd name="T24" fmla="*/ 2147483646 w 390"/>
                <a:gd name="T25" fmla="*/ 2147483646 h 390"/>
                <a:gd name="T26" fmla="*/ 2147483646 w 390"/>
                <a:gd name="T27" fmla="*/ 2147483646 h 390"/>
                <a:gd name="T28" fmla="*/ 2147483646 w 390"/>
                <a:gd name="T29" fmla="*/ 2147483646 h 390"/>
                <a:gd name="T30" fmla="*/ 2147483646 w 390"/>
                <a:gd name="T31" fmla="*/ 2147483646 h 390"/>
                <a:gd name="T32" fmla="*/ 2147483646 w 390"/>
                <a:gd name="T33" fmla="*/ 2147483646 h 390"/>
                <a:gd name="T34" fmla="*/ 2147483646 w 390"/>
                <a:gd name="T35" fmla="*/ 2147483646 h 390"/>
                <a:gd name="T36" fmla="*/ 2147483646 w 390"/>
                <a:gd name="T37" fmla="*/ 2147483646 h 390"/>
                <a:gd name="T38" fmla="*/ 2147483646 w 390"/>
                <a:gd name="T39" fmla="*/ 2147483646 h 390"/>
                <a:gd name="T40" fmla="*/ 2147483646 w 390"/>
                <a:gd name="T41" fmla="*/ 2147483646 h 390"/>
                <a:gd name="T42" fmla="*/ 2147483646 w 390"/>
                <a:gd name="T43" fmla="*/ 2147483646 h 390"/>
                <a:gd name="T44" fmla="*/ 2147483646 w 390"/>
                <a:gd name="T45" fmla="*/ 2147483646 h 390"/>
                <a:gd name="T46" fmla="*/ 2147483646 w 390"/>
                <a:gd name="T47" fmla="*/ 2147483646 h 390"/>
                <a:gd name="T48" fmla="*/ 2147483646 w 390"/>
                <a:gd name="T49" fmla="*/ 0 h 390"/>
                <a:gd name="T50" fmla="*/ 2147483646 w 390"/>
                <a:gd name="T51" fmla="*/ 2147483646 h 390"/>
                <a:gd name="T52" fmla="*/ 2147483646 w 390"/>
                <a:gd name="T53" fmla="*/ 2147483646 h 390"/>
                <a:gd name="T54" fmla="*/ 2147483646 w 390"/>
                <a:gd name="T55" fmla="*/ 2147483646 h 390"/>
                <a:gd name="T56" fmla="*/ 2147483646 w 390"/>
                <a:gd name="T57" fmla="*/ 2147483646 h 390"/>
                <a:gd name="T58" fmla="*/ 2147483646 w 390"/>
                <a:gd name="T59" fmla="*/ 2147483646 h 390"/>
                <a:gd name="T60" fmla="*/ 2147483646 w 390"/>
                <a:gd name="T61" fmla="*/ 2147483646 h 390"/>
                <a:gd name="T62" fmla="*/ 2147483646 w 390"/>
                <a:gd name="T63" fmla="*/ 2147483646 h 390"/>
                <a:gd name="T64" fmla="*/ 2147483646 w 390"/>
                <a:gd name="T65" fmla="*/ 2147483646 h 390"/>
                <a:gd name="T66" fmla="*/ 2147483646 w 390"/>
                <a:gd name="T67" fmla="*/ 2147483646 h 390"/>
                <a:gd name="T68" fmla="*/ 2147483646 w 390"/>
                <a:gd name="T69" fmla="*/ 2147483646 h 390"/>
                <a:gd name="T70" fmla="*/ 2147483646 w 390"/>
                <a:gd name="T71" fmla="*/ 2147483646 h 390"/>
                <a:gd name="T72" fmla="*/ 2147483646 w 390"/>
                <a:gd name="T73" fmla="*/ 2147483646 h 390"/>
                <a:gd name="T74" fmla="*/ 2147483646 w 390"/>
                <a:gd name="T75" fmla="*/ 2147483646 h 390"/>
                <a:gd name="T76" fmla="*/ 2147483646 w 390"/>
                <a:gd name="T77" fmla="*/ 2147483646 h 390"/>
                <a:gd name="T78" fmla="*/ 0 w 390"/>
                <a:gd name="T79" fmla="*/ 2147483646 h 390"/>
                <a:gd name="T80" fmla="*/ 2147483646 w 390"/>
                <a:gd name="T81" fmla="*/ 2147483646 h 390"/>
                <a:gd name="T82" fmla="*/ 2147483646 w 390"/>
                <a:gd name="T83" fmla="*/ 2147483646 h 390"/>
                <a:gd name="T84" fmla="*/ 2147483646 w 390"/>
                <a:gd name="T85" fmla="*/ 2147483646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44" name="Freeform 334"/>
            <p:cNvSpPr>
              <a:spLocks/>
            </p:cNvSpPr>
            <p:nvPr/>
          </p:nvSpPr>
          <p:spPr bwMode="auto">
            <a:xfrm>
              <a:off x="4801396" y="2231746"/>
              <a:ext cx="266700" cy="585788"/>
            </a:xfrm>
            <a:custGeom>
              <a:avLst/>
              <a:gdLst>
                <a:gd name="T0" fmla="*/ 2147483646 w 34"/>
                <a:gd name="T1" fmla="*/ 2147483646 h 75"/>
                <a:gd name="T2" fmla="*/ 2147483646 w 34"/>
                <a:gd name="T3" fmla="*/ 2147483646 h 75"/>
                <a:gd name="T4" fmla="*/ 2147483646 w 34"/>
                <a:gd name="T5" fmla="*/ 2147483646 h 75"/>
                <a:gd name="T6" fmla="*/ 2147483646 w 34"/>
                <a:gd name="T7" fmla="*/ 2147483646 h 75"/>
                <a:gd name="T8" fmla="*/ 2147483646 w 34"/>
                <a:gd name="T9" fmla="*/ 2147483646 h 75"/>
                <a:gd name="T10" fmla="*/ 2147483646 w 34"/>
                <a:gd name="T11" fmla="*/ 2147483646 h 75"/>
                <a:gd name="T12" fmla="*/ 2147483646 w 34"/>
                <a:gd name="T13" fmla="*/ 2147483646 h 75"/>
                <a:gd name="T14" fmla="*/ 2147483646 w 34"/>
                <a:gd name="T15" fmla="*/ 2147483646 h 75"/>
                <a:gd name="T16" fmla="*/ 2147483646 w 34"/>
                <a:gd name="T17" fmla="*/ 2147483646 h 75"/>
                <a:gd name="T18" fmla="*/ 2147483646 w 34"/>
                <a:gd name="T19" fmla="*/ 2147483646 h 75"/>
                <a:gd name="T20" fmla="*/ 2147483646 w 34"/>
                <a:gd name="T21" fmla="*/ 2147483646 h 75"/>
                <a:gd name="T22" fmla="*/ 2147483646 w 34"/>
                <a:gd name="T23" fmla="*/ 2147483646 h 75"/>
                <a:gd name="T24" fmla="*/ 2147483646 w 34"/>
                <a:gd name="T25" fmla="*/ 2147483646 h 75"/>
                <a:gd name="T26" fmla="*/ 2147483646 w 34"/>
                <a:gd name="T27" fmla="*/ 2147483646 h 75"/>
                <a:gd name="T28" fmla="*/ 2147483646 w 34"/>
                <a:gd name="T29" fmla="*/ 2147483646 h 75"/>
                <a:gd name="T30" fmla="*/ 2147483646 w 34"/>
                <a:gd name="T31" fmla="*/ 2147483646 h 75"/>
                <a:gd name="T32" fmla="*/ 2147483646 w 34"/>
                <a:gd name="T33" fmla="*/ 2147483646 h 75"/>
                <a:gd name="T34" fmla="*/ 2147483646 w 34"/>
                <a:gd name="T35" fmla="*/ 2147483646 h 75"/>
                <a:gd name="T36" fmla="*/ 2147483646 w 34"/>
                <a:gd name="T37" fmla="*/ 2147483646 h 75"/>
                <a:gd name="T38" fmla="*/ 2147483646 w 34"/>
                <a:gd name="T39" fmla="*/ 2147483646 h 75"/>
                <a:gd name="T40" fmla="*/ 2147483646 w 34"/>
                <a:gd name="T41" fmla="*/ 2147483646 h 75"/>
                <a:gd name="T42" fmla="*/ 2147483646 w 34"/>
                <a:gd name="T43" fmla="*/ 0 h 75"/>
                <a:gd name="T44" fmla="*/ 2147483646 w 34"/>
                <a:gd name="T45" fmla="*/ 2147483646 h 75"/>
                <a:gd name="T46" fmla="*/ 2147483646 w 34"/>
                <a:gd name="T47" fmla="*/ 2147483646 h 75"/>
                <a:gd name="T48" fmla="*/ 2147483646 w 34"/>
                <a:gd name="T49" fmla="*/ 2147483646 h 75"/>
                <a:gd name="T50" fmla="*/ 2147483646 w 34"/>
                <a:gd name="T51" fmla="*/ 2147483646 h 75"/>
                <a:gd name="T52" fmla="*/ 2147483646 w 34"/>
                <a:gd name="T53" fmla="*/ 2147483646 h 75"/>
                <a:gd name="T54" fmla="*/ 2147483646 w 34"/>
                <a:gd name="T55" fmla="*/ 2147483646 h 75"/>
                <a:gd name="T56" fmla="*/ 2147483646 w 34"/>
                <a:gd name="T57" fmla="*/ 2147483646 h 75"/>
                <a:gd name="T58" fmla="*/ 2147483646 w 34"/>
                <a:gd name="T59" fmla="*/ 2147483646 h 75"/>
                <a:gd name="T60" fmla="*/ 2147483646 w 34"/>
                <a:gd name="T61" fmla="*/ 2147483646 h 75"/>
                <a:gd name="T62" fmla="*/ 2147483646 w 34"/>
                <a:gd name="T63" fmla="*/ 2147483646 h 75"/>
                <a:gd name="T64" fmla="*/ 0 w 34"/>
                <a:gd name="T65" fmla="*/ 2147483646 h 75"/>
                <a:gd name="T66" fmla="*/ 2147483646 w 34"/>
                <a:gd name="T67" fmla="*/ 2147483646 h 75"/>
                <a:gd name="T68" fmla="*/ 2147483646 w 34"/>
                <a:gd name="T69" fmla="*/ 2147483646 h 75"/>
                <a:gd name="T70" fmla="*/ 2147483646 w 34"/>
                <a:gd name="T71" fmla="*/ 2147483646 h 75"/>
                <a:gd name="T72" fmla="*/ 2147483646 w 34"/>
                <a:gd name="T73" fmla="*/ 2147483646 h 75"/>
                <a:gd name="T74" fmla="*/ 2147483646 w 34"/>
                <a:gd name="T75" fmla="*/ 2147483646 h 75"/>
                <a:gd name="T76" fmla="*/ 2147483646 w 34"/>
                <a:gd name="T77" fmla="*/ 2147483646 h 75"/>
                <a:gd name="T78" fmla="*/ 2147483646 w 34"/>
                <a:gd name="T79" fmla="*/ 2147483646 h 75"/>
                <a:gd name="T80" fmla="*/ 2147483646 w 34"/>
                <a:gd name="T81" fmla="*/ 2147483646 h 75"/>
                <a:gd name="T82" fmla="*/ 2147483646 w 34"/>
                <a:gd name="T83" fmla="*/ 2147483646 h 75"/>
                <a:gd name="T84" fmla="*/ 2147483646 w 34"/>
                <a:gd name="T85" fmla="*/ 2147483646 h 75"/>
                <a:gd name="T86" fmla="*/ 2147483646 w 34"/>
                <a:gd name="T87" fmla="*/ 2147483646 h 75"/>
                <a:gd name="T88" fmla="*/ 2147483646 w 34"/>
                <a:gd name="T89" fmla="*/ 2147483646 h 75"/>
                <a:gd name="T90" fmla="*/ 2147483646 w 34"/>
                <a:gd name="T91" fmla="*/ 2147483646 h 75"/>
                <a:gd name="T92" fmla="*/ 2147483646 w 34"/>
                <a:gd name="T93" fmla="*/ 2147483646 h 75"/>
                <a:gd name="T94" fmla="*/ 2147483646 w 34"/>
                <a:gd name="T95" fmla="*/ 2147483646 h 75"/>
                <a:gd name="T96" fmla="*/ 2147483646 w 34"/>
                <a:gd name="T97" fmla="*/ 2147483646 h 75"/>
                <a:gd name="T98" fmla="*/ 2147483646 w 34"/>
                <a:gd name="T99" fmla="*/ 2147483646 h 75"/>
                <a:gd name="T100" fmla="*/ 2147483646 w 34"/>
                <a:gd name="T101" fmla="*/ 2147483646 h 75"/>
                <a:gd name="T102" fmla="*/ 2147483646 w 34"/>
                <a:gd name="T103" fmla="*/ 2147483646 h 75"/>
                <a:gd name="T104" fmla="*/ 2147483646 w 34"/>
                <a:gd name="T105" fmla="*/ 2147483646 h 75"/>
                <a:gd name="T106" fmla="*/ 2147483646 w 34"/>
                <a:gd name="T107" fmla="*/ 2147483646 h 75"/>
                <a:gd name="T108" fmla="*/ 2147483646 w 34"/>
                <a:gd name="T109" fmla="*/ 2147483646 h 75"/>
                <a:gd name="T110" fmla="*/ 2147483646 w 34"/>
                <a:gd name="T111" fmla="*/ 2147483646 h 75"/>
                <a:gd name="T112" fmla="*/ 2147483646 w 34"/>
                <a:gd name="T113" fmla="*/ 2147483646 h 75"/>
                <a:gd name="T114" fmla="*/ 2147483646 w 34"/>
                <a:gd name="T115" fmla="*/ 2147483646 h 7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4" h="75">
                  <a:moveTo>
                    <a:pt x="34" y="55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0" y="46"/>
                    <a:pt x="30" y="45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34" y="58"/>
                    <a:pt x="34" y="58"/>
                    <a:pt x="34" y="58"/>
                  </a:cubicBezTo>
                  <a:lnTo>
                    <a:pt x="34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Freeform 347"/>
            <p:cNvSpPr>
              <a:spLocks/>
            </p:cNvSpPr>
            <p:nvPr/>
          </p:nvSpPr>
          <p:spPr bwMode="auto">
            <a:xfrm>
              <a:off x="4404521" y="2144434"/>
              <a:ext cx="649288" cy="766762"/>
            </a:xfrm>
            <a:custGeom>
              <a:avLst/>
              <a:gdLst>
                <a:gd name="T0" fmla="*/ 2147483646 w 83"/>
                <a:gd name="T1" fmla="*/ 2147483646 h 98"/>
                <a:gd name="T2" fmla="*/ 2147483646 w 83"/>
                <a:gd name="T3" fmla="*/ 2147483646 h 98"/>
                <a:gd name="T4" fmla="*/ 2147483646 w 83"/>
                <a:gd name="T5" fmla="*/ 2147483646 h 98"/>
                <a:gd name="T6" fmla="*/ 2147483646 w 83"/>
                <a:gd name="T7" fmla="*/ 2147483646 h 98"/>
                <a:gd name="T8" fmla="*/ 2147483646 w 83"/>
                <a:gd name="T9" fmla="*/ 2147483646 h 98"/>
                <a:gd name="T10" fmla="*/ 2147483646 w 83"/>
                <a:gd name="T11" fmla="*/ 2147483646 h 98"/>
                <a:gd name="T12" fmla="*/ 2147483646 w 83"/>
                <a:gd name="T13" fmla="*/ 2147483646 h 98"/>
                <a:gd name="T14" fmla="*/ 2147483646 w 83"/>
                <a:gd name="T15" fmla="*/ 2147483646 h 98"/>
                <a:gd name="T16" fmla="*/ 2147483646 w 83"/>
                <a:gd name="T17" fmla="*/ 2147483646 h 98"/>
                <a:gd name="T18" fmla="*/ 2147483646 w 83"/>
                <a:gd name="T19" fmla="*/ 2147483646 h 98"/>
                <a:gd name="T20" fmla="*/ 2147483646 w 83"/>
                <a:gd name="T21" fmla="*/ 2147483646 h 98"/>
                <a:gd name="T22" fmla="*/ 2147483646 w 83"/>
                <a:gd name="T23" fmla="*/ 2147483646 h 98"/>
                <a:gd name="T24" fmla="*/ 2147483646 w 83"/>
                <a:gd name="T25" fmla="*/ 2147483646 h 98"/>
                <a:gd name="T26" fmla="*/ 2147483646 w 83"/>
                <a:gd name="T27" fmla="*/ 2147483646 h 98"/>
                <a:gd name="T28" fmla="*/ 2147483646 w 83"/>
                <a:gd name="T29" fmla="*/ 2147483646 h 98"/>
                <a:gd name="T30" fmla="*/ 2147483646 w 83"/>
                <a:gd name="T31" fmla="*/ 2147483646 h 98"/>
                <a:gd name="T32" fmla="*/ 2147483646 w 83"/>
                <a:gd name="T33" fmla="*/ 2147483646 h 98"/>
                <a:gd name="T34" fmla="*/ 2147483646 w 83"/>
                <a:gd name="T35" fmla="*/ 2147483646 h 98"/>
                <a:gd name="T36" fmla="*/ 2147483646 w 83"/>
                <a:gd name="T37" fmla="*/ 2147483646 h 98"/>
                <a:gd name="T38" fmla="*/ 2147483646 w 83"/>
                <a:gd name="T39" fmla="*/ 2147483646 h 98"/>
                <a:gd name="T40" fmla="*/ 2147483646 w 83"/>
                <a:gd name="T41" fmla="*/ 2147483646 h 98"/>
                <a:gd name="T42" fmla="*/ 2147483646 w 83"/>
                <a:gd name="T43" fmla="*/ 2147483646 h 98"/>
                <a:gd name="T44" fmla="*/ 2147483646 w 83"/>
                <a:gd name="T45" fmla="*/ 2147483646 h 98"/>
                <a:gd name="T46" fmla="*/ 2147483646 w 83"/>
                <a:gd name="T47" fmla="*/ 2147483646 h 98"/>
                <a:gd name="T48" fmla="*/ 2147483646 w 83"/>
                <a:gd name="T49" fmla="*/ 2147483646 h 98"/>
                <a:gd name="T50" fmla="*/ 2147483646 w 83"/>
                <a:gd name="T51" fmla="*/ 0 h 98"/>
                <a:gd name="T52" fmla="*/ 2147483646 w 83"/>
                <a:gd name="T53" fmla="*/ 2147483646 h 98"/>
                <a:gd name="T54" fmla="*/ 2147483646 w 83"/>
                <a:gd name="T55" fmla="*/ 2147483646 h 98"/>
                <a:gd name="T56" fmla="*/ 2147483646 w 83"/>
                <a:gd name="T57" fmla="*/ 2147483646 h 98"/>
                <a:gd name="T58" fmla="*/ 2147483646 w 83"/>
                <a:gd name="T59" fmla="*/ 2147483646 h 98"/>
                <a:gd name="T60" fmla="*/ 2147483646 w 83"/>
                <a:gd name="T61" fmla="*/ 2147483646 h 98"/>
                <a:gd name="T62" fmla="*/ 2147483646 w 83"/>
                <a:gd name="T63" fmla="*/ 2147483646 h 98"/>
                <a:gd name="T64" fmla="*/ 2147483646 w 83"/>
                <a:gd name="T65" fmla="*/ 2147483646 h 98"/>
                <a:gd name="T66" fmla="*/ 2147483646 w 83"/>
                <a:gd name="T67" fmla="*/ 2147483646 h 98"/>
                <a:gd name="T68" fmla="*/ 2147483646 w 83"/>
                <a:gd name="T69" fmla="*/ 2147483646 h 98"/>
                <a:gd name="T70" fmla="*/ 2147483646 w 83"/>
                <a:gd name="T71" fmla="*/ 2147483646 h 98"/>
                <a:gd name="T72" fmla="*/ 2147483646 w 83"/>
                <a:gd name="T73" fmla="*/ 2147483646 h 98"/>
                <a:gd name="T74" fmla="*/ 2147483646 w 83"/>
                <a:gd name="T75" fmla="*/ 2147483646 h 98"/>
                <a:gd name="T76" fmla="*/ 2147483646 w 83"/>
                <a:gd name="T77" fmla="*/ 2147483646 h 98"/>
                <a:gd name="T78" fmla="*/ 2147483646 w 83"/>
                <a:gd name="T79" fmla="*/ 2147483646 h 98"/>
                <a:gd name="T80" fmla="*/ 2147483646 w 83"/>
                <a:gd name="T81" fmla="*/ 2147483646 h 98"/>
                <a:gd name="T82" fmla="*/ 2147483646 w 83"/>
                <a:gd name="T83" fmla="*/ 2147483646 h 98"/>
                <a:gd name="T84" fmla="*/ 2147483646 w 83"/>
                <a:gd name="T85" fmla="*/ 2147483646 h 98"/>
                <a:gd name="T86" fmla="*/ 2147483646 w 83"/>
                <a:gd name="T87" fmla="*/ 2147483646 h 98"/>
                <a:gd name="T88" fmla="*/ 2147483646 w 83"/>
                <a:gd name="T89" fmla="*/ 2147483646 h 98"/>
                <a:gd name="T90" fmla="*/ 2147483646 w 83"/>
                <a:gd name="T91" fmla="*/ 2147483646 h 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83" h="98">
                  <a:moveTo>
                    <a:pt x="23" y="87"/>
                  </a:moveTo>
                  <a:cubicBezTo>
                    <a:pt x="23" y="87"/>
                    <a:pt x="24" y="87"/>
                    <a:pt x="24" y="86"/>
                  </a:cubicBezTo>
                  <a:cubicBezTo>
                    <a:pt x="24" y="86"/>
                    <a:pt x="24" y="82"/>
                    <a:pt x="24" y="8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0"/>
                    <a:pt x="23" y="70"/>
                  </a:cubicBezTo>
                  <a:cubicBezTo>
                    <a:pt x="23" y="69"/>
                    <a:pt x="24" y="65"/>
                    <a:pt x="24" y="65"/>
                  </a:cubicBezTo>
                  <a:cubicBezTo>
                    <a:pt x="24" y="65"/>
                    <a:pt x="24" y="62"/>
                    <a:pt x="24" y="62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2"/>
                    <a:pt x="21" y="92"/>
                    <a:pt x="21" y="92"/>
                  </a:cubicBezTo>
                  <a:lnTo>
                    <a:pt x="23" y="8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46" name="Freeform 348"/>
            <p:cNvSpPr>
              <a:spLocks/>
            </p:cNvSpPr>
            <p:nvPr/>
          </p:nvSpPr>
          <p:spPr bwMode="auto">
            <a:xfrm>
              <a:off x="4560096" y="2293659"/>
              <a:ext cx="320675" cy="733425"/>
            </a:xfrm>
            <a:custGeom>
              <a:avLst/>
              <a:gdLst>
                <a:gd name="T0" fmla="*/ 2147483646 w 10000"/>
                <a:gd name="T1" fmla="*/ 2147483646 h 9895"/>
                <a:gd name="T2" fmla="*/ 2147483646 w 10000"/>
                <a:gd name="T3" fmla="*/ 2147483646 h 9895"/>
                <a:gd name="T4" fmla="*/ 2147483646 w 10000"/>
                <a:gd name="T5" fmla="*/ 2147483646 h 9895"/>
                <a:gd name="T6" fmla="*/ 2147483646 w 10000"/>
                <a:gd name="T7" fmla="*/ 2147483646 h 9895"/>
                <a:gd name="T8" fmla="*/ 2147483646 w 10000"/>
                <a:gd name="T9" fmla="*/ 0 h 9895"/>
                <a:gd name="T10" fmla="*/ 2147483646 w 10000"/>
                <a:gd name="T11" fmla="*/ 2147483646 h 9895"/>
                <a:gd name="T12" fmla="*/ 2147483646 w 10000"/>
                <a:gd name="T13" fmla="*/ 2147483646 h 9895"/>
                <a:gd name="T14" fmla="*/ 2147483646 w 10000"/>
                <a:gd name="T15" fmla="*/ 2147483646 h 9895"/>
                <a:gd name="T16" fmla="*/ 2147483646 w 10000"/>
                <a:gd name="T17" fmla="*/ 2147483646 h 9895"/>
                <a:gd name="T18" fmla="*/ 2147483646 w 10000"/>
                <a:gd name="T19" fmla="*/ 2147483646 h 9895"/>
                <a:gd name="T20" fmla="*/ 2147483646 w 10000"/>
                <a:gd name="T21" fmla="*/ 2147483646 h 9895"/>
                <a:gd name="T22" fmla="*/ 2147483646 w 10000"/>
                <a:gd name="T23" fmla="*/ 2147483646 h 9895"/>
                <a:gd name="T24" fmla="*/ 2147483646 w 10000"/>
                <a:gd name="T25" fmla="*/ 2147483646 h 9895"/>
                <a:gd name="T26" fmla="*/ 1547059788 w 10000"/>
                <a:gd name="T27" fmla="*/ 2147483646 h 9895"/>
                <a:gd name="T28" fmla="*/ 1032076903 w 10000"/>
                <a:gd name="T29" fmla="*/ 2147483646 h 9895"/>
                <a:gd name="T30" fmla="*/ 1032076903 w 10000"/>
                <a:gd name="T31" fmla="*/ 2147483646 h 9895"/>
                <a:gd name="T32" fmla="*/ 1032076903 w 10000"/>
                <a:gd name="T33" fmla="*/ 2147483646 h 9895"/>
                <a:gd name="T34" fmla="*/ 1032076903 w 10000"/>
                <a:gd name="T35" fmla="*/ 2147483646 h 9895"/>
                <a:gd name="T36" fmla="*/ 258002502 w 10000"/>
                <a:gd name="T37" fmla="*/ 2147483646 h 9895"/>
                <a:gd name="T38" fmla="*/ 516037938 w 10000"/>
                <a:gd name="T39" fmla="*/ 2147483646 h 9895"/>
                <a:gd name="T40" fmla="*/ 1839950288 w 10000"/>
                <a:gd name="T41" fmla="*/ 2147483646 h 9895"/>
                <a:gd name="T42" fmla="*/ 2018679268 w 10000"/>
                <a:gd name="T43" fmla="*/ 2147483646 h 9895"/>
                <a:gd name="T44" fmla="*/ 2147483646 w 10000"/>
                <a:gd name="T45" fmla="*/ 2147483646 h 9895"/>
                <a:gd name="T46" fmla="*/ 2147483646 w 10000"/>
                <a:gd name="T47" fmla="*/ 2147483646 h 9895"/>
                <a:gd name="T48" fmla="*/ 2147483646 w 10000"/>
                <a:gd name="T49" fmla="*/ 2147483646 h 9895"/>
                <a:gd name="T50" fmla="*/ 2147483646 w 10000"/>
                <a:gd name="T51" fmla="*/ 2147483646 h 9895"/>
                <a:gd name="T52" fmla="*/ 2147483646 w 10000"/>
                <a:gd name="T53" fmla="*/ 2147483646 h 9895"/>
                <a:gd name="T54" fmla="*/ 2147483646 w 10000"/>
                <a:gd name="T55" fmla="*/ 2147483646 h 9895"/>
                <a:gd name="T56" fmla="*/ 2147483646 w 10000"/>
                <a:gd name="T57" fmla="*/ 2147483646 h 9895"/>
                <a:gd name="T58" fmla="*/ 2147483646 w 10000"/>
                <a:gd name="T59" fmla="*/ 2147483646 h 9895"/>
                <a:gd name="T60" fmla="*/ 2147483646 w 10000"/>
                <a:gd name="T61" fmla="*/ 2147483646 h 9895"/>
                <a:gd name="T62" fmla="*/ 2147483646 w 10000"/>
                <a:gd name="T63" fmla="*/ 2147483646 h 9895"/>
                <a:gd name="T64" fmla="*/ 2147483646 w 10000"/>
                <a:gd name="T65" fmla="*/ 2147483646 h 9895"/>
                <a:gd name="T66" fmla="*/ 2147483646 w 10000"/>
                <a:gd name="T67" fmla="*/ 2147483646 h 98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000" h="9895">
                  <a:moveTo>
                    <a:pt x="10000" y="2316"/>
                  </a:moveTo>
                  <a:lnTo>
                    <a:pt x="10000" y="2211"/>
                  </a:lnTo>
                  <a:lnTo>
                    <a:pt x="9756" y="1895"/>
                  </a:lnTo>
                  <a:lnTo>
                    <a:pt x="9756" y="1579"/>
                  </a:lnTo>
                  <a:lnTo>
                    <a:pt x="9756" y="1158"/>
                  </a:lnTo>
                  <a:lnTo>
                    <a:pt x="9268" y="632"/>
                  </a:lnTo>
                  <a:lnTo>
                    <a:pt x="9024" y="632"/>
                  </a:lnTo>
                  <a:lnTo>
                    <a:pt x="8537" y="526"/>
                  </a:lnTo>
                  <a:lnTo>
                    <a:pt x="7805" y="211"/>
                  </a:lnTo>
                  <a:lnTo>
                    <a:pt x="7561" y="0"/>
                  </a:lnTo>
                  <a:lnTo>
                    <a:pt x="7317" y="0"/>
                  </a:lnTo>
                  <a:lnTo>
                    <a:pt x="7073" y="316"/>
                  </a:lnTo>
                  <a:lnTo>
                    <a:pt x="7073" y="526"/>
                  </a:lnTo>
                  <a:lnTo>
                    <a:pt x="6585" y="526"/>
                  </a:lnTo>
                  <a:lnTo>
                    <a:pt x="5854" y="526"/>
                  </a:lnTo>
                  <a:lnTo>
                    <a:pt x="5366" y="947"/>
                  </a:lnTo>
                  <a:lnTo>
                    <a:pt x="5122" y="947"/>
                  </a:lnTo>
                  <a:lnTo>
                    <a:pt x="4390" y="1158"/>
                  </a:lnTo>
                  <a:lnTo>
                    <a:pt x="4146" y="1368"/>
                  </a:lnTo>
                  <a:lnTo>
                    <a:pt x="4390" y="1684"/>
                  </a:lnTo>
                  <a:lnTo>
                    <a:pt x="3902" y="2000"/>
                  </a:lnTo>
                  <a:lnTo>
                    <a:pt x="3415" y="2526"/>
                  </a:lnTo>
                  <a:lnTo>
                    <a:pt x="2927" y="2632"/>
                  </a:lnTo>
                  <a:lnTo>
                    <a:pt x="2683" y="3263"/>
                  </a:lnTo>
                  <a:lnTo>
                    <a:pt x="2195" y="3684"/>
                  </a:lnTo>
                  <a:lnTo>
                    <a:pt x="2439" y="3895"/>
                  </a:lnTo>
                  <a:lnTo>
                    <a:pt x="2439" y="4211"/>
                  </a:lnTo>
                  <a:lnTo>
                    <a:pt x="1463" y="4316"/>
                  </a:lnTo>
                  <a:lnTo>
                    <a:pt x="976" y="4526"/>
                  </a:lnTo>
                  <a:lnTo>
                    <a:pt x="976" y="4842"/>
                  </a:lnTo>
                  <a:cubicBezTo>
                    <a:pt x="976" y="4842"/>
                    <a:pt x="732" y="5263"/>
                    <a:pt x="732" y="5368"/>
                  </a:cubicBezTo>
                  <a:cubicBezTo>
                    <a:pt x="813" y="5544"/>
                    <a:pt x="895" y="5719"/>
                    <a:pt x="976" y="5895"/>
                  </a:cubicBezTo>
                  <a:lnTo>
                    <a:pt x="1463" y="6211"/>
                  </a:lnTo>
                  <a:lnTo>
                    <a:pt x="976" y="6421"/>
                  </a:lnTo>
                  <a:lnTo>
                    <a:pt x="976" y="6632"/>
                  </a:lnTo>
                  <a:lnTo>
                    <a:pt x="976" y="7053"/>
                  </a:lnTo>
                  <a:cubicBezTo>
                    <a:pt x="976" y="7158"/>
                    <a:pt x="732" y="7158"/>
                    <a:pt x="732" y="7158"/>
                  </a:cubicBezTo>
                  <a:lnTo>
                    <a:pt x="244" y="7684"/>
                  </a:lnTo>
                  <a:lnTo>
                    <a:pt x="0" y="7789"/>
                  </a:lnTo>
                  <a:cubicBezTo>
                    <a:pt x="488" y="8316"/>
                    <a:pt x="329" y="8217"/>
                    <a:pt x="488" y="8316"/>
                  </a:cubicBezTo>
                  <a:cubicBezTo>
                    <a:pt x="647" y="8415"/>
                    <a:pt x="746" y="8264"/>
                    <a:pt x="955" y="8384"/>
                  </a:cubicBezTo>
                  <a:cubicBezTo>
                    <a:pt x="1164" y="8504"/>
                    <a:pt x="1597" y="8867"/>
                    <a:pt x="1740" y="9038"/>
                  </a:cubicBezTo>
                  <a:cubicBezTo>
                    <a:pt x="1883" y="9209"/>
                    <a:pt x="1786" y="9301"/>
                    <a:pt x="1814" y="9410"/>
                  </a:cubicBezTo>
                  <a:cubicBezTo>
                    <a:pt x="1842" y="9519"/>
                    <a:pt x="1865" y="9637"/>
                    <a:pt x="1909" y="9693"/>
                  </a:cubicBezTo>
                  <a:cubicBezTo>
                    <a:pt x="1953" y="9749"/>
                    <a:pt x="1990" y="9709"/>
                    <a:pt x="2078" y="9743"/>
                  </a:cubicBezTo>
                  <a:cubicBezTo>
                    <a:pt x="2166" y="9777"/>
                    <a:pt x="2338" y="9905"/>
                    <a:pt x="2439" y="9895"/>
                  </a:cubicBezTo>
                  <a:cubicBezTo>
                    <a:pt x="2540" y="9885"/>
                    <a:pt x="2602" y="9754"/>
                    <a:pt x="2683" y="9684"/>
                  </a:cubicBezTo>
                  <a:lnTo>
                    <a:pt x="3171" y="9474"/>
                  </a:lnTo>
                  <a:lnTo>
                    <a:pt x="3902" y="9474"/>
                  </a:lnTo>
                  <a:lnTo>
                    <a:pt x="4390" y="9053"/>
                  </a:lnTo>
                  <a:cubicBezTo>
                    <a:pt x="4471" y="8807"/>
                    <a:pt x="4553" y="8562"/>
                    <a:pt x="4634" y="8316"/>
                  </a:cubicBezTo>
                  <a:lnTo>
                    <a:pt x="4634" y="7895"/>
                  </a:lnTo>
                  <a:lnTo>
                    <a:pt x="5122" y="7789"/>
                  </a:lnTo>
                  <a:lnTo>
                    <a:pt x="5854" y="7684"/>
                  </a:lnTo>
                  <a:lnTo>
                    <a:pt x="5854" y="7158"/>
                  </a:lnTo>
                  <a:lnTo>
                    <a:pt x="5610" y="6842"/>
                  </a:lnTo>
                  <a:lnTo>
                    <a:pt x="4878" y="6632"/>
                  </a:lnTo>
                  <a:cubicBezTo>
                    <a:pt x="4959" y="6386"/>
                    <a:pt x="5041" y="6141"/>
                    <a:pt x="5122" y="5895"/>
                  </a:cubicBezTo>
                  <a:lnTo>
                    <a:pt x="5122" y="5368"/>
                  </a:lnTo>
                  <a:lnTo>
                    <a:pt x="5854" y="4842"/>
                  </a:lnTo>
                  <a:lnTo>
                    <a:pt x="6585" y="4632"/>
                  </a:lnTo>
                  <a:lnTo>
                    <a:pt x="8049" y="4211"/>
                  </a:lnTo>
                  <a:lnTo>
                    <a:pt x="8293" y="3895"/>
                  </a:lnTo>
                  <a:lnTo>
                    <a:pt x="8049" y="3579"/>
                  </a:lnTo>
                  <a:lnTo>
                    <a:pt x="8537" y="3263"/>
                  </a:lnTo>
                  <a:lnTo>
                    <a:pt x="9268" y="2842"/>
                  </a:lnTo>
                  <a:lnTo>
                    <a:pt x="10000" y="2947"/>
                  </a:lnTo>
                  <a:lnTo>
                    <a:pt x="10000" y="2842"/>
                  </a:lnTo>
                  <a:lnTo>
                    <a:pt x="10000" y="23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47" name="Freeform 360"/>
            <p:cNvSpPr>
              <a:spLocks/>
            </p:cNvSpPr>
            <p:nvPr/>
          </p:nvSpPr>
          <p:spPr bwMode="auto">
            <a:xfrm>
              <a:off x="4625237" y="3073981"/>
              <a:ext cx="242886" cy="217486"/>
            </a:xfrm>
            <a:custGeom>
              <a:avLst/>
              <a:gdLst>
                <a:gd name="T0" fmla="*/ 2147483646 w 31"/>
                <a:gd name="T1" fmla="*/ 2147483646 h 28"/>
                <a:gd name="T2" fmla="*/ 2147483646 w 31"/>
                <a:gd name="T3" fmla="*/ 2147483646 h 28"/>
                <a:gd name="T4" fmla="*/ 2147483646 w 31"/>
                <a:gd name="T5" fmla="*/ 2147483646 h 28"/>
                <a:gd name="T6" fmla="*/ 2147483646 w 31"/>
                <a:gd name="T7" fmla="*/ 2147483646 h 28"/>
                <a:gd name="T8" fmla="*/ 2147483646 w 31"/>
                <a:gd name="T9" fmla="*/ 2147483646 h 28"/>
                <a:gd name="T10" fmla="*/ 2147483646 w 31"/>
                <a:gd name="T11" fmla="*/ 2147483646 h 28"/>
                <a:gd name="T12" fmla="*/ 2147483646 w 31"/>
                <a:gd name="T13" fmla="*/ 2147483646 h 28"/>
                <a:gd name="T14" fmla="*/ 2147483646 w 31"/>
                <a:gd name="T15" fmla="*/ 2147483646 h 28"/>
                <a:gd name="T16" fmla="*/ 2147483646 w 31"/>
                <a:gd name="T17" fmla="*/ 2147483646 h 28"/>
                <a:gd name="T18" fmla="*/ 2147483646 w 31"/>
                <a:gd name="T19" fmla="*/ 2147483646 h 28"/>
                <a:gd name="T20" fmla="*/ 2147483646 w 31"/>
                <a:gd name="T21" fmla="*/ 2147483646 h 28"/>
                <a:gd name="T22" fmla="*/ 2147483646 w 31"/>
                <a:gd name="T23" fmla="*/ 2147483646 h 28"/>
                <a:gd name="T24" fmla="*/ 2147483646 w 31"/>
                <a:gd name="T25" fmla="*/ 2147483646 h 28"/>
                <a:gd name="T26" fmla="*/ 2147483646 w 31"/>
                <a:gd name="T27" fmla="*/ 2147483646 h 28"/>
                <a:gd name="T28" fmla="*/ 2147483646 w 31"/>
                <a:gd name="T29" fmla="*/ 2147483646 h 28"/>
                <a:gd name="T30" fmla="*/ 2147483646 w 31"/>
                <a:gd name="T31" fmla="*/ 2147483646 h 28"/>
                <a:gd name="T32" fmla="*/ 2147483646 w 31"/>
                <a:gd name="T33" fmla="*/ 2147483646 h 28"/>
                <a:gd name="T34" fmla="*/ 2147483646 w 31"/>
                <a:gd name="T35" fmla="*/ 2147483646 h 28"/>
                <a:gd name="T36" fmla="*/ 2147483646 w 31"/>
                <a:gd name="T37" fmla="*/ 2147483646 h 28"/>
                <a:gd name="T38" fmla="*/ 2147483646 w 31"/>
                <a:gd name="T39" fmla="*/ 2147483646 h 28"/>
                <a:gd name="T40" fmla="*/ 2147483646 w 31"/>
                <a:gd name="T41" fmla="*/ 2147483646 h 28"/>
                <a:gd name="T42" fmla="*/ 2147483646 w 31"/>
                <a:gd name="T43" fmla="*/ 2147483646 h 28"/>
                <a:gd name="T44" fmla="*/ 2147483646 w 31"/>
                <a:gd name="T45" fmla="*/ 2147483646 h 28"/>
                <a:gd name="T46" fmla="*/ 2147483646 w 31"/>
                <a:gd name="T47" fmla="*/ 0 h 28"/>
                <a:gd name="T48" fmla="*/ 2147483646 w 31"/>
                <a:gd name="T49" fmla="*/ 2147483646 h 28"/>
                <a:gd name="T50" fmla="*/ 2147483646 w 31"/>
                <a:gd name="T51" fmla="*/ 2147483646 h 28"/>
                <a:gd name="T52" fmla="*/ 2147483646 w 31"/>
                <a:gd name="T53" fmla="*/ 0 h 28"/>
                <a:gd name="T54" fmla="*/ 2147483646 w 31"/>
                <a:gd name="T55" fmla="*/ 0 h 28"/>
                <a:gd name="T56" fmla="*/ 2147483646 w 31"/>
                <a:gd name="T57" fmla="*/ 2147483646 h 28"/>
                <a:gd name="T58" fmla="*/ 2147483646 w 31"/>
                <a:gd name="T59" fmla="*/ 2147483646 h 28"/>
                <a:gd name="T60" fmla="*/ 0 w 31"/>
                <a:gd name="T61" fmla="*/ 2147483646 h 28"/>
                <a:gd name="T62" fmla="*/ 0 w 31"/>
                <a:gd name="T63" fmla="*/ 2147483646 h 28"/>
                <a:gd name="T64" fmla="*/ 2147483646 w 31"/>
                <a:gd name="T65" fmla="*/ 2147483646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connsiteX0" fmla="*/ 323 w 10000"/>
                <a:gd name="connsiteY0" fmla="*/ 3214 h 10000"/>
                <a:gd name="connsiteX1" fmla="*/ 323 w 10000"/>
                <a:gd name="connsiteY1" fmla="*/ 3571 h 10000"/>
                <a:gd name="connsiteX2" fmla="*/ 323 w 10000"/>
                <a:gd name="connsiteY2" fmla="*/ 4643 h 10000"/>
                <a:gd name="connsiteX3" fmla="*/ 645 w 10000"/>
                <a:gd name="connsiteY3" fmla="*/ 6071 h 10000"/>
                <a:gd name="connsiteX4" fmla="*/ 645 w 10000"/>
                <a:gd name="connsiteY4" fmla="*/ 7143 h 10000"/>
                <a:gd name="connsiteX5" fmla="*/ 1935 w 10000"/>
                <a:gd name="connsiteY5" fmla="*/ 7857 h 10000"/>
                <a:gd name="connsiteX6" fmla="*/ 3226 w 10000"/>
                <a:gd name="connsiteY6" fmla="*/ 8571 h 10000"/>
                <a:gd name="connsiteX7" fmla="*/ 4839 w 10000"/>
                <a:gd name="connsiteY7" fmla="*/ 9286 h 10000"/>
                <a:gd name="connsiteX8" fmla="*/ 4839 w 10000"/>
                <a:gd name="connsiteY8" fmla="*/ 9286 h 10000"/>
                <a:gd name="connsiteX9" fmla="*/ 6129 w 10000"/>
                <a:gd name="connsiteY9" fmla="*/ 10000 h 10000"/>
                <a:gd name="connsiteX10" fmla="*/ 7419 w 10000"/>
                <a:gd name="connsiteY10" fmla="*/ 10000 h 10000"/>
                <a:gd name="connsiteX11" fmla="*/ 8065 w 10000"/>
                <a:gd name="connsiteY11" fmla="*/ 10000 h 10000"/>
                <a:gd name="connsiteX12" fmla="*/ 8710 w 10000"/>
                <a:gd name="connsiteY12" fmla="*/ 10000 h 10000"/>
                <a:gd name="connsiteX13" fmla="*/ 9355 w 10000"/>
                <a:gd name="connsiteY13" fmla="*/ 8214 h 10000"/>
                <a:gd name="connsiteX14" fmla="*/ 10000 w 10000"/>
                <a:gd name="connsiteY14" fmla="*/ 7500 h 10000"/>
                <a:gd name="connsiteX15" fmla="*/ 9677 w 10000"/>
                <a:gd name="connsiteY15" fmla="*/ 6071 h 10000"/>
                <a:gd name="connsiteX16" fmla="*/ 9677 w 10000"/>
                <a:gd name="connsiteY16" fmla="*/ 5357 h 10000"/>
                <a:gd name="connsiteX17" fmla="*/ 9355 w 10000"/>
                <a:gd name="connsiteY17" fmla="*/ 4286 h 10000"/>
                <a:gd name="connsiteX18" fmla="*/ 10000 w 10000"/>
                <a:gd name="connsiteY18" fmla="*/ 3571 h 10000"/>
                <a:gd name="connsiteX19" fmla="*/ 9677 w 10000"/>
                <a:gd name="connsiteY19" fmla="*/ 2143 h 10000"/>
                <a:gd name="connsiteX20" fmla="*/ 9032 w 10000"/>
                <a:gd name="connsiteY20" fmla="*/ 1071 h 10000"/>
                <a:gd name="connsiteX21" fmla="*/ 9298 w 10000"/>
                <a:gd name="connsiteY21" fmla="*/ 305 h 10000"/>
                <a:gd name="connsiteX22" fmla="*/ 6452 w 10000"/>
                <a:gd name="connsiteY22" fmla="*/ 714 h 10000"/>
                <a:gd name="connsiteX23" fmla="*/ 5806 w 10000"/>
                <a:gd name="connsiteY23" fmla="*/ 0 h 10000"/>
                <a:gd name="connsiteX24" fmla="*/ 5806 w 10000"/>
                <a:gd name="connsiteY24" fmla="*/ 357 h 10000"/>
                <a:gd name="connsiteX25" fmla="*/ 4839 w 10000"/>
                <a:gd name="connsiteY25" fmla="*/ 357 h 10000"/>
                <a:gd name="connsiteX26" fmla="*/ 4516 w 10000"/>
                <a:gd name="connsiteY26" fmla="*/ 0 h 10000"/>
                <a:gd name="connsiteX27" fmla="*/ 4194 w 10000"/>
                <a:gd name="connsiteY27" fmla="*/ 0 h 10000"/>
                <a:gd name="connsiteX28" fmla="*/ 1613 w 10000"/>
                <a:gd name="connsiteY28" fmla="*/ 1071 h 10000"/>
                <a:gd name="connsiteX29" fmla="*/ 323 w 10000"/>
                <a:gd name="connsiteY29" fmla="*/ 1786 h 10000"/>
                <a:gd name="connsiteX30" fmla="*/ 0 w 10000"/>
                <a:gd name="connsiteY30" fmla="*/ 1429 h 10000"/>
                <a:gd name="connsiteX31" fmla="*/ 0 w 10000"/>
                <a:gd name="connsiteY31" fmla="*/ 2143 h 10000"/>
                <a:gd name="connsiteX32" fmla="*/ 323 w 10000"/>
                <a:gd name="connsiteY32" fmla="*/ 3214 h 10000"/>
                <a:gd name="connsiteX0" fmla="*/ 323 w 10000"/>
                <a:gd name="connsiteY0" fmla="*/ 3214 h 10000"/>
                <a:gd name="connsiteX1" fmla="*/ 323 w 10000"/>
                <a:gd name="connsiteY1" fmla="*/ 3571 h 10000"/>
                <a:gd name="connsiteX2" fmla="*/ 323 w 10000"/>
                <a:gd name="connsiteY2" fmla="*/ 4643 h 10000"/>
                <a:gd name="connsiteX3" fmla="*/ 645 w 10000"/>
                <a:gd name="connsiteY3" fmla="*/ 6071 h 10000"/>
                <a:gd name="connsiteX4" fmla="*/ 645 w 10000"/>
                <a:gd name="connsiteY4" fmla="*/ 7143 h 10000"/>
                <a:gd name="connsiteX5" fmla="*/ 1935 w 10000"/>
                <a:gd name="connsiteY5" fmla="*/ 7857 h 10000"/>
                <a:gd name="connsiteX6" fmla="*/ 3226 w 10000"/>
                <a:gd name="connsiteY6" fmla="*/ 8571 h 10000"/>
                <a:gd name="connsiteX7" fmla="*/ 4839 w 10000"/>
                <a:gd name="connsiteY7" fmla="*/ 9286 h 10000"/>
                <a:gd name="connsiteX8" fmla="*/ 4839 w 10000"/>
                <a:gd name="connsiteY8" fmla="*/ 9286 h 10000"/>
                <a:gd name="connsiteX9" fmla="*/ 6129 w 10000"/>
                <a:gd name="connsiteY9" fmla="*/ 10000 h 10000"/>
                <a:gd name="connsiteX10" fmla="*/ 7419 w 10000"/>
                <a:gd name="connsiteY10" fmla="*/ 10000 h 10000"/>
                <a:gd name="connsiteX11" fmla="*/ 8065 w 10000"/>
                <a:gd name="connsiteY11" fmla="*/ 10000 h 10000"/>
                <a:gd name="connsiteX12" fmla="*/ 8710 w 10000"/>
                <a:gd name="connsiteY12" fmla="*/ 10000 h 10000"/>
                <a:gd name="connsiteX13" fmla="*/ 9355 w 10000"/>
                <a:gd name="connsiteY13" fmla="*/ 8214 h 10000"/>
                <a:gd name="connsiteX14" fmla="*/ 10000 w 10000"/>
                <a:gd name="connsiteY14" fmla="*/ 7500 h 10000"/>
                <a:gd name="connsiteX15" fmla="*/ 9677 w 10000"/>
                <a:gd name="connsiteY15" fmla="*/ 6071 h 10000"/>
                <a:gd name="connsiteX16" fmla="*/ 9677 w 10000"/>
                <a:gd name="connsiteY16" fmla="*/ 5357 h 10000"/>
                <a:gd name="connsiteX17" fmla="*/ 9355 w 10000"/>
                <a:gd name="connsiteY17" fmla="*/ 4286 h 10000"/>
                <a:gd name="connsiteX18" fmla="*/ 10000 w 10000"/>
                <a:gd name="connsiteY18" fmla="*/ 3571 h 10000"/>
                <a:gd name="connsiteX19" fmla="*/ 9677 w 10000"/>
                <a:gd name="connsiteY19" fmla="*/ 2143 h 10000"/>
                <a:gd name="connsiteX20" fmla="*/ 9032 w 10000"/>
                <a:gd name="connsiteY20" fmla="*/ 1071 h 10000"/>
                <a:gd name="connsiteX21" fmla="*/ 9298 w 10000"/>
                <a:gd name="connsiteY21" fmla="*/ 305 h 10000"/>
                <a:gd name="connsiteX22" fmla="*/ 6452 w 10000"/>
                <a:gd name="connsiteY22" fmla="*/ 276 h 10000"/>
                <a:gd name="connsiteX23" fmla="*/ 5806 w 10000"/>
                <a:gd name="connsiteY23" fmla="*/ 0 h 10000"/>
                <a:gd name="connsiteX24" fmla="*/ 5806 w 10000"/>
                <a:gd name="connsiteY24" fmla="*/ 357 h 10000"/>
                <a:gd name="connsiteX25" fmla="*/ 4839 w 10000"/>
                <a:gd name="connsiteY25" fmla="*/ 357 h 10000"/>
                <a:gd name="connsiteX26" fmla="*/ 4516 w 10000"/>
                <a:gd name="connsiteY26" fmla="*/ 0 h 10000"/>
                <a:gd name="connsiteX27" fmla="*/ 4194 w 10000"/>
                <a:gd name="connsiteY27" fmla="*/ 0 h 10000"/>
                <a:gd name="connsiteX28" fmla="*/ 1613 w 10000"/>
                <a:gd name="connsiteY28" fmla="*/ 1071 h 10000"/>
                <a:gd name="connsiteX29" fmla="*/ 323 w 10000"/>
                <a:gd name="connsiteY29" fmla="*/ 1786 h 10000"/>
                <a:gd name="connsiteX30" fmla="*/ 0 w 10000"/>
                <a:gd name="connsiteY30" fmla="*/ 1429 h 10000"/>
                <a:gd name="connsiteX31" fmla="*/ 0 w 10000"/>
                <a:gd name="connsiteY31" fmla="*/ 2143 h 10000"/>
                <a:gd name="connsiteX32" fmla="*/ 323 w 10000"/>
                <a:gd name="connsiteY32" fmla="*/ 321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00" h="10000">
                  <a:moveTo>
                    <a:pt x="323" y="3214"/>
                  </a:moveTo>
                  <a:lnTo>
                    <a:pt x="323" y="3571"/>
                  </a:lnTo>
                  <a:lnTo>
                    <a:pt x="323" y="4643"/>
                  </a:lnTo>
                  <a:cubicBezTo>
                    <a:pt x="323" y="4643"/>
                    <a:pt x="323" y="6071"/>
                    <a:pt x="645" y="6071"/>
                  </a:cubicBezTo>
                  <a:lnTo>
                    <a:pt x="645" y="7143"/>
                  </a:lnTo>
                  <a:lnTo>
                    <a:pt x="1935" y="7857"/>
                  </a:lnTo>
                  <a:lnTo>
                    <a:pt x="3226" y="8571"/>
                  </a:lnTo>
                  <a:lnTo>
                    <a:pt x="4839" y="9286"/>
                  </a:lnTo>
                  <a:lnTo>
                    <a:pt x="4839" y="9286"/>
                  </a:lnTo>
                  <a:lnTo>
                    <a:pt x="6129" y="10000"/>
                  </a:lnTo>
                  <a:lnTo>
                    <a:pt x="7419" y="10000"/>
                  </a:lnTo>
                  <a:lnTo>
                    <a:pt x="8065" y="10000"/>
                  </a:lnTo>
                  <a:lnTo>
                    <a:pt x="8710" y="10000"/>
                  </a:lnTo>
                  <a:lnTo>
                    <a:pt x="9355" y="8214"/>
                  </a:lnTo>
                  <a:lnTo>
                    <a:pt x="10000" y="7500"/>
                  </a:lnTo>
                  <a:cubicBezTo>
                    <a:pt x="9892" y="7024"/>
                    <a:pt x="9785" y="6547"/>
                    <a:pt x="9677" y="6071"/>
                  </a:cubicBezTo>
                  <a:lnTo>
                    <a:pt x="9677" y="5357"/>
                  </a:lnTo>
                  <a:cubicBezTo>
                    <a:pt x="9570" y="5000"/>
                    <a:pt x="9462" y="4643"/>
                    <a:pt x="9355" y="4286"/>
                  </a:cubicBezTo>
                  <a:lnTo>
                    <a:pt x="10000" y="3571"/>
                  </a:lnTo>
                  <a:cubicBezTo>
                    <a:pt x="9892" y="3095"/>
                    <a:pt x="9785" y="2619"/>
                    <a:pt x="9677" y="2143"/>
                  </a:cubicBezTo>
                  <a:cubicBezTo>
                    <a:pt x="9032" y="1071"/>
                    <a:pt x="9095" y="1377"/>
                    <a:pt x="9032" y="1071"/>
                  </a:cubicBezTo>
                  <a:cubicBezTo>
                    <a:pt x="8969" y="765"/>
                    <a:pt x="9728" y="438"/>
                    <a:pt x="9298" y="305"/>
                  </a:cubicBezTo>
                  <a:cubicBezTo>
                    <a:pt x="8868" y="172"/>
                    <a:pt x="7034" y="327"/>
                    <a:pt x="6452" y="276"/>
                  </a:cubicBezTo>
                  <a:cubicBezTo>
                    <a:pt x="5870" y="225"/>
                    <a:pt x="5914" y="-13"/>
                    <a:pt x="5806" y="0"/>
                  </a:cubicBezTo>
                  <a:cubicBezTo>
                    <a:pt x="5698" y="13"/>
                    <a:pt x="5806" y="238"/>
                    <a:pt x="5806" y="357"/>
                  </a:cubicBezTo>
                  <a:lnTo>
                    <a:pt x="4839" y="357"/>
                  </a:lnTo>
                  <a:cubicBezTo>
                    <a:pt x="4516" y="357"/>
                    <a:pt x="4516" y="0"/>
                    <a:pt x="4516" y="0"/>
                  </a:cubicBezTo>
                  <a:lnTo>
                    <a:pt x="4194" y="0"/>
                  </a:lnTo>
                  <a:lnTo>
                    <a:pt x="1613" y="1071"/>
                  </a:lnTo>
                  <a:lnTo>
                    <a:pt x="323" y="1786"/>
                  </a:lnTo>
                  <a:lnTo>
                    <a:pt x="0" y="1429"/>
                  </a:lnTo>
                  <a:lnTo>
                    <a:pt x="0" y="2143"/>
                  </a:lnTo>
                  <a:cubicBezTo>
                    <a:pt x="108" y="2500"/>
                    <a:pt x="215" y="2857"/>
                    <a:pt x="323" y="321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365"/>
            <p:cNvSpPr>
              <a:spLocks/>
            </p:cNvSpPr>
            <p:nvPr/>
          </p:nvSpPr>
          <p:spPr bwMode="auto">
            <a:xfrm>
              <a:off x="4310115" y="4064521"/>
              <a:ext cx="393700" cy="290512"/>
            </a:xfrm>
            <a:custGeom>
              <a:avLst/>
              <a:gdLst>
                <a:gd name="T0" fmla="*/ 2147483646 w 300"/>
                <a:gd name="T1" fmla="*/ 2147483646 h 223"/>
                <a:gd name="T2" fmla="*/ 2147483646 w 300"/>
                <a:gd name="T3" fmla="*/ 2147483646 h 223"/>
                <a:gd name="T4" fmla="*/ 2147483646 w 300"/>
                <a:gd name="T5" fmla="*/ 2147483646 h 223"/>
                <a:gd name="T6" fmla="*/ 2147483646 w 300"/>
                <a:gd name="T7" fmla="*/ 2147483646 h 223"/>
                <a:gd name="T8" fmla="*/ 2147483646 w 300"/>
                <a:gd name="T9" fmla="*/ 2147483646 h 223"/>
                <a:gd name="T10" fmla="*/ 2147483646 w 300"/>
                <a:gd name="T11" fmla="*/ 2147483646 h 223"/>
                <a:gd name="T12" fmla="*/ 2147483646 w 300"/>
                <a:gd name="T13" fmla="*/ 2147483646 h 223"/>
                <a:gd name="T14" fmla="*/ 2147483646 w 300"/>
                <a:gd name="T15" fmla="*/ 2147483646 h 223"/>
                <a:gd name="T16" fmla="*/ 2147483646 w 300"/>
                <a:gd name="T17" fmla="*/ 2147483646 h 223"/>
                <a:gd name="T18" fmla="*/ 2147483646 w 300"/>
                <a:gd name="T19" fmla="*/ 2147483646 h 223"/>
                <a:gd name="T20" fmla="*/ 2147483646 w 300"/>
                <a:gd name="T21" fmla="*/ 2147483646 h 223"/>
                <a:gd name="T22" fmla="*/ 2147483646 w 300"/>
                <a:gd name="T23" fmla="*/ 2147483646 h 223"/>
                <a:gd name="T24" fmla="*/ 2147483646 w 300"/>
                <a:gd name="T25" fmla="*/ 2147483646 h 223"/>
                <a:gd name="T26" fmla="*/ 2147483646 w 300"/>
                <a:gd name="T27" fmla="*/ 2147483646 h 223"/>
                <a:gd name="T28" fmla="*/ 2147483646 w 300"/>
                <a:gd name="T29" fmla="*/ 2147483646 h 223"/>
                <a:gd name="T30" fmla="*/ 2147483646 w 300"/>
                <a:gd name="T31" fmla="*/ 0 h 223"/>
                <a:gd name="T32" fmla="*/ 2147483646 w 300"/>
                <a:gd name="T33" fmla="*/ 2147483646 h 223"/>
                <a:gd name="T34" fmla="*/ 2147483646 w 300"/>
                <a:gd name="T35" fmla="*/ 2147483646 h 223"/>
                <a:gd name="T36" fmla="*/ 2147483646 w 300"/>
                <a:gd name="T37" fmla="*/ 2147483646 h 223"/>
                <a:gd name="T38" fmla="*/ 2147483646 w 300"/>
                <a:gd name="T39" fmla="*/ 2147483646 h 223"/>
                <a:gd name="T40" fmla="*/ 2147483646 w 300"/>
                <a:gd name="T41" fmla="*/ 2147483646 h 223"/>
                <a:gd name="T42" fmla="*/ 2147483646 w 300"/>
                <a:gd name="T43" fmla="*/ 2147483646 h 223"/>
                <a:gd name="T44" fmla="*/ 0 w 300"/>
                <a:gd name="T45" fmla="*/ 2147483646 h 223"/>
                <a:gd name="T46" fmla="*/ 2147483646 w 300"/>
                <a:gd name="T47" fmla="*/ 2147483646 h 223"/>
                <a:gd name="T48" fmla="*/ 2147483646 w 300"/>
                <a:gd name="T49" fmla="*/ 2147483646 h 223"/>
                <a:gd name="T50" fmla="*/ 2147483646 w 300"/>
                <a:gd name="T51" fmla="*/ 2147483646 h 223"/>
                <a:gd name="T52" fmla="*/ 2147483646 w 300"/>
                <a:gd name="T53" fmla="*/ 2147483646 h 223"/>
                <a:gd name="T54" fmla="*/ 2147483646 w 300"/>
                <a:gd name="T55" fmla="*/ 2147483646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49" name="Freeform 366"/>
            <p:cNvSpPr>
              <a:spLocks/>
            </p:cNvSpPr>
            <p:nvPr/>
          </p:nvSpPr>
          <p:spPr bwMode="auto">
            <a:xfrm>
              <a:off x="4005315" y="4024833"/>
              <a:ext cx="407987" cy="384175"/>
            </a:xfrm>
            <a:custGeom>
              <a:avLst/>
              <a:gdLst>
                <a:gd name="T0" fmla="*/ 2147483646 w 52"/>
                <a:gd name="T1" fmla="*/ 2147483646 h 49"/>
                <a:gd name="T2" fmla="*/ 2147483646 w 52"/>
                <a:gd name="T3" fmla="*/ 2147483646 h 49"/>
                <a:gd name="T4" fmla="*/ 2147483646 w 52"/>
                <a:gd name="T5" fmla="*/ 2147483646 h 49"/>
                <a:gd name="T6" fmla="*/ 2147483646 w 52"/>
                <a:gd name="T7" fmla="*/ 2147483646 h 49"/>
                <a:gd name="T8" fmla="*/ 2147483646 w 52"/>
                <a:gd name="T9" fmla="*/ 2147483646 h 49"/>
                <a:gd name="T10" fmla="*/ 2147483646 w 52"/>
                <a:gd name="T11" fmla="*/ 2147483646 h 49"/>
                <a:gd name="T12" fmla="*/ 2147483646 w 52"/>
                <a:gd name="T13" fmla="*/ 2147483646 h 49"/>
                <a:gd name="T14" fmla="*/ 2147483646 w 52"/>
                <a:gd name="T15" fmla="*/ 2147483646 h 49"/>
                <a:gd name="T16" fmla="*/ 2147483646 w 52"/>
                <a:gd name="T17" fmla="*/ 2147483646 h 49"/>
                <a:gd name="T18" fmla="*/ 2147483646 w 52"/>
                <a:gd name="T19" fmla="*/ 2147483646 h 49"/>
                <a:gd name="T20" fmla="*/ 2147483646 w 52"/>
                <a:gd name="T21" fmla="*/ 2147483646 h 49"/>
                <a:gd name="T22" fmla="*/ 2147483646 w 52"/>
                <a:gd name="T23" fmla="*/ 0 h 49"/>
                <a:gd name="T24" fmla="*/ 2147483646 w 52"/>
                <a:gd name="T25" fmla="*/ 0 h 49"/>
                <a:gd name="T26" fmla="*/ 2147483646 w 52"/>
                <a:gd name="T27" fmla="*/ 2147483646 h 49"/>
                <a:gd name="T28" fmla="*/ 2147483646 w 52"/>
                <a:gd name="T29" fmla="*/ 2147483646 h 49"/>
                <a:gd name="T30" fmla="*/ 2147483646 w 52"/>
                <a:gd name="T31" fmla="*/ 2147483646 h 49"/>
                <a:gd name="T32" fmla="*/ 2147483646 w 52"/>
                <a:gd name="T33" fmla="*/ 2147483646 h 49"/>
                <a:gd name="T34" fmla="*/ 2147483646 w 52"/>
                <a:gd name="T35" fmla="*/ 2147483646 h 49"/>
                <a:gd name="T36" fmla="*/ 2147483646 w 52"/>
                <a:gd name="T37" fmla="*/ 2147483646 h 49"/>
                <a:gd name="T38" fmla="*/ 0 w 52"/>
                <a:gd name="T39" fmla="*/ 2147483646 h 49"/>
                <a:gd name="T40" fmla="*/ 0 w 52"/>
                <a:gd name="T41" fmla="*/ 2147483646 h 49"/>
                <a:gd name="T42" fmla="*/ 2147483646 w 52"/>
                <a:gd name="T43" fmla="*/ 2147483646 h 49"/>
                <a:gd name="T44" fmla="*/ 2147483646 w 52"/>
                <a:gd name="T45" fmla="*/ 2147483646 h 49"/>
                <a:gd name="T46" fmla="*/ 2147483646 w 52"/>
                <a:gd name="T47" fmla="*/ 2147483646 h 49"/>
                <a:gd name="T48" fmla="*/ 2147483646 w 52"/>
                <a:gd name="T49" fmla="*/ 2147483646 h 49"/>
                <a:gd name="T50" fmla="*/ 2147483646 w 52"/>
                <a:gd name="T51" fmla="*/ 2147483646 h 49"/>
                <a:gd name="T52" fmla="*/ 2147483646 w 52"/>
                <a:gd name="T53" fmla="*/ 2147483646 h 49"/>
                <a:gd name="T54" fmla="*/ 2147483646 w 52"/>
                <a:gd name="T55" fmla="*/ 2147483646 h 49"/>
                <a:gd name="T56" fmla="*/ 2147483646 w 52"/>
                <a:gd name="T57" fmla="*/ 2147483646 h 49"/>
                <a:gd name="T58" fmla="*/ 2147483646 w 52"/>
                <a:gd name="T59" fmla="*/ 2147483646 h 49"/>
                <a:gd name="T60" fmla="*/ 2147483646 w 52"/>
                <a:gd name="T61" fmla="*/ 2147483646 h 49"/>
                <a:gd name="T62" fmla="*/ 2147483646 w 52"/>
                <a:gd name="T63" fmla="*/ 2147483646 h 49"/>
                <a:gd name="T64" fmla="*/ 2147483646 w 52"/>
                <a:gd name="T65" fmla="*/ 2147483646 h 49"/>
                <a:gd name="T66" fmla="*/ 2147483646 w 52"/>
                <a:gd name="T67" fmla="*/ 2147483646 h 49"/>
                <a:gd name="T68" fmla="*/ 2147483646 w 52"/>
                <a:gd name="T69" fmla="*/ 2147483646 h 49"/>
                <a:gd name="T70" fmla="*/ 2147483646 w 52"/>
                <a:gd name="T71" fmla="*/ 2147483646 h 49"/>
                <a:gd name="T72" fmla="*/ 2147483646 w 52"/>
                <a:gd name="T73" fmla="*/ 2147483646 h 4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2" h="49">
                  <a:moveTo>
                    <a:pt x="24" y="44"/>
                  </a:moveTo>
                  <a:cubicBezTo>
                    <a:pt x="27" y="40"/>
                    <a:pt x="27" y="40"/>
                    <a:pt x="27" y="40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10" y="42"/>
                    <a:pt x="10" y="42"/>
                  </a:cubicBezTo>
                  <a:cubicBezTo>
                    <a:pt x="11" y="42"/>
                    <a:pt x="11" y="44"/>
                    <a:pt x="11" y="4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7"/>
                    <a:pt x="23" y="47"/>
                    <a:pt x="23" y="47"/>
                  </a:cubicBezTo>
                  <a:lnTo>
                    <a:pt x="24" y="4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50" name="Freeform 367"/>
            <p:cNvSpPr>
              <a:spLocks/>
            </p:cNvSpPr>
            <p:nvPr/>
          </p:nvSpPr>
          <p:spPr bwMode="auto">
            <a:xfrm>
              <a:off x="5292381" y="4369594"/>
              <a:ext cx="258638" cy="349511"/>
            </a:xfrm>
            <a:custGeom>
              <a:avLst/>
              <a:gdLst>
                <a:gd name="T0" fmla="*/ 2147483646 w 180"/>
                <a:gd name="T1" fmla="*/ 2147483646 h 246"/>
                <a:gd name="T2" fmla="*/ 2147483646 w 180"/>
                <a:gd name="T3" fmla="*/ 2147483646 h 246"/>
                <a:gd name="T4" fmla="*/ 2147483646 w 180"/>
                <a:gd name="T5" fmla="*/ 2147483646 h 246"/>
                <a:gd name="T6" fmla="*/ 2147483646 w 180"/>
                <a:gd name="T7" fmla="*/ 2147483646 h 246"/>
                <a:gd name="T8" fmla="*/ 2147483646 w 180"/>
                <a:gd name="T9" fmla="*/ 2147483646 h 246"/>
                <a:gd name="T10" fmla="*/ 2147483646 w 180"/>
                <a:gd name="T11" fmla="*/ 2147483646 h 246"/>
                <a:gd name="T12" fmla="*/ 2147483646 w 180"/>
                <a:gd name="T13" fmla="*/ 2147483646 h 246"/>
                <a:gd name="T14" fmla="*/ 2147483646 w 180"/>
                <a:gd name="T15" fmla="*/ 2147483646 h 246"/>
                <a:gd name="T16" fmla="*/ 2147483646 w 180"/>
                <a:gd name="T17" fmla="*/ 2147483646 h 246"/>
                <a:gd name="T18" fmla="*/ 2147483646 w 180"/>
                <a:gd name="T19" fmla="*/ 2147483646 h 246"/>
                <a:gd name="T20" fmla="*/ 2147483646 w 180"/>
                <a:gd name="T21" fmla="*/ 2147483646 h 246"/>
                <a:gd name="T22" fmla="*/ 2147483646 w 180"/>
                <a:gd name="T23" fmla="*/ 2147483646 h 246"/>
                <a:gd name="T24" fmla="*/ 2147483646 w 180"/>
                <a:gd name="T25" fmla="*/ 2147483646 h 246"/>
                <a:gd name="T26" fmla="*/ 0 w 180"/>
                <a:gd name="T27" fmla="*/ 2147483646 h 246"/>
                <a:gd name="T28" fmla="*/ 0 w 180"/>
                <a:gd name="T29" fmla="*/ 2147483646 h 246"/>
                <a:gd name="T30" fmla="*/ 2147483646 w 180"/>
                <a:gd name="T31" fmla="*/ 2147483646 h 246"/>
                <a:gd name="T32" fmla="*/ 2147483646 w 180"/>
                <a:gd name="T33" fmla="*/ 2147483646 h 246"/>
                <a:gd name="T34" fmla="*/ 2147483646 w 180"/>
                <a:gd name="T35" fmla="*/ 2147483646 h 246"/>
                <a:gd name="T36" fmla="*/ 2147483646 w 180"/>
                <a:gd name="T37" fmla="*/ 2147483646 h 246"/>
                <a:gd name="T38" fmla="*/ 2147483646 w 180"/>
                <a:gd name="T39" fmla="*/ 2147483646 h 246"/>
                <a:gd name="T40" fmla="*/ 2147483646 w 180"/>
                <a:gd name="T41" fmla="*/ 0 h 246"/>
                <a:gd name="T42" fmla="*/ 2147483646 w 180"/>
                <a:gd name="T43" fmla="*/ 2147483646 h 24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246">
                  <a:moveTo>
                    <a:pt x="72" y="18"/>
                  </a:moveTo>
                  <a:lnTo>
                    <a:pt x="48" y="12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42" y="36"/>
                  </a:lnTo>
                  <a:lnTo>
                    <a:pt x="84" y="60"/>
                  </a:lnTo>
                  <a:lnTo>
                    <a:pt x="126" y="66"/>
                  </a:lnTo>
                  <a:lnTo>
                    <a:pt x="78" y="120"/>
                  </a:lnTo>
                  <a:lnTo>
                    <a:pt x="36" y="132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0" y="168"/>
                  </a:lnTo>
                  <a:lnTo>
                    <a:pt x="0" y="228"/>
                  </a:lnTo>
                  <a:lnTo>
                    <a:pt x="12" y="246"/>
                  </a:lnTo>
                  <a:lnTo>
                    <a:pt x="42" y="204"/>
                  </a:lnTo>
                  <a:lnTo>
                    <a:pt x="90" y="180"/>
                  </a:lnTo>
                  <a:lnTo>
                    <a:pt x="132" y="132"/>
                  </a:lnTo>
                  <a:lnTo>
                    <a:pt x="168" y="48"/>
                  </a:lnTo>
                  <a:lnTo>
                    <a:pt x="180" y="0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373"/>
            <p:cNvSpPr>
              <a:spLocks/>
            </p:cNvSpPr>
            <p:nvPr/>
          </p:nvSpPr>
          <p:spPr bwMode="auto">
            <a:xfrm>
              <a:off x="4776283" y="5120630"/>
              <a:ext cx="225585" cy="241412"/>
            </a:xfrm>
            <a:custGeom>
              <a:avLst/>
              <a:gdLst>
                <a:gd name="T0" fmla="*/ 2147483646 w 180"/>
                <a:gd name="T1" fmla="*/ 2147483646 h 180"/>
                <a:gd name="T2" fmla="*/ 2147483646 w 180"/>
                <a:gd name="T3" fmla="*/ 2147483646 h 180"/>
                <a:gd name="T4" fmla="*/ 2147483646 w 180"/>
                <a:gd name="T5" fmla="*/ 2147483646 h 180"/>
                <a:gd name="T6" fmla="*/ 2147483646 w 180"/>
                <a:gd name="T7" fmla="*/ 2147483646 h 180"/>
                <a:gd name="T8" fmla="*/ 2147483646 w 180"/>
                <a:gd name="T9" fmla="*/ 2147483646 h 180"/>
                <a:gd name="T10" fmla="*/ 2147483646 w 180"/>
                <a:gd name="T11" fmla="*/ 2147483646 h 180"/>
                <a:gd name="T12" fmla="*/ 2147483646 w 180"/>
                <a:gd name="T13" fmla="*/ 2147483646 h 180"/>
                <a:gd name="T14" fmla="*/ 2147483646 w 180"/>
                <a:gd name="T15" fmla="*/ 0 h 180"/>
                <a:gd name="T16" fmla="*/ 2147483646 w 180"/>
                <a:gd name="T17" fmla="*/ 2147483646 h 180"/>
                <a:gd name="T18" fmla="*/ 2147483646 w 180"/>
                <a:gd name="T19" fmla="*/ 2147483646 h 180"/>
                <a:gd name="T20" fmla="*/ 2147483646 w 180"/>
                <a:gd name="T21" fmla="*/ 2147483646 h 180"/>
                <a:gd name="T22" fmla="*/ 0 w 180"/>
                <a:gd name="T23" fmla="*/ 2147483646 h 180"/>
                <a:gd name="T24" fmla="*/ 0 w 180"/>
                <a:gd name="T25" fmla="*/ 2147483646 h 180"/>
                <a:gd name="T26" fmla="*/ 2147483646 w 180"/>
                <a:gd name="T27" fmla="*/ 2147483646 h 180"/>
                <a:gd name="T28" fmla="*/ 2147483646 w 180"/>
                <a:gd name="T29" fmla="*/ 2147483646 h 180"/>
                <a:gd name="T30" fmla="*/ 2147483646 w 180"/>
                <a:gd name="T31" fmla="*/ 2147483646 h 180"/>
                <a:gd name="T32" fmla="*/ 2147483646 w 180"/>
                <a:gd name="T33" fmla="*/ 2147483646 h 180"/>
                <a:gd name="T34" fmla="*/ 2147483646 w 180"/>
                <a:gd name="T35" fmla="*/ 2147483646 h 180"/>
                <a:gd name="T36" fmla="*/ 2147483646 w 180"/>
                <a:gd name="T37" fmla="*/ 2147483646 h 180"/>
                <a:gd name="T38" fmla="*/ 2147483646 w 180"/>
                <a:gd name="T39" fmla="*/ 2147483646 h 180"/>
                <a:gd name="T40" fmla="*/ 2147483646 w 180"/>
                <a:gd name="T41" fmla="*/ 2147483646 h 180"/>
                <a:gd name="T42" fmla="*/ 2147483646 w 180"/>
                <a:gd name="T43" fmla="*/ 2147483646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connsiteX0" fmla="*/ 8000 w 10000"/>
                <a:gd name="connsiteY0" fmla="*/ 2667 h 9667"/>
                <a:gd name="connsiteX1" fmla="*/ 7333 w 10000"/>
                <a:gd name="connsiteY1" fmla="*/ 2667 h 9667"/>
                <a:gd name="connsiteX2" fmla="*/ 6333 w 10000"/>
                <a:gd name="connsiteY2" fmla="*/ 1334 h 9667"/>
                <a:gd name="connsiteX3" fmla="*/ 5667 w 10000"/>
                <a:gd name="connsiteY3" fmla="*/ 0 h 9667"/>
                <a:gd name="connsiteX4" fmla="*/ 5333 w 10000"/>
                <a:gd name="connsiteY4" fmla="*/ 0 h 9667"/>
                <a:gd name="connsiteX5" fmla="*/ 4667 w 10000"/>
                <a:gd name="connsiteY5" fmla="*/ 334 h 9667"/>
                <a:gd name="connsiteX6" fmla="*/ 5333 w 10000"/>
                <a:gd name="connsiteY6" fmla="*/ 0 h 9667"/>
                <a:gd name="connsiteX7" fmla="*/ 3667 w 10000"/>
                <a:gd name="connsiteY7" fmla="*/ 0 h 9667"/>
                <a:gd name="connsiteX8" fmla="*/ 1000 w 10000"/>
                <a:gd name="connsiteY8" fmla="*/ 667 h 9667"/>
                <a:gd name="connsiteX9" fmla="*/ 667 w 10000"/>
                <a:gd name="connsiteY9" fmla="*/ 4334 h 9667"/>
                <a:gd name="connsiteX10" fmla="*/ 0 w 10000"/>
                <a:gd name="connsiteY10" fmla="*/ 4667 h 9667"/>
                <a:gd name="connsiteX11" fmla="*/ 0 w 10000"/>
                <a:gd name="connsiteY11" fmla="*/ 7667 h 9667"/>
                <a:gd name="connsiteX12" fmla="*/ 667 w 10000"/>
                <a:gd name="connsiteY12" fmla="*/ 9000 h 9667"/>
                <a:gd name="connsiteX13" fmla="*/ 1000 w 10000"/>
                <a:gd name="connsiteY13" fmla="*/ 9667 h 9667"/>
                <a:gd name="connsiteX14" fmla="*/ 2000 w 10000"/>
                <a:gd name="connsiteY14" fmla="*/ 9667 h 9667"/>
                <a:gd name="connsiteX15" fmla="*/ 3667 w 10000"/>
                <a:gd name="connsiteY15" fmla="*/ 8667 h 9667"/>
                <a:gd name="connsiteX16" fmla="*/ 5000 w 10000"/>
                <a:gd name="connsiteY16" fmla="*/ 8667 h 9667"/>
                <a:gd name="connsiteX17" fmla="*/ 7667 w 10000"/>
                <a:gd name="connsiteY17" fmla="*/ 6334 h 9667"/>
                <a:gd name="connsiteX18" fmla="*/ 10000 w 10000"/>
                <a:gd name="connsiteY18" fmla="*/ 4667 h 9667"/>
                <a:gd name="connsiteX19" fmla="*/ 8333 w 10000"/>
                <a:gd name="connsiteY19" fmla="*/ 4000 h 9667"/>
                <a:gd name="connsiteX20" fmla="*/ 8000 w 10000"/>
                <a:gd name="connsiteY20" fmla="*/ 2667 h 9667"/>
                <a:gd name="connsiteX0" fmla="*/ 8000 w 10000"/>
                <a:gd name="connsiteY0" fmla="*/ 2759 h 10000"/>
                <a:gd name="connsiteX1" fmla="*/ 7333 w 10000"/>
                <a:gd name="connsiteY1" fmla="*/ 2759 h 10000"/>
                <a:gd name="connsiteX2" fmla="*/ 6333 w 10000"/>
                <a:gd name="connsiteY2" fmla="*/ 1380 h 10000"/>
                <a:gd name="connsiteX3" fmla="*/ 5667 w 10000"/>
                <a:gd name="connsiteY3" fmla="*/ 0 h 10000"/>
                <a:gd name="connsiteX4" fmla="*/ 5333 w 10000"/>
                <a:gd name="connsiteY4" fmla="*/ 0 h 10000"/>
                <a:gd name="connsiteX5" fmla="*/ 5333 w 10000"/>
                <a:gd name="connsiteY5" fmla="*/ 0 h 10000"/>
                <a:gd name="connsiteX6" fmla="*/ 3667 w 10000"/>
                <a:gd name="connsiteY6" fmla="*/ 0 h 10000"/>
                <a:gd name="connsiteX7" fmla="*/ 1000 w 10000"/>
                <a:gd name="connsiteY7" fmla="*/ 690 h 10000"/>
                <a:gd name="connsiteX8" fmla="*/ 667 w 10000"/>
                <a:gd name="connsiteY8" fmla="*/ 4483 h 10000"/>
                <a:gd name="connsiteX9" fmla="*/ 0 w 10000"/>
                <a:gd name="connsiteY9" fmla="*/ 4828 h 10000"/>
                <a:gd name="connsiteX10" fmla="*/ 0 w 10000"/>
                <a:gd name="connsiteY10" fmla="*/ 7931 h 10000"/>
                <a:gd name="connsiteX11" fmla="*/ 667 w 10000"/>
                <a:gd name="connsiteY11" fmla="*/ 9310 h 10000"/>
                <a:gd name="connsiteX12" fmla="*/ 1000 w 10000"/>
                <a:gd name="connsiteY12" fmla="*/ 10000 h 10000"/>
                <a:gd name="connsiteX13" fmla="*/ 2000 w 10000"/>
                <a:gd name="connsiteY13" fmla="*/ 10000 h 10000"/>
                <a:gd name="connsiteX14" fmla="*/ 3667 w 10000"/>
                <a:gd name="connsiteY14" fmla="*/ 8966 h 10000"/>
                <a:gd name="connsiteX15" fmla="*/ 5000 w 10000"/>
                <a:gd name="connsiteY15" fmla="*/ 8966 h 10000"/>
                <a:gd name="connsiteX16" fmla="*/ 7667 w 10000"/>
                <a:gd name="connsiteY16" fmla="*/ 6552 h 10000"/>
                <a:gd name="connsiteX17" fmla="*/ 10000 w 10000"/>
                <a:gd name="connsiteY17" fmla="*/ 4828 h 10000"/>
                <a:gd name="connsiteX18" fmla="*/ 8333 w 10000"/>
                <a:gd name="connsiteY18" fmla="*/ 4138 h 10000"/>
                <a:gd name="connsiteX19" fmla="*/ 8000 w 10000"/>
                <a:gd name="connsiteY19" fmla="*/ 2759 h 10000"/>
                <a:gd name="connsiteX0" fmla="*/ 8000 w 10000"/>
                <a:gd name="connsiteY0" fmla="*/ 3388 h 10629"/>
                <a:gd name="connsiteX1" fmla="*/ 7333 w 10000"/>
                <a:gd name="connsiteY1" fmla="*/ 3388 h 10629"/>
                <a:gd name="connsiteX2" fmla="*/ 6333 w 10000"/>
                <a:gd name="connsiteY2" fmla="*/ 2009 h 10629"/>
                <a:gd name="connsiteX3" fmla="*/ 5667 w 10000"/>
                <a:gd name="connsiteY3" fmla="*/ 629 h 10629"/>
                <a:gd name="connsiteX4" fmla="*/ 5333 w 10000"/>
                <a:gd name="connsiteY4" fmla="*/ 629 h 10629"/>
                <a:gd name="connsiteX5" fmla="*/ 5031 w 10000"/>
                <a:gd name="connsiteY5" fmla="*/ 0 h 10629"/>
                <a:gd name="connsiteX6" fmla="*/ 3667 w 10000"/>
                <a:gd name="connsiteY6" fmla="*/ 629 h 10629"/>
                <a:gd name="connsiteX7" fmla="*/ 1000 w 10000"/>
                <a:gd name="connsiteY7" fmla="*/ 1319 h 10629"/>
                <a:gd name="connsiteX8" fmla="*/ 667 w 10000"/>
                <a:gd name="connsiteY8" fmla="*/ 5112 h 10629"/>
                <a:gd name="connsiteX9" fmla="*/ 0 w 10000"/>
                <a:gd name="connsiteY9" fmla="*/ 5457 h 10629"/>
                <a:gd name="connsiteX10" fmla="*/ 0 w 10000"/>
                <a:gd name="connsiteY10" fmla="*/ 8560 h 10629"/>
                <a:gd name="connsiteX11" fmla="*/ 667 w 10000"/>
                <a:gd name="connsiteY11" fmla="*/ 9939 h 10629"/>
                <a:gd name="connsiteX12" fmla="*/ 1000 w 10000"/>
                <a:gd name="connsiteY12" fmla="*/ 10629 h 10629"/>
                <a:gd name="connsiteX13" fmla="*/ 2000 w 10000"/>
                <a:gd name="connsiteY13" fmla="*/ 10629 h 10629"/>
                <a:gd name="connsiteX14" fmla="*/ 3667 w 10000"/>
                <a:gd name="connsiteY14" fmla="*/ 9595 h 10629"/>
                <a:gd name="connsiteX15" fmla="*/ 5000 w 10000"/>
                <a:gd name="connsiteY15" fmla="*/ 9595 h 10629"/>
                <a:gd name="connsiteX16" fmla="*/ 7667 w 10000"/>
                <a:gd name="connsiteY16" fmla="*/ 7181 h 10629"/>
                <a:gd name="connsiteX17" fmla="*/ 10000 w 10000"/>
                <a:gd name="connsiteY17" fmla="*/ 5457 h 10629"/>
                <a:gd name="connsiteX18" fmla="*/ 8333 w 10000"/>
                <a:gd name="connsiteY18" fmla="*/ 4767 h 10629"/>
                <a:gd name="connsiteX19" fmla="*/ 8000 w 10000"/>
                <a:gd name="connsiteY19" fmla="*/ 3388 h 10629"/>
                <a:gd name="connsiteX0" fmla="*/ 8000 w 10000"/>
                <a:gd name="connsiteY0" fmla="*/ 3388 h 10629"/>
                <a:gd name="connsiteX1" fmla="*/ 7333 w 10000"/>
                <a:gd name="connsiteY1" fmla="*/ 3388 h 10629"/>
                <a:gd name="connsiteX2" fmla="*/ 6333 w 10000"/>
                <a:gd name="connsiteY2" fmla="*/ 2009 h 10629"/>
                <a:gd name="connsiteX3" fmla="*/ 5667 w 10000"/>
                <a:gd name="connsiteY3" fmla="*/ 629 h 10629"/>
                <a:gd name="connsiteX4" fmla="*/ 5333 w 10000"/>
                <a:gd name="connsiteY4" fmla="*/ 629 h 10629"/>
                <a:gd name="connsiteX5" fmla="*/ 5031 w 10000"/>
                <a:gd name="connsiteY5" fmla="*/ 0 h 10629"/>
                <a:gd name="connsiteX6" fmla="*/ 3667 w 10000"/>
                <a:gd name="connsiteY6" fmla="*/ 629 h 10629"/>
                <a:gd name="connsiteX7" fmla="*/ 1503 w 10000"/>
                <a:gd name="connsiteY7" fmla="*/ 1319 h 10629"/>
                <a:gd name="connsiteX8" fmla="*/ 667 w 10000"/>
                <a:gd name="connsiteY8" fmla="*/ 5112 h 10629"/>
                <a:gd name="connsiteX9" fmla="*/ 0 w 10000"/>
                <a:gd name="connsiteY9" fmla="*/ 5457 h 10629"/>
                <a:gd name="connsiteX10" fmla="*/ 0 w 10000"/>
                <a:gd name="connsiteY10" fmla="*/ 8560 h 10629"/>
                <a:gd name="connsiteX11" fmla="*/ 667 w 10000"/>
                <a:gd name="connsiteY11" fmla="*/ 9939 h 10629"/>
                <a:gd name="connsiteX12" fmla="*/ 1000 w 10000"/>
                <a:gd name="connsiteY12" fmla="*/ 10629 h 10629"/>
                <a:gd name="connsiteX13" fmla="*/ 2000 w 10000"/>
                <a:gd name="connsiteY13" fmla="*/ 10629 h 10629"/>
                <a:gd name="connsiteX14" fmla="*/ 3667 w 10000"/>
                <a:gd name="connsiteY14" fmla="*/ 9595 h 10629"/>
                <a:gd name="connsiteX15" fmla="*/ 5000 w 10000"/>
                <a:gd name="connsiteY15" fmla="*/ 9595 h 10629"/>
                <a:gd name="connsiteX16" fmla="*/ 7667 w 10000"/>
                <a:gd name="connsiteY16" fmla="*/ 7181 h 10629"/>
                <a:gd name="connsiteX17" fmla="*/ 10000 w 10000"/>
                <a:gd name="connsiteY17" fmla="*/ 5457 h 10629"/>
                <a:gd name="connsiteX18" fmla="*/ 8333 w 10000"/>
                <a:gd name="connsiteY18" fmla="*/ 4767 h 10629"/>
                <a:gd name="connsiteX19" fmla="*/ 8000 w 10000"/>
                <a:gd name="connsiteY19" fmla="*/ 3388 h 10629"/>
                <a:gd name="connsiteX0" fmla="*/ 8000 w 10000"/>
                <a:gd name="connsiteY0" fmla="*/ 3388 h 10629"/>
                <a:gd name="connsiteX1" fmla="*/ 7333 w 10000"/>
                <a:gd name="connsiteY1" fmla="*/ 3388 h 10629"/>
                <a:gd name="connsiteX2" fmla="*/ 6333 w 10000"/>
                <a:gd name="connsiteY2" fmla="*/ 2009 h 10629"/>
                <a:gd name="connsiteX3" fmla="*/ 5667 w 10000"/>
                <a:gd name="connsiteY3" fmla="*/ 629 h 10629"/>
                <a:gd name="connsiteX4" fmla="*/ 5333 w 10000"/>
                <a:gd name="connsiteY4" fmla="*/ 629 h 10629"/>
                <a:gd name="connsiteX5" fmla="*/ 5031 w 10000"/>
                <a:gd name="connsiteY5" fmla="*/ 0 h 10629"/>
                <a:gd name="connsiteX6" fmla="*/ 3667 w 10000"/>
                <a:gd name="connsiteY6" fmla="*/ 629 h 10629"/>
                <a:gd name="connsiteX7" fmla="*/ 1503 w 10000"/>
                <a:gd name="connsiteY7" fmla="*/ 1319 h 10629"/>
                <a:gd name="connsiteX8" fmla="*/ 1472 w 10000"/>
                <a:gd name="connsiteY8" fmla="*/ 4693 h 10629"/>
                <a:gd name="connsiteX9" fmla="*/ 0 w 10000"/>
                <a:gd name="connsiteY9" fmla="*/ 5457 h 10629"/>
                <a:gd name="connsiteX10" fmla="*/ 0 w 10000"/>
                <a:gd name="connsiteY10" fmla="*/ 8560 h 10629"/>
                <a:gd name="connsiteX11" fmla="*/ 667 w 10000"/>
                <a:gd name="connsiteY11" fmla="*/ 9939 h 10629"/>
                <a:gd name="connsiteX12" fmla="*/ 1000 w 10000"/>
                <a:gd name="connsiteY12" fmla="*/ 10629 h 10629"/>
                <a:gd name="connsiteX13" fmla="*/ 2000 w 10000"/>
                <a:gd name="connsiteY13" fmla="*/ 10629 h 10629"/>
                <a:gd name="connsiteX14" fmla="*/ 3667 w 10000"/>
                <a:gd name="connsiteY14" fmla="*/ 9595 h 10629"/>
                <a:gd name="connsiteX15" fmla="*/ 5000 w 10000"/>
                <a:gd name="connsiteY15" fmla="*/ 9595 h 10629"/>
                <a:gd name="connsiteX16" fmla="*/ 7667 w 10000"/>
                <a:gd name="connsiteY16" fmla="*/ 7181 h 10629"/>
                <a:gd name="connsiteX17" fmla="*/ 10000 w 10000"/>
                <a:gd name="connsiteY17" fmla="*/ 5457 h 10629"/>
                <a:gd name="connsiteX18" fmla="*/ 8333 w 10000"/>
                <a:gd name="connsiteY18" fmla="*/ 4767 h 10629"/>
                <a:gd name="connsiteX19" fmla="*/ 8000 w 10000"/>
                <a:gd name="connsiteY19" fmla="*/ 3388 h 10629"/>
                <a:gd name="connsiteX0" fmla="*/ 8000 w 10000"/>
                <a:gd name="connsiteY0" fmla="*/ 3388 h 10629"/>
                <a:gd name="connsiteX1" fmla="*/ 7333 w 10000"/>
                <a:gd name="connsiteY1" fmla="*/ 3388 h 10629"/>
                <a:gd name="connsiteX2" fmla="*/ 6333 w 10000"/>
                <a:gd name="connsiteY2" fmla="*/ 2009 h 10629"/>
                <a:gd name="connsiteX3" fmla="*/ 5667 w 10000"/>
                <a:gd name="connsiteY3" fmla="*/ 629 h 10629"/>
                <a:gd name="connsiteX4" fmla="*/ 5333 w 10000"/>
                <a:gd name="connsiteY4" fmla="*/ 629 h 10629"/>
                <a:gd name="connsiteX5" fmla="*/ 5031 w 10000"/>
                <a:gd name="connsiteY5" fmla="*/ 0 h 10629"/>
                <a:gd name="connsiteX6" fmla="*/ 3667 w 10000"/>
                <a:gd name="connsiteY6" fmla="*/ 629 h 10629"/>
                <a:gd name="connsiteX7" fmla="*/ 1503 w 10000"/>
                <a:gd name="connsiteY7" fmla="*/ 1319 h 10629"/>
                <a:gd name="connsiteX8" fmla="*/ 1472 w 10000"/>
                <a:gd name="connsiteY8" fmla="*/ 4693 h 10629"/>
                <a:gd name="connsiteX9" fmla="*/ 503 w 10000"/>
                <a:gd name="connsiteY9" fmla="*/ 5457 h 10629"/>
                <a:gd name="connsiteX10" fmla="*/ 0 w 10000"/>
                <a:gd name="connsiteY10" fmla="*/ 8560 h 10629"/>
                <a:gd name="connsiteX11" fmla="*/ 667 w 10000"/>
                <a:gd name="connsiteY11" fmla="*/ 9939 h 10629"/>
                <a:gd name="connsiteX12" fmla="*/ 1000 w 10000"/>
                <a:gd name="connsiteY12" fmla="*/ 10629 h 10629"/>
                <a:gd name="connsiteX13" fmla="*/ 2000 w 10000"/>
                <a:gd name="connsiteY13" fmla="*/ 10629 h 10629"/>
                <a:gd name="connsiteX14" fmla="*/ 3667 w 10000"/>
                <a:gd name="connsiteY14" fmla="*/ 9595 h 10629"/>
                <a:gd name="connsiteX15" fmla="*/ 5000 w 10000"/>
                <a:gd name="connsiteY15" fmla="*/ 9595 h 10629"/>
                <a:gd name="connsiteX16" fmla="*/ 7667 w 10000"/>
                <a:gd name="connsiteY16" fmla="*/ 7181 h 10629"/>
                <a:gd name="connsiteX17" fmla="*/ 10000 w 10000"/>
                <a:gd name="connsiteY17" fmla="*/ 5457 h 10629"/>
                <a:gd name="connsiteX18" fmla="*/ 8333 w 10000"/>
                <a:gd name="connsiteY18" fmla="*/ 4767 h 10629"/>
                <a:gd name="connsiteX19" fmla="*/ 8000 w 10000"/>
                <a:gd name="connsiteY19" fmla="*/ 3388 h 10629"/>
                <a:gd name="connsiteX0" fmla="*/ 7537 w 9537"/>
                <a:gd name="connsiteY0" fmla="*/ 3388 h 10629"/>
                <a:gd name="connsiteX1" fmla="*/ 6870 w 9537"/>
                <a:gd name="connsiteY1" fmla="*/ 3388 h 10629"/>
                <a:gd name="connsiteX2" fmla="*/ 5870 w 9537"/>
                <a:gd name="connsiteY2" fmla="*/ 2009 h 10629"/>
                <a:gd name="connsiteX3" fmla="*/ 5204 w 9537"/>
                <a:gd name="connsiteY3" fmla="*/ 629 h 10629"/>
                <a:gd name="connsiteX4" fmla="*/ 4870 w 9537"/>
                <a:gd name="connsiteY4" fmla="*/ 629 h 10629"/>
                <a:gd name="connsiteX5" fmla="*/ 4568 w 9537"/>
                <a:gd name="connsiteY5" fmla="*/ 0 h 10629"/>
                <a:gd name="connsiteX6" fmla="*/ 3204 w 9537"/>
                <a:gd name="connsiteY6" fmla="*/ 629 h 10629"/>
                <a:gd name="connsiteX7" fmla="*/ 1040 w 9537"/>
                <a:gd name="connsiteY7" fmla="*/ 1319 h 10629"/>
                <a:gd name="connsiteX8" fmla="*/ 1009 w 9537"/>
                <a:gd name="connsiteY8" fmla="*/ 4693 h 10629"/>
                <a:gd name="connsiteX9" fmla="*/ 40 w 9537"/>
                <a:gd name="connsiteY9" fmla="*/ 5457 h 10629"/>
                <a:gd name="connsiteX10" fmla="*/ 141 w 9537"/>
                <a:gd name="connsiteY10" fmla="*/ 8560 h 10629"/>
                <a:gd name="connsiteX11" fmla="*/ 204 w 9537"/>
                <a:gd name="connsiteY11" fmla="*/ 9939 h 10629"/>
                <a:gd name="connsiteX12" fmla="*/ 537 w 9537"/>
                <a:gd name="connsiteY12" fmla="*/ 10629 h 10629"/>
                <a:gd name="connsiteX13" fmla="*/ 1537 w 9537"/>
                <a:gd name="connsiteY13" fmla="*/ 10629 h 10629"/>
                <a:gd name="connsiteX14" fmla="*/ 3204 w 9537"/>
                <a:gd name="connsiteY14" fmla="*/ 9595 h 10629"/>
                <a:gd name="connsiteX15" fmla="*/ 4537 w 9537"/>
                <a:gd name="connsiteY15" fmla="*/ 9595 h 10629"/>
                <a:gd name="connsiteX16" fmla="*/ 7204 w 9537"/>
                <a:gd name="connsiteY16" fmla="*/ 7181 h 10629"/>
                <a:gd name="connsiteX17" fmla="*/ 9537 w 9537"/>
                <a:gd name="connsiteY17" fmla="*/ 5457 h 10629"/>
                <a:gd name="connsiteX18" fmla="*/ 7870 w 9537"/>
                <a:gd name="connsiteY18" fmla="*/ 4767 h 10629"/>
                <a:gd name="connsiteX19" fmla="*/ 7537 w 9537"/>
                <a:gd name="connsiteY19" fmla="*/ 3388 h 1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37" h="10629">
                  <a:moveTo>
                    <a:pt x="7537" y="3388"/>
                  </a:moveTo>
                  <a:lnTo>
                    <a:pt x="6870" y="3388"/>
                  </a:lnTo>
                  <a:lnTo>
                    <a:pt x="5870" y="2009"/>
                  </a:lnTo>
                  <a:lnTo>
                    <a:pt x="5204" y="629"/>
                  </a:lnTo>
                  <a:lnTo>
                    <a:pt x="4870" y="629"/>
                  </a:lnTo>
                  <a:lnTo>
                    <a:pt x="4568" y="0"/>
                  </a:lnTo>
                  <a:lnTo>
                    <a:pt x="3204" y="629"/>
                  </a:lnTo>
                  <a:lnTo>
                    <a:pt x="1040" y="1319"/>
                  </a:lnTo>
                  <a:cubicBezTo>
                    <a:pt x="1030" y="2444"/>
                    <a:pt x="1019" y="3568"/>
                    <a:pt x="1009" y="4693"/>
                  </a:cubicBezTo>
                  <a:lnTo>
                    <a:pt x="40" y="5457"/>
                  </a:lnTo>
                  <a:cubicBezTo>
                    <a:pt x="-128" y="6491"/>
                    <a:pt x="309" y="7526"/>
                    <a:pt x="141" y="8560"/>
                  </a:cubicBezTo>
                  <a:cubicBezTo>
                    <a:pt x="162" y="9020"/>
                    <a:pt x="183" y="9479"/>
                    <a:pt x="204" y="9939"/>
                  </a:cubicBezTo>
                  <a:lnTo>
                    <a:pt x="537" y="10629"/>
                  </a:lnTo>
                  <a:lnTo>
                    <a:pt x="1537" y="10629"/>
                  </a:lnTo>
                  <a:lnTo>
                    <a:pt x="3204" y="9595"/>
                  </a:lnTo>
                  <a:lnTo>
                    <a:pt x="4537" y="9595"/>
                  </a:lnTo>
                  <a:lnTo>
                    <a:pt x="7204" y="7181"/>
                  </a:lnTo>
                  <a:lnTo>
                    <a:pt x="9537" y="5457"/>
                  </a:lnTo>
                  <a:lnTo>
                    <a:pt x="7870" y="4767"/>
                  </a:lnTo>
                  <a:lnTo>
                    <a:pt x="7537" y="338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376"/>
            <p:cNvSpPr>
              <a:spLocks/>
            </p:cNvSpPr>
            <p:nvPr/>
          </p:nvSpPr>
          <p:spPr bwMode="auto">
            <a:xfrm>
              <a:off x="4579940" y="4825468"/>
              <a:ext cx="298450" cy="298450"/>
            </a:xfrm>
            <a:custGeom>
              <a:avLst/>
              <a:gdLst>
                <a:gd name="T0" fmla="*/ 2147483646 w 38"/>
                <a:gd name="T1" fmla="*/ 2147483646 h 38"/>
                <a:gd name="T2" fmla="*/ 2147483646 w 38"/>
                <a:gd name="T3" fmla="*/ 2147483646 h 38"/>
                <a:gd name="T4" fmla="*/ 2147483646 w 38"/>
                <a:gd name="T5" fmla="*/ 2147483646 h 38"/>
                <a:gd name="T6" fmla="*/ 2147483646 w 38"/>
                <a:gd name="T7" fmla="*/ 2147483646 h 38"/>
                <a:gd name="T8" fmla="*/ 2147483646 w 38"/>
                <a:gd name="T9" fmla="*/ 2147483646 h 38"/>
                <a:gd name="T10" fmla="*/ 2147483646 w 38"/>
                <a:gd name="T11" fmla="*/ 2147483646 h 38"/>
                <a:gd name="T12" fmla="*/ 2147483646 w 38"/>
                <a:gd name="T13" fmla="*/ 2147483646 h 38"/>
                <a:gd name="T14" fmla="*/ 2147483646 w 38"/>
                <a:gd name="T15" fmla="*/ 2147483646 h 38"/>
                <a:gd name="T16" fmla="*/ 2147483646 w 38"/>
                <a:gd name="T17" fmla="*/ 2147483646 h 38"/>
                <a:gd name="T18" fmla="*/ 2147483646 w 38"/>
                <a:gd name="T19" fmla="*/ 2147483646 h 38"/>
                <a:gd name="T20" fmla="*/ 2147483646 w 38"/>
                <a:gd name="T21" fmla="*/ 2147483646 h 38"/>
                <a:gd name="T22" fmla="*/ 2147483646 w 38"/>
                <a:gd name="T23" fmla="*/ 2147483646 h 38"/>
                <a:gd name="T24" fmla="*/ 2147483646 w 38"/>
                <a:gd name="T25" fmla="*/ 2147483646 h 38"/>
                <a:gd name="T26" fmla="*/ 2147483646 w 38"/>
                <a:gd name="T27" fmla="*/ 2147483646 h 38"/>
                <a:gd name="T28" fmla="*/ 2147483646 w 38"/>
                <a:gd name="T29" fmla="*/ 2147483646 h 38"/>
                <a:gd name="T30" fmla="*/ 2147483646 w 38"/>
                <a:gd name="T31" fmla="*/ 2147483646 h 38"/>
                <a:gd name="T32" fmla="*/ 2147483646 w 38"/>
                <a:gd name="T33" fmla="*/ 0 h 38"/>
                <a:gd name="T34" fmla="*/ 2147483646 w 38"/>
                <a:gd name="T35" fmla="*/ 0 h 38"/>
                <a:gd name="T36" fmla="*/ 2147483646 w 38"/>
                <a:gd name="T37" fmla="*/ 2147483646 h 38"/>
                <a:gd name="T38" fmla="*/ 2147483646 w 38"/>
                <a:gd name="T39" fmla="*/ 2147483646 h 38"/>
                <a:gd name="T40" fmla="*/ 2147483646 w 38"/>
                <a:gd name="T41" fmla="*/ 2147483646 h 38"/>
                <a:gd name="T42" fmla="*/ 0 w 38"/>
                <a:gd name="T43" fmla="*/ 2147483646 h 38"/>
                <a:gd name="T44" fmla="*/ 0 w 38"/>
                <a:gd name="T45" fmla="*/ 2147483646 h 38"/>
                <a:gd name="T46" fmla="*/ 2147483646 w 38"/>
                <a:gd name="T47" fmla="*/ 2147483646 h 38"/>
                <a:gd name="T48" fmla="*/ 2147483646 w 38"/>
                <a:gd name="T49" fmla="*/ 2147483646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8" h="38">
                  <a:moveTo>
                    <a:pt x="4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25" y="4"/>
                    <a:pt x="24" y="4"/>
                  </a:cubicBezTo>
                  <a:cubicBezTo>
                    <a:pt x="24" y="4"/>
                    <a:pt x="22" y="6"/>
                    <a:pt x="21" y="6"/>
                  </a:cubicBezTo>
                  <a:cubicBezTo>
                    <a:pt x="20" y="7"/>
                    <a:pt x="19" y="6"/>
                    <a:pt x="18" y="6"/>
                  </a:cubicBezTo>
                  <a:cubicBezTo>
                    <a:pt x="17" y="6"/>
                    <a:pt x="13" y="0"/>
                    <a:pt x="12" y="0"/>
                  </a:cubicBezTo>
                  <a:cubicBezTo>
                    <a:pt x="11" y="0"/>
                    <a:pt x="4" y="0"/>
                    <a:pt x="4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5"/>
                    <a:pt x="2" y="35"/>
                    <a:pt x="2" y="35"/>
                  </a:cubicBezTo>
                  <a:lnTo>
                    <a:pt x="4" y="3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382"/>
            <p:cNvSpPr>
              <a:spLocks/>
            </p:cNvSpPr>
            <p:nvPr/>
          </p:nvSpPr>
          <p:spPr bwMode="auto">
            <a:xfrm>
              <a:off x="4183993" y="4283049"/>
              <a:ext cx="187325" cy="141287"/>
            </a:xfrm>
            <a:custGeom>
              <a:avLst/>
              <a:gdLst>
                <a:gd name="T0" fmla="*/ 2147483646 w 144"/>
                <a:gd name="T1" fmla="*/ 2147483646 h 109"/>
                <a:gd name="T2" fmla="*/ 2147483646 w 144"/>
                <a:gd name="T3" fmla="*/ 2147483646 h 109"/>
                <a:gd name="T4" fmla="*/ 2147483646 w 144"/>
                <a:gd name="T5" fmla="*/ 2147483646 h 109"/>
                <a:gd name="T6" fmla="*/ 2147483646 w 144"/>
                <a:gd name="T7" fmla="*/ 2147483646 h 109"/>
                <a:gd name="T8" fmla="*/ 2147483646 w 144"/>
                <a:gd name="T9" fmla="*/ 2147483646 h 109"/>
                <a:gd name="T10" fmla="*/ 2147483646 w 144"/>
                <a:gd name="T11" fmla="*/ 2147483646 h 109"/>
                <a:gd name="T12" fmla="*/ 2147483646 w 144"/>
                <a:gd name="T13" fmla="*/ 0 h 109"/>
                <a:gd name="T14" fmla="*/ 2147483646 w 144"/>
                <a:gd name="T15" fmla="*/ 0 h 109"/>
                <a:gd name="T16" fmla="*/ 2147483646 w 144"/>
                <a:gd name="T17" fmla="*/ 2147483646 h 109"/>
                <a:gd name="T18" fmla="*/ 2147483646 w 144"/>
                <a:gd name="T19" fmla="*/ 2147483646 h 109"/>
                <a:gd name="T20" fmla="*/ 2147483646 w 144"/>
                <a:gd name="T21" fmla="*/ 2147483646 h 109"/>
                <a:gd name="T22" fmla="*/ 0 w 144"/>
                <a:gd name="T23" fmla="*/ 2147483646 h 109"/>
                <a:gd name="T24" fmla="*/ 0 w 144"/>
                <a:gd name="T25" fmla="*/ 2147483646 h 109"/>
                <a:gd name="T26" fmla="*/ 2147483646 w 144"/>
                <a:gd name="T27" fmla="*/ 2147483646 h 109"/>
                <a:gd name="T28" fmla="*/ 2147483646 w 144"/>
                <a:gd name="T29" fmla="*/ 2147483646 h 109"/>
                <a:gd name="T30" fmla="*/ 2147483646 w 144"/>
                <a:gd name="T31" fmla="*/ 2147483646 h 109"/>
                <a:gd name="T32" fmla="*/ 2147483646 w 144"/>
                <a:gd name="T33" fmla="*/ 2147483646 h 109"/>
                <a:gd name="T34" fmla="*/ 2147483646 w 144"/>
                <a:gd name="T35" fmla="*/ 2147483646 h 109"/>
                <a:gd name="T36" fmla="*/ 2147483646 w 144"/>
                <a:gd name="T37" fmla="*/ 2147483646 h 109"/>
                <a:gd name="T38" fmla="*/ 2147483646 w 144"/>
                <a:gd name="T39" fmla="*/ 2147483646 h 10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  <a:lnTo>
                    <a:pt x="114" y="7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383"/>
            <p:cNvSpPr>
              <a:spLocks/>
            </p:cNvSpPr>
            <p:nvPr/>
          </p:nvSpPr>
          <p:spPr bwMode="auto">
            <a:xfrm>
              <a:off x="4183993" y="4283049"/>
              <a:ext cx="187325" cy="141287"/>
            </a:xfrm>
            <a:custGeom>
              <a:avLst/>
              <a:gdLst>
                <a:gd name="T0" fmla="*/ 2147483646 w 144"/>
                <a:gd name="T1" fmla="*/ 2147483646 h 109"/>
                <a:gd name="T2" fmla="*/ 2147483646 w 144"/>
                <a:gd name="T3" fmla="*/ 2147483646 h 109"/>
                <a:gd name="T4" fmla="*/ 2147483646 w 144"/>
                <a:gd name="T5" fmla="*/ 2147483646 h 109"/>
                <a:gd name="T6" fmla="*/ 2147483646 w 144"/>
                <a:gd name="T7" fmla="*/ 2147483646 h 109"/>
                <a:gd name="T8" fmla="*/ 2147483646 w 144"/>
                <a:gd name="T9" fmla="*/ 2147483646 h 109"/>
                <a:gd name="T10" fmla="*/ 2147483646 w 144"/>
                <a:gd name="T11" fmla="*/ 2147483646 h 109"/>
                <a:gd name="T12" fmla="*/ 2147483646 w 144"/>
                <a:gd name="T13" fmla="*/ 0 h 109"/>
                <a:gd name="T14" fmla="*/ 2147483646 w 144"/>
                <a:gd name="T15" fmla="*/ 0 h 109"/>
                <a:gd name="T16" fmla="*/ 2147483646 w 144"/>
                <a:gd name="T17" fmla="*/ 2147483646 h 109"/>
                <a:gd name="T18" fmla="*/ 2147483646 w 144"/>
                <a:gd name="T19" fmla="*/ 2147483646 h 109"/>
                <a:gd name="T20" fmla="*/ 2147483646 w 144"/>
                <a:gd name="T21" fmla="*/ 2147483646 h 109"/>
                <a:gd name="T22" fmla="*/ 0 w 144"/>
                <a:gd name="T23" fmla="*/ 2147483646 h 109"/>
                <a:gd name="T24" fmla="*/ 0 w 144"/>
                <a:gd name="T25" fmla="*/ 2147483646 h 109"/>
                <a:gd name="T26" fmla="*/ 2147483646 w 144"/>
                <a:gd name="T27" fmla="*/ 2147483646 h 109"/>
                <a:gd name="T28" fmla="*/ 2147483646 w 144"/>
                <a:gd name="T29" fmla="*/ 2147483646 h 109"/>
                <a:gd name="T30" fmla="*/ 2147483646 w 144"/>
                <a:gd name="T31" fmla="*/ 2147483646 h 109"/>
                <a:gd name="T32" fmla="*/ 2147483646 w 144"/>
                <a:gd name="T33" fmla="*/ 2147483646 h 109"/>
                <a:gd name="T34" fmla="*/ 2147483646 w 144"/>
                <a:gd name="T35" fmla="*/ 2147483646 h 109"/>
                <a:gd name="T36" fmla="*/ 2147483646 w 144"/>
                <a:gd name="T37" fmla="*/ 2147483646 h 10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Freeform 384"/>
            <p:cNvSpPr>
              <a:spLocks/>
            </p:cNvSpPr>
            <p:nvPr/>
          </p:nvSpPr>
          <p:spPr bwMode="auto">
            <a:xfrm>
              <a:off x="4307818" y="4386236"/>
              <a:ext cx="23812" cy="6350"/>
            </a:xfrm>
            <a:custGeom>
              <a:avLst/>
              <a:gdLst>
                <a:gd name="T0" fmla="*/ 0 w 18"/>
                <a:gd name="T1" fmla="*/ 2147483646 h 6"/>
                <a:gd name="T2" fmla="*/ 2147483646 w 18"/>
                <a:gd name="T3" fmla="*/ 2147483646 h 6"/>
                <a:gd name="T4" fmla="*/ 2147483646 w 18"/>
                <a:gd name="T5" fmla="*/ 0 h 6"/>
                <a:gd name="T6" fmla="*/ 0 w 18"/>
                <a:gd name="T7" fmla="*/ 214748364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Freeform 385"/>
            <p:cNvSpPr>
              <a:spLocks/>
            </p:cNvSpPr>
            <p:nvPr/>
          </p:nvSpPr>
          <p:spPr bwMode="auto">
            <a:xfrm>
              <a:off x="4307818" y="4386236"/>
              <a:ext cx="23812" cy="6350"/>
            </a:xfrm>
            <a:custGeom>
              <a:avLst/>
              <a:gdLst>
                <a:gd name="T0" fmla="*/ 0 w 18"/>
                <a:gd name="T1" fmla="*/ 2147483646 h 6"/>
                <a:gd name="T2" fmla="*/ 2147483646 w 18"/>
                <a:gd name="T3" fmla="*/ 2147483646 h 6"/>
                <a:gd name="T4" fmla="*/ 2147483646 w 1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386"/>
            <p:cNvSpPr>
              <a:spLocks/>
            </p:cNvSpPr>
            <p:nvPr/>
          </p:nvSpPr>
          <p:spPr bwMode="auto">
            <a:xfrm>
              <a:off x="4230030" y="4392586"/>
              <a:ext cx="101600" cy="131763"/>
            </a:xfrm>
            <a:custGeom>
              <a:avLst/>
              <a:gdLst>
                <a:gd name="T0" fmla="*/ 2147483646 w 78"/>
                <a:gd name="T1" fmla="*/ 2147483646 h 102"/>
                <a:gd name="T2" fmla="*/ 2147483646 w 78"/>
                <a:gd name="T3" fmla="*/ 0 h 102"/>
                <a:gd name="T4" fmla="*/ 2147483646 w 78"/>
                <a:gd name="T5" fmla="*/ 0 h 102"/>
                <a:gd name="T6" fmla="*/ 2147483646 w 78"/>
                <a:gd name="T7" fmla="*/ 0 h 102"/>
                <a:gd name="T8" fmla="*/ 0 w 78"/>
                <a:gd name="T9" fmla="*/ 2147483646 h 102"/>
                <a:gd name="T10" fmla="*/ 2147483646 w 78"/>
                <a:gd name="T11" fmla="*/ 2147483646 h 102"/>
                <a:gd name="T12" fmla="*/ 0 w 78"/>
                <a:gd name="T13" fmla="*/ 2147483646 h 102"/>
                <a:gd name="T14" fmla="*/ 0 w 78"/>
                <a:gd name="T15" fmla="*/ 2147483646 h 102"/>
                <a:gd name="T16" fmla="*/ 2147483646 w 78"/>
                <a:gd name="T17" fmla="*/ 2147483646 h 102"/>
                <a:gd name="T18" fmla="*/ 2147483646 w 78"/>
                <a:gd name="T19" fmla="*/ 2147483646 h 102"/>
                <a:gd name="T20" fmla="*/ 2147483646 w 78"/>
                <a:gd name="T21" fmla="*/ 2147483646 h 102"/>
                <a:gd name="T22" fmla="*/ 2147483646 w 78"/>
                <a:gd name="T23" fmla="*/ 2147483646 h 102"/>
                <a:gd name="T24" fmla="*/ 2147483646 w 78"/>
                <a:gd name="T25" fmla="*/ 2147483646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8" h="102">
                  <a:moveTo>
                    <a:pt x="60" y="6"/>
                  </a:moveTo>
                  <a:lnTo>
                    <a:pt x="60" y="0"/>
                  </a:lnTo>
                  <a:lnTo>
                    <a:pt x="36" y="0"/>
                  </a:lnTo>
                  <a:lnTo>
                    <a:pt x="6" y="0"/>
                  </a:lnTo>
                  <a:lnTo>
                    <a:pt x="0" y="24"/>
                  </a:lnTo>
                  <a:lnTo>
                    <a:pt x="12" y="42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6" y="102"/>
                  </a:lnTo>
                  <a:lnTo>
                    <a:pt x="36" y="102"/>
                  </a:lnTo>
                  <a:lnTo>
                    <a:pt x="78" y="90"/>
                  </a:lnTo>
                  <a:lnTo>
                    <a:pt x="60" y="36"/>
                  </a:lnTo>
                  <a:lnTo>
                    <a:pt x="60" y="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387"/>
            <p:cNvSpPr>
              <a:spLocks/>
            </p:cNvSpPr>
            <p:nvPr/>
          </p:nvSpPr>
          <p:spPr bwMode="auto">
            <a:xfrm>
              <a:off x="4383140" y="4291533"/>
              <a:ext cx="296862" cy="266700"/>
            </a:xfrm>
            <a:custGeom>
              <a:avLst/>
              <a:gdLst>
                <a:gd name="T0" fmla="*/ 2147483646 w 228"/>
                <a:gd name="T1" fmla="*/ 2147483646 h 205"/>
                <a:gd name="T2" fmla="*/ 2147483646 w 228"/>
                <a:gd name="T3" fmla="*/ 2147483646 h 205"/>
                <a:gd name="T4" fmla="*/ 2147483646 w 228"/>
                <a:gd name="T5" fmla="*/ 2147483646 h 205"/>
                <a:gd name="T6" fmla="*/ 2147483646 w 228"/>
                <a:gd name="T7" fmla="*/ 2147483646 h 205"/>
                <a:gd name="T8" fmla="*/ 2147483646 w 228"/>
                <a:gd name="T9" fmla="*/ 2147483646 h 205"/>
                <a:gd name="T10" fmla="*/ 2147483646 w 228"/>
                <a:gd name="T11" fmla="*/ 2147483646 h 205"/>
                <a:gd name="T12" fmla="*/ 2147483646 w 228"/>
                <a:gd name="T13" fmla="*/ 2147483646 h 205"/>
                <a:gd name="T14" fmla="*/ 2147483646 w 228"/>
                <a:gd name="T15" fmla="*/ 2147483646 h 205"/>
                <a:gd name="T16" fmla="*/ 2147483646 w 228"/>
                <a:gd name="T17" fmla="*/ 2147483646 h 205"/>
                <a:gd name="T18" fmla="*/ 2147483646 w 228"/>
                <a:gd name="T19" fmla="*/ 0 h 205"/>
                <a:gd name="T20" fmla="*/ 2147483646 w 228"/>
                <a:gd name="T21" fmla="*/ 2147483646 h 205"/>
                <a:gd name="T22" fmla="*/ 2147483646 w 228"/>
                <a:gd name="T23" fmla="*/ 2147483646 h 205"/>
                <a:gd name="T24" fmla="*/ 2147483646 w 228"/>
                <a:gd name="T25" fmla="*/ 2147483646 h 205"/>
                <a:gd name="T26" fmla="*/ 2147483646 w 228"/>
                <a:gd name="T27" fmla="*/ 2147483646 h 205"/>
                <a:gd name="T28" fmla="*/ 2147483646 w 228"/>
                <a:gd name="T29" fmla="*/ 2147483646 h 205"/>
                <a:gd name="T30" fmla="*/ 2147483646 w 228"/>
                <a:gd name="T31" fmla="*/ 2147483646 h 205"/>
                <a:gd name="T32" fmla="*/ 2147483646 w 228"/>
                <a:gd name="T33" fmla="*/ 2147483646 h 205"/>
                <a:gd name="T34" fmla="*/ 2147483646 w 228"/>
                <a:gd name="T35" fmla="*/ 2147483646 h 205"/>
                <a:gd name="T36" fmla="*/ 2147483646 w 228"/>
                <a:gd name="T37" fmla="*/ 2147483646 h 205"/>
                <a:gd name="T38" fmla="*/ 0 w 228"/>
                <a:gd name="T39" fmla="*/ 2147483646 h 205"/>
                <a:gd name="T40" fmla="*/ 0 w 228"/>
                <a:gd name="T41" fmla="*/ 2147483646 h 205"/>
                <a:gd name="T42" fmla="*/ 2147483646 w 228"/>
                <a:gd name="T43" fmla="*/ 2147483646 h 205"/>
                <a:gd name="T44" fmla="*/ 2147483646 w 228"/>
                <a:gd name="T45" fmla="*/ 2147483646 h 205"/>
                <a:gd name="T46" fmla="*/ 2147483646 w 228"/>
                <a:gd name="T47" fmla="*/ 2147483646 h 205"/>
                <a:gd name="T48" fmla="*/ 2147483646 w 228"/>
                <a:gd name="T49" fmla="*/ 2147483646 h 205"/>
                <a:gd name="T50" fmla="*/ 2147483646 w 228"/>
                <a:gd name="T51" fmla="*/ 2147483646 h 205"/>
                <a:gd name="T52" fmla="*/ 2147483646 w 228"/>
                <a:gd name="T53" fmla="*/ 2147483646 h 20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28" h="205">
                  <a:moveTo>
                    <a:pt x="120" y="151"/>
                  </a:moveTo>
                  <a:lnTo>
                    <a:pt x="150" y="163"/>
                  </a:lnTo>
                  <a:lnTo>
                    <a:pt x="180" y="121"/>
                  </a:lnTo>
                  <a:lnTo>
                    <a:pt x="198" y="73"/>
                  </a:lnTo>
                  <a:lnTo>
                    <a:pt x="204" y="55"/>
                  </a:lnTo>
                  <a:lnTo>
                    <a:pt x="222" y="49"/>
                  </a:lnTo>
                  <a:lnTo>
                    <a:pt x="228" y="31"/>
                  </a:lnTo>
                  <a:lnTo>
                    <a:pt x="210" y="25"/>
                  </a:lnTo>
                  <a:lnTo>
                    <a:pt x="198" y="7"/>
                  </a:lnTo>
                  <a:lnTo>
                    <a:pt x="204" y="0"/>
                  </a:lnTo>
                  <a:lnTo>
                    <a:pt x="174" y="25"/>
                  </a:lnTo>
                  <a:lnTo>
                    <a:pt x="144" y="31"/>
                  </a:lnTo>
                  <a:lnTo>
                    <a:pt x="108" y="31"/>
                  </a:lnTo>
                  <a:lnTo>
                    <a:pt x="84" y="43"/>
                  </a:lnTo>
                  <a:lnTo>
                    <a:pt x="48" y="31"/>
                  </a:lnTo>
                  <a:lnTo>
                    <a:pt x="24" y="31"/>
                  </a:lnTo>
                  <a:lnTo>
                    <a:pt x="12" y="49"/>
                  </a:lnTo>
                  <a:lnTo>
                    <a:pt x="12" y="67"/>
                  </a:lnTo>
                  <a:lnTo>
                    <a:pt x="12" y="91"/>
                  </a:lnTo>
                  <a:lnTo>
                    <a:pt x="0" y="133"/>
                  </a:lnTo>
                  <a:lnTo>
                    <a:pt x="0" y="163"/>
                  </a:lnTo>
                  <a:lnTo>
                    <a:pt x="24" y="163"/>
                  </a:lnTo>
                  <a:lnTo>
                    <a:pt x="48" y="193"/>
                  </a:lnTo>
                  <a:lnTo>
                    <a:pt x="72" y="199"/>
                  </a:lnTo>
                  <a:lnTo>
                    <a:pt x="96" y="205"/>
                  </a:lnTo>
                  <a:lnTo>
                    <a:pt x="102" y="175"/>
                  </a:lnTo>
                  <a:lnTo>
                    <a:pt x="120" y="15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Freeform 393"/>
            <p:cNvSpPr>
              <a:spLocks/>
            </p:cNvSpPr>
            <p:nvPr/>
          </p:nvSpPr>
          <p:spPr bwMode="auto">
            <a:xfrm>
              <a:off x="4331630" y="4344961"/>
              <a:ext cx="63500" cy="157163"/>
            </a:xfrm>
            <a:custGeom>
              <a:avLst/>
              <a:gdLst>
                <a:gd name="T0" fmla="*/ 2147483646 w 48"/>
                <a:gd name="T1" fmla="*/ 2147483646 h 120"/>
                <a:gd name="T2" fmla="*/ 2147483646 w 48"/>
                <a:gd name="T3" fmla="*/ 2147483646 h 120"/>
                <a:gd name="T4" fmla="*/ 2147483646 w 48"/>
                <a:gd name="T5" fmla="*/ 2147483646 h 120"/>
                <a:gd name="T6" fmla="*/ 2147483646 w 48"/>
                <a:gd name="T7" fmla="*/ 2147483646 h 120"/>
                <a:gd name="T8" fmla="*/ 2147483646 w 48"/>
                <a:gd name="T9" fmla="*/ 0 h 120"/>
                <a:gd name="T10" fmla="*/ 2147483646 w 48"/>
                <a:gd name="T11" fmla="*/ 2147483646 h 120"/>
                <a:gd name="T12" fmla="*/ 2147483646 w 48"/>
                <a:gd name="T13" fmla="*/ 2147483646 h 120"/>
                <a:gd name="T14" fmla="*/ 0 w 48"/>
                <a:gd name="T15" fmla="*/ 2147483646 h 120"/>
                <a:gd name="T16" fmla="*/ 0 w 48"/>
                <a:gd name="T17" fmla="*/ 2147483646 h 120"/>
                <a:gd name="T18" fmla="*/ 2147483646 w 48"/>
                <a:gd name="T19" fmla="*/ 2147483646 h 120"/>
                <a:gd name="T20" fmla="*/ 2147483646 w 48"/>
                <a:gd name="T21" fmla="*/ 2147483646 h 120"/>
                <a:gd name="T22" fmla="*/ 2147483646 w 48"/>
                <a:gd name="T23" fmla="*/ 2147483646 h 120"/>
                <a:gd name="T24" fmla="*/ 2147483646 w 48"/>
                <a:gd name="T25" fmla="*/ 2147483646 h 120"/>
                <a:gd name="T26" fmla="*/ 2147483646 w 48"/>
                <a:gd name="T27" fmla="*/ 2147483646 h 120"/>
                <a:gd name="T28" fmla="*/ 2147483646 w 48"/>
                <a:gd name="T29" fmla="*/ 2147483646 h 1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120">
                  <a:moveTo>
                    <a:pt x="48" y="48"/>
                  </a:moveTo>
                  <a:lnTo>
                    <a:pt x="48" y="24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6" y="9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36" y="90"/>
                  </a:lnTo>
                  <a:lnTo>
                    <a:pt x="48" y="4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394"/>
            <p:cNvSpPr>
              <a:spLocks/>
            </p:cNvSpPr>
            <p:nvPr/>
          </p:nvSpPr>
          <p:spPr bwMode="auto">
            <a:xfrm>
              <a:off x="4307818" y="4386236"/>
              <a:ext cx="55562" cy="123825"/>
            </a:xfrm>
            <a:custGeom>
              <a:avLst/>
              <a:gdLst>
                <a:gd name="T0" fmla="*/ 2147483646 w 42"/>
                <a:gd name="T1" fmla="*/ 2147483646 h 96"/>
                <a:gd name="T2" fmla="*/ 2147483646 w 42"/>
                <a:gd name="T3" fmla="*/ 0 h 96"/>
                <a:gd name="T4" fmla="*/ 2147483646 w 42"/>
                <a:gd name="T5" fmla="*/ 2147483646 h 96"/>
                <a:gd name="T6" fmla="*/ 0 w 42"/>
                <a:gd name="T7" fmla="*/ 2147483646 h 96"/>
                <a:gd name="T8" fmla="*/ 0 w 42"/>
                <a:gd name="T9" fmla="*/ 2147483646 h 96"/>
                <a:gd name="T10" fmla="*/ 0 w 42"/>
                <a:gd name="T11" fmla="*/ 2147483646 h 96"/>
                <a:gd name="T12" fmla="*/ 2147483646 w 42"/>
                <a:gd name="T13" fmla="*/ 2147483646 h 96"/>
                <a:gd name="T14" fmla="*/ 2147483646 w 42"/>
                <a:gd name="T15" fmla="*/ 2147483646 h 96"/>
                <a:gd name="T16" fmla="*/ 2147483646 w 42"/>
                <a:gd name="T17" fmla="*/ 2147483646 h 96"/>
                <a:gd name="T18" fmla="*/ 2147483646 w 42"/>
                <a:gd name="T19" fmla="*/ 2147483646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2" h="96">
                  <a:moveTo>
                    <a:pt x="18" y="18"/>
                  </a:moveTo>
                  <a:lnTo>
                    <a:pt x="18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42"/>
                  </a:lnTo>
                  <a:lnTo>
                    <a:pt x="18" y="96"/>
                  </a:lnTo>
                  <a:lnTo>
                    <a:pt x="42" y="90"/>
                  </a:lnTo>
                  <a:lnTo>
                    <a:pt x="24" y="60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395"/>
            <p:cNvSpPr>
              <a:spLocks/>
            </p:cNvSpPr>
            <p:nvPr/>
          </p:nvSpPr>
          <p:spPr bwMode="auto">
            <a:xfrm>
              <a:off x="4579991" y="5102223"/>
              <a:ext cx="320675" cy="325438"/>
            </a:xfrm>
            <a:custGeom>
              <a:avLst/>
              <a:gdLst>
                <a:gd name="T0" fmla="*/ 2147483646 w 246"/>
                <a:gd name="T1" fmla="*/ 2147483646 h 252"/>
                <a:gd name="T2" fmla="*/ 2147483646 w 246"/>
                <a:gd name="T3" fmla="*/ 2147483646 h 252"/>
                <a:gd name="T4" fmla="*/ 2147483646 w 246"/>
                <a:gd name="T5" fmla="*/ 2147483646 h 252"/>
                <a:gd name="T6" fmla="*/ 2147483646 w 246"/>
                <a:gd name="T7" fmla="*/ 2147483646 h 252"/>
                <a:gd name="T8" fmla="*/ 2147483646 w 246"/>
                <a:gd name="T9" fmla="*/ 2147483646 h 252"/>
                <a:gd name="T10" fmla="*/ 2147483646 w 246"/>
                <a:gd name="T11" fmla="*/ 2147483646 h 252"/>
                <a:gd name="T12" fmla="*/ 2147483646 w 246"/>
                <a:gd name="T13" fmla="*/ 2147483646 h 252"/>
                <a:gd name="T14" fmla="*/ 2147483646 w 246"/>
                <a:gd name="T15" fmla="*/ 2147483646 h 252"/>
                <a:gd name="T16" fmla="*/ 2147483646 w 246"/>
                <a:gd name="T17" fmla="*/ 2147483646 h 252"/>
                <a:gd name="T18" fmla="*/ 2147483646 w 246"/>
                <a:gd name="T19" fmla="*/ 2147483646 h 252"/>
                <a:gd name="T20" fmla="*/ 2147483646 w 246"/>
                <a:gd name="T21" fmla="*/ 2147483646 h 252"/>
                <a:gd name="T22" fmla="*/ 2147483646 w 246"/>
                <a:gd name="T23" fmla="*/ 2147483646 h 252"/>
                <a:gd name="T24" fmla="*/ 2147483646 w 246"/>
                <a:gd name="T25" fmla="*/ 2147483646 h 252"/>
                <a:gd name="T26" fmla="*/ 2147483646 w 246"/>
                <a:gd name="T27" fmla="*/ 2147483646 h 252"/>
                <a:gd name="T28" fmla="*/ 2147483646 w 246"/>
                <a:gd name="T29" fmla="*/ 2147483646 h 252"/>
                <a:gd name="T30" fmla="*/ 2147483646 w 246"/>
                <a:gd name="T31" fmla="*/ 2147483646 h 252"/>
                <a:gd name="T32" fmla="*/ 2147483646 w 246"/>
                <a:gd name="T33" fmla="*/ 2147483646 h 252"/>
                <a:gd name="T34" fmla="*/ 2147483646 w 246"/>
                <a:gd name="T35" fmla="*/ 2147483646 h 252"/>
                <a:gd name="T36" fmla="*/ 2147483646 w 246"/>
                <a:gd name="T37" fmla="*/ 2147483646 h 252"/>
                <a:gd name="T38" fmla="*/ 2147483646 w 246"/>
                <a:gd name="T39" fmla="*/ 0 h 252"/>
                <a:gd name="T40" fmla="*/ 2147483646 w 246"/>
                <a:gd name="T41" fmla="*/ 2147483646 h 252"/>
                <a:gd name="T42" fmla="*/ 0 w 246"/>
                <a:gd name="T43" fmla="*/ 2147483646 h 252"/>
                <a:gd name="T44" fmla="*/ 2147483646 w 246"/>
                <a:gd name="T45" fmla="*/ 2147483646 h 252"/>
                <a:gd name="T46" fmla="*/ 2147483646 w 246"/>
                <a:gd name="T47" fmla="*/ 2147483646 h 252"/>
                <a:gd name="T48" fmla="*/ 2147483646 w 246"/>
                <a:gd name="T49" fmla="*/ 2147483646 h 252"/>
                <a:gd name="T50" fmla="*/ 2147483646 w 246"/>
                <a:gd name="T51" fmla="*/ 2147483646 h 252"/>
                <a:gd name="T52" fmla="*/ 2147483646 w 246"/>
                <a:gd name="T53" fmla="*/ 2147483646 h 252"/>
                <a:gd name="T54" fmla="*/ 2147483646 w 246"/>
                <a:gd name="T55" fmla="*/ 2147483646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6" h="252">
                  <a:moveTo>
                    <a:pt x="126" y="252"/>
                  </a:moveTo>
                  <a:lnTo>
                    <a:pt x="144" y="246"/>
                  </a:lnTo>
                  <a:lnTo>
                    <a:pt x="156" y="162"/>
                  </a:lnTo>
                  <a:lnTo>
                    <a:pt x="156" y="108"/>
                  </a:lnTo>
                  <a:lnTo>
                    <a:pt x="168" y="102"/>
                  </a:lnTo>
                  <a:lnTo>
                    <a:pt x="174" y="36"/>
                  </a:lnTo>
                  <a:lnTo>
                    <a:pt x="222" y="24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34" y="12"/>
                  </a:lnTo>
                  <a:lnTo>
                    <a:pt x="210" y="12"/>
                  </a:lnTo>
                  <a:lnTo>
                    <a:pt x="216" y="18"/>
                  </a:lnTo>
                  <a:lnTo>
                    <a:pt x="210" y="12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42"/>
                  </a:lnTo>
                  <a:lnTo>
                    <a:pt x="42" y="126"/>
                  </a:lnTo>
                  <a:lnTo>
                    <a:pt x="48" y="144"/>
                  </a:lnTo>
                  <a:lnTo>
                    <a:pt x="60" y="222"/>
                  </a:lnTo>
                  <a:lnTo>
                    <a:pt x="90" y="252"/>
                  </a:lnTo>
                  <a:lnTo>
                    <a:pt x="96" y="240"/>
                  </a:lnTo>
                  <a:lnTo>
                    <a:pt x="126" y="25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62" name="Group 453"/>
            <p:cNvGrpSpPr>
              <a:grpSpLocks/>
            </p:cNvGrpSpPr>
            <p:nvPr/>
          </p:nvGrpSpPr>
          <p:grpSpPr bwMode="auto">
            <a:xfrm>
              <a:off x="4087351" y="2900361"/>
              <a:ext cx="250825" cy="368300"/>
              <a:chOff x="2201" y="1250"/>
              <a:chExt cx="133" cy="193"/>
            </a:xfrm>
            <a:grpFill/>
          </p:grpSpPr>
          <p:sp>
            <p:nvSpPr>
              <p:cNvPr id="241" name="Freeform 454"/>
              <p:cNvSpPr>
                <a:spLocks/>
              </p:cNvSpPr>
              <p:nvPr/>
            </p:nvSpPr>
            <p:spPr bwMode="auto">
              <a:xfrm>
                <a:off x="2234" y="1250"/>
                <a:ext cx="100" cy="193"/>
              </a:xfrm>
              <a:custGeom>
                <a:avLst/>
                <a:gdLst>
                  <a:gd name="T0" fmla="*/ 2265696 w 24"/>
                  <a:gd name="T1" fmla="*/ 11636360 h 47"/>
                  <a:gd name="T2" fmla="*/ 1548613 w 24"/>
                  <a:gd name="T3" fmla="*/ 10984915 h 47"/>
                  <a:gd name="T4" fmla="*/ 3815242 w 24"/>
                  <a:gd name="T5" fmla="*/ 9628014 h 47"/>
                  <a:gd name="T6" fmla="*/ 3443575 w 24"/>
                  <a:gd name="T7" fmla="*/ 8328599 h 47"/>
                  <a:gd name="T8" fmla="*/ 3008975 w 24"/>
                  <a:gd name="T9" fmla="*/ 7283639 h 47"/>
                  <a:gd name="T10" fmla="*/ 1177883 w 24"/>
                  <a:gd name="T11" fmla="*/ 7283639 h 47"/>
                  <a:gd name="T12" fmla="*/ 1548613 w 24"/>
                  <a:gd name="T13" fmla="*/ 5335900 h 47"/>
                  <a:gd name="T14" fmla="*/ 371667 w 24"/>
                  <a:gd name="T15" fmla="*/ 5983953 h 47"/>
                  <a:gd name="T16" fmla="*/ 0 w 24"/>
                  <a:gd name="T17" fmla="*/ 4290936 h 47"/>
                  <a:gd name="T18" fmla="*/ 0 w 24"/>
                  <a:gd name="T19" fmla="*/ 2675083 h 47"/>
                  <a:gd name="T20" fmla="*/ 371667 w 24"/>
                  <a:gd name="T21" fmla="*/ 1299416 h 47"/>
                  <a:gd name="T22" fmla="*/ 1920279 w 24"/>
                  <a:gd name="T23" fmla="*/ 0 h 47"/>
                  <a:gd name="T24" fmla="*/ 3008975 w 24"/>
                  <a:gd name="T25" fmla="*/ 316438 h 47"/>
                  <a:gd name="T26" fmla="*/ 2637292 w 24"/>
                  <a:gd name="T27" fmla="*/ 2028208 h 47"/>
                  <a:gd name="T28" fmla="*/ 4907846 w 24"/>
                  <a:gd name="T29" fmla="*/ 2028208 h 47"/>
                  <a:gd name="T30" fmla="*/ 4185992 w 24"/>
                  <a:gd name="T31" fmla="*/ 3644078 h 47"/>
                  <a:gd name="T32" fmla="*/ 3443575 w 24"/>
                  <a:gd name="T33" fmla="*/ 5019458 h 47"/>
                  <a:gd name="T34" fmla="*/ 4907846 w 24"/>
                  <a:gd name="T35" fmla="*/ 5652403 h 47"/>
                  <a:gd name="T36" fmla="*/ 6452554 w 24"/>
                  <a:gd name="T37" fmla="*/ 8012161 h 47"/>
                  <a:gd name="T38" fmla="*/ 7174704 w 24"/>
                  <a:gd name="T39" fmla="*/ 9628014 h 47"/>
                  <a:gd name="T40" fmla="*/ 7174704 w 24"/>
                  <a:gd name="T41" fmla="*/ 10591397 h 47"/>
                  <a:gd name="T42" fmla="*/ 8723388 w 24"/>
                  <a:gd name="T43" fmla="*/ 10591397 h 47"/>
                  <a:gd name="T44" fmla="*/ 8351425 w 24"/>
                  <a:gd name="T45" fmla="*/ 12936043 h 47"/>
                  <a:gd name="T46" fmla="*/ 9094983 w 24"/>
                  <a:gd name="T47" fmla="*/ 13252214 h 47"/>
                  <a:gd name="T48" fmla="*/ 6452554 w 24"/>
                  <a:gd name="T49" fmla="*/ 14312535 h 47"/>
                  <a:gd name="T50" fmla="*/ 4185992 w 24"/>
                  <a:gd name="T51" fmla="*/ 14628977 h 47"/>
                  <a:gd name="T52" fmla="*/ 3008975 w 24"/>
                  <a:gd name="T53" fmla="*/ 14963980 h 47"/>
                  <a:gd name="T54" fmla="*/ 1548613 w 24"/>
                  <a:gd name="T55" fmla="*/ 14963980 h 47"/>
                  <a:gd name="T56" fmla="*/ 371667 w 24"/>
                  <a:gd name="T57" fmla="*/ 15280422 h 47"/>
                  <a:gd name="T58" fmla="*/ 1920279 w 24"/>
                  <a:gd name="T59" fmla="*/ 13899088 h 47"/>
                  <a:gd name="T60" fmla="*/ 2265696 w 24"/>
                  <a:gd name="T61" fmla="*/ 12619535 h 47"/>
                  <a:gd name="T62" fmla="*/ 1177883 w 24"/>
                  <a:gd name="T63" fmla="*/ 12284331 h 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4" h="47">
                    <a:moveTo>
                      <a:pt x="3" y="37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5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0" y="43"/>
                      <a:pt x="9" y="43"/>
                    </a:cubicBezTo>
                    <a:cubicBezTo>
                      <a:pt x="9" y="43"/>
                      <a:pt x="8" y="45"/>
                      <a:pt x="8" y="45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3" y="37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2" name="Freeform 455"/>
              <p:cNvSpPr>
                <a:spLocks/>
              </p:cNvSpPr>
              <p:nvPr/>
            </p:nvSpPr>
            <p:spPr bwMode="auto">
              <a:xfrm>
                <a:off x="2201" y="1331"/>
                <a:ext cx="34" cy="22"/>
              </a:xfrm>
              <a:custGeom>
                <a:avLst/>
                <a:gdLst>
                  <a:gd name="T0" fmla="*/ 24 w 34"/>
                  <a:gd name="T1" fmla="*/ 22 h 22"/>
                  <a:gd name="T2" fmla="*/ 0 w 34"/>
                  <a:gd name="T3" fmla="*/ 18 h 22"/>
                  <a:gd name="T4" fmla="*/ 13 w 34"/>
                  <a:gd name="T5" fmla="*/ 0 h 22"/>
                  <a:gd name="T6" fmla="*/ 27 w 34"/>
                  <a:gd name="T7" fmla="*/ 3 h 22"/>
                  <a:gd name="T8" fmla="*/ 34 w 34"/>
                  <a:gd name="T9" fmla="*/ 15 h 22"/>
                  <a:gd name="T10" fmla="*/ 24 w 34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22">
                    <a:moveTo>
                      <a:pt x="24" y="22"/>
                    </a:moveTo>
                    <a:lnTo>
                      <a:pt x="0" y="18"/>
                    </a:lnTo>
                    <a:lnTo>
                      <a:pt x="13" y="0"/>
                    </a:lnTo>
                    <a:lnTo>
                      <a:pt x="27" y="3"/>
                    </a:lnTo>
                    <a:lnTo>
                      <a:pt x="34" y="15"/>
                    </a:lnTo>
                    <a:lnTo>
                      <a:pt x="24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63" name="Freeform 297"/>
            <p:cNvSpPr>
              <a:spLocks/>
            </p:cNvSpPr>
            <p:nvPr/>
          </p:nvSpPr>
          <p:spPr bwMode="auto">
            <a:xfrm>
              <a:off x="5770686" y="3657792"/>
              <a:ext cx="361162" cy="274638"/>
            </a:xfrm>
            <a:custGeom>
              <a:avLst/>
              <a:gdLst>
                <a:gd name="T0" fmla="*/ 2147483646 w 10348"/>
                <a:gd name="T1" fmla="*/ 127370832 h 11017"/>
                <a:gd name="T2" fmla="*/ 2147483646 w 10348"/>
                <a:gd name="T3" fmla="*/ 455278234 h 11017"/>
                <a:gd name="T4" fmla="*/ 2147483646 w 10348"/>
                <a:gd name="T5" fmla="*/ 455278234 h 11017"/>
                <a:gd name="T6" fmla="*/ 2147483646 w 10348"/>
                <a:gd name="T7" fmla="*/ 113815526 h 11017"/>
                <a:gd name="T8" fmla="*/ 2147483646 w 10348"/>
                <a:gd name="T9" fmla="*/ 0 h 11017"/>
                <a:gd name="T10" fmla="*/ 2147483646 w 10348"/>
                <a:gd name="T11" fmla="*/ 341462085 h 11017"/>
                <a:gd name="T12" fmla="*/ 2147483646 w 10348"/>
                <a:gd name="T13" fmla="*/ 569480901 h 11017"/>
                <a:gd name="T14" fmla="*/ 2147483646 w 10348"/>
                <a:gd name="T15" fmla="*/ 449081292 h 11017"/>
                <a:gd name="T16" fmla="*/ 2147483646 w 10348"/>
                <a:gd name="T17" fmla="*/ 455278234 h 11017"/>
                <a:gd name="T18" fmla="*/ 2147483646 w 10348"/>
                <a:gd name="T19" fmla="*/ 455278234 h 11017"/>
                <a:gd name="T20" fmla="*/ 2147483646 w 10348"/>
                <a:gd name="T21" fmla="*/ 341462085 h 11017"/>
                <a:gd name="T22" fmla="*/ 2147483646 w 10348"/>
                <a:gd name="T23" fmla="*/ 910942986 h 11017"/>
                <a:gd name="T24" fmla="*/ 2147483646 w 10348"/>
                <a:gd name="T25" fmla="*/ 1138590192 h 11017"/>
                <a:gd name="T26" fmla="*/ 2147483646 w 10348"/>
                <a:gd name="T27" fmla="*/ 1366221220 h 11017"/>
                <a:gd name="T28" fmla="*/ 1666989379 w 10348"/>
                <a:gd name="T29" fmla="*/ 1252405693 h 11017"/>
                <a:gd name="T30" fmla="*/ 785608426 w 10348"/>
                <a:gd name="T31" fmla="*/ 1101813130 h 11017"/>
                <a:gd name="T32" fmla="*/ 487236657 w 10348"/>
                <a:gd name="T33" fmla="*/ 1821886594 h 11017"/>
                <a:gd name="T34" fmla="*/ 476265638 w 10348"/>
                <a:gd name="T35" fmla="*/ 2147483646 h 11017"/>
                <a:gd name="T36" fmla="*/ 0 w 10348"/>
                <a:gd name="T37" fmla="*/ 2147483646 h 11017"/>
                <a:gd name="T38" fmla="*/ 1094910263 w 10348"/>
                <a:gd name="T39" fmla="*/ 2147483646 h 11017"/>
                <a:gd name="T40" fmla="*/ 1071648001 w 10348"/>
                <a:gd name="T41" fmla="*/ 2147483646 h 11017"/>
                <a:gd name="T42" fmla="*/ 645991505 w 10348"/>
                <a:gd name="T43" fmla="*/ 2147483646 h 11017"/>
                <a:gd name="T44" fmla="*/ 1868186495 w 10348"/>
                <a:gd name="T45" fmla="*/ 2147483646 h 11017"/>
                <a:gd name="T46" fmla="*/ 2147483646 w 10348"/>
                <a:gd name="T47" fmla="*/ 2147483646 h 11017"/>
                <a:gd name="T48" fmla="*/ 2147483646 w 10348"/>
                <a:gd name="T49" fmla="*/ 2147483646 h 11017"/>
                <a:gd name="T50" fmla="*/ 2147483646 w 10348"/>
                <a:gd name="T51" fmla="*/ 2147483646 h 11017"/>
                <a:gd name="T52" fmla="*/ 2147483646 w 10348"/>
                <a:gd name="T53" fmla="*/ 2147483646 h 11017"/>
                <a:gd name="T54" fmla="*/ 2147483646 w 10348"/>
                <a:gd name="T55" fmla="*/ 2147483646 h 11017"/>
                <a:gd name="T56" fmla="*/ 2147483646 w 10348"/>
                <a:gd name="T57" fmla="*/ 2147483646 h 11017"/>
                <a:gd name="T58" fmla="*/ 2147483646 w 10348"/>
                <a:gd name="T59" fmla="*/ 2147483646 h 11017"/>
                <a:gd name="T60" fmla="*/ 2147483646 w 10348"/>
                <a:gd name="T61" fmla="*/ 2147483646 h 11017"/>
                <a:gd name="T62" fmla="*/ 2147483646 w 10348"/>
                <a:gd name="T63" fmla="*/ 2147483646 h 11017"/>
                <a:gd name="T64" fmla="*/ 2147483646 w 10348"/>
                <a:gd name="T65" fmla="*/ 1910544014 h 11017"/>
                <a:gd name="T66" fmla="*/ 2147483646 w 10348"/>
                <a:gd name="T67" fmla="*/ 1644586688 h 11017"/>
                <a:gd name="T68" fmla="*/ 2147483646 w 10348"/>
                <a:gd name="T69" fmla="*/ 1240012457 h 11017"/>
                <a:gd name="T70" fmla="*/ 2147483646 w 10348"/>
                <a:gd name="T71" fmla="*/ 797127484 h 11017"/>
                <a:gd name="T72" fmla="*/ 2147483646 w 10348"/>
                <a:gd name="T73" fmla="*/ 683311958 h 11017"/>
                <a:gd name="T74" fmla="*/ 2147483646 w 10348"/>
                <a:gd name="T75" fmla="*/ 341462085 h 11017"/>
                <a:gd name="T76" fmla="*/ 2147483646 w 10348"/>
                <a:gd name="T77" fmla="*/ 127370832 h 110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connsiteX0" fmla="*/ 9574 w 10557"/>
                <a:gd name="connsiteY0" fmla="*/ 329 h 11017"/>
                <a:gd name="connsiteX1" fmla="*/ 8609 w 10557"/>
                <a:gd name="connsiteY1" fmla="*/ 1176 h 11017"/>
                <a:gd name="connsiteX2" fmla="*/ 7957 w 10557"/>
                <a:gd name="connsiteY2" fmla="*/ 1176 h 11017"/>
                <a:gd name="connsiteX3" fmla="*/ 7739 w 10557"/>
                <a:gd name="connsiteY3" fmla="*/ 294 h 11017"/>
                <a:gd name="connsiteX4" fmla="*/ 7522 w 10557"/>
                <a:gd name="connsiteY4" fmla="*/ 0 h 11017"/>
                <a:gd name="connsiteX5" fmla="*/ 6870 w 10557"/>
                <a:gd name="connsiteY5" fmla="*/ 882 h 11017"/>
                <a:gd name="connsiteX6" fmla="*/ 6435 w 10557"/>
                <a:gd name="connsiteY6" fmla="*/ 1471 h 11017"/>
                <a:gd name="connsiteX7" fmla="*/ 5604 w 10557"/>
                <a:gd name="connsiteY7" fmla="*/ 1160 h 11017"/>
                <a:gd name="connsiteX8" fmla="*/ 5131 w 10557"/>
                <a:gd name="connsiteY8" fmla="*/ 1176 h 11017"/>
                <a:gd name="connsiteX9" fmla="*/ 4478 w 10557"/>
                <a:gd name="connsiteY9" fmla="*/ 1176 h 11017"/>
                <a:gd name="connsiteX10" fmla="*/ 3609 w 10557"/>
                <a:gd name="connsiteY10" fmla="*/ 882 h 11017"/>
                <a:gd name="connsiteX11" fmla="*/ 3391 w 10557"/>
                <a:gd name="connsiteY11" fmla="*/ 2353 h 11017"/>
                <a:gd name="connsiteX12" fmla="*/ 2305 w 10557"/>
                <a:gd name="connsiteY12" fmla="*/ 2941 h 11017"/>
                <a:gd name="connsiteX13" fmla="*/ 1870 w 10557"/>
                <a:gd name="connsiteY13" fmla="*/ 3529 h 11017"/>
                <a:gd name="connsiteX14" fmla="*/ 1218 w 10557"/>
                <a:gd name="connsiteY14" fmla="*/ 3235 h 11017"/>
                <a:gd name="connsiteX15" fmla="*/ 574 w 10557"/>
                <a:gd name="connsiteY15" fmla="*/ 2846 h 11017"/>
                <a:gd name="connsiteX16" fmla="*/ 356 w 10557"/>
                <a:gd name="connsiteY16" fmla="*/ 4706 h 11017"/>
                <a:gd name="connsiteX17" fmla="*/ 348 w 10557"/>
                <a:gd name="connsiteY17" fmla="*/ 5882 h 11017"/>
                <a:gd name="connsiteX18" fmla="*/ 0 w 10557"/>
                <a:gd name="connsiteY18" fmla="*/ 7734 h 11017"/>
                <a:gd name="connsiteX19" fmla="*/ 800 w 10557"/>
                <a:gd name="connsiteY19" fmla="*/ 8417 h 11017"/>
                <a:gd name="connsiteX20" fmla="*/ 783 w 10557"/>
                <a:gd name="connsiteY20" fmla="*/ 9706 h 11017"/>
                <a:gd name="connsiteX21" fmla="*/ 472 w 10557"/>
                <a:gd name="connsiteY21" fmla="*/ 10621 h 11017"/>
                <a:gd name="connsiteX22" fmla="*/ 1365 w 10557"/>
                <a:gd name="connsiteY22" fmla="*/ 10882 h 11017"/>
                <a:gd name="connsiteX23" fmla="*/ 1808 w 10557"/>
                <a:gd name="connsiteY23" fmla="*/ 10893 h 11017"/>
                <a:gd name="connsiteX24" fmla="*/ 3024 w 10557"/>
                <a:gd name="connsiteY24" fmla="*/ 10980 h 11017"/>
                <a:gd name="connsiteX25" fmla="*/ 4782 w 10557"/>
                <a:gd name="connsiteY25" fmla="*/ 10261 h 11017"/>
                <a:gd name="connsiteX26" fmla="*/ 5051 w 10557"/>
                <a:gd name="connsiteY26" fmla="*/ 8921 h 11017"/>
                <a:gd name="connsiteX27" fmla="*/ 5896 w 10557"/>
                <a:gd name="connsiteY27" fmla="*/ 8595 h 11017"/>
                <a:gd name="connsiteX28" fmla="*/ 7247 w 10557"/>
                <a:gd name="connsiteY28" fmla="*/ 7778 h 11017"/>
                <a:gd name="connsiteX29" fmla="*/ 7297 w 10557"/>
                <a:gd name="connsiteY29" fmla="*/ 6764 h 11017"/>
                <a:gd name="connsiteX30" fmla="*/ 7587 w 10557"/>
                <a:gd name="connsiteY30" fmla="*/ 6503 h 11017"/>
                <a:gd name="connsiteX31" fmla="*/ 7969 w 10557"/>
                <a:gd name="connsiteY31" fmla="*/ 6078 h 11017"/>
                <a:gd name="connsiteX32" fmla="*/ 8619 w 10557"/>
                <a:gd name="connsiteY32" fmla="*/ 4935 h 11017"/>
                <a:gd name="connsiteX33" fmla="*/ 8743 w 10557"/>
                <a:gd name="connsiteY33" fmla="*/ 4248 h 11017"/>
                <a:gd name="connsiteX34" fmla="*/ 9173 w 10557"/>
                <a:gd name="connsiteY34" fmla="*/ 3203 h 11017"/>
                <a:gd name="connsiteX35" fmla="*/ 8826 w 10557"/>
                <a:gd name="connsiteY35" fmla="*/ 2059 h 11017"/>
                <a:gd name="connsiteX36" fmla="*/ 10557 w 10557"/>
                <a:gd name="connsiteY36" fmla="*/ 1287 h 11017"/>
                <a:gd name="connsiteX37" fmla="*/ 9913 w 10557"/>
                <a:gd name="connsiteY37" fmla="*/ 882 h 11017"/>
                <a:gd name="connsiteX38" fmla="*/ 9574 w 10557"/>
                <a:gd name="connsiteY38" fmla="*/ 329 h 11017"/>
                <a:gd name="connsiteX0" fmla="*/ 9156 w 10557"/>
                <a:gd name="connsiteY0" fmla="*/ 42 h 11017"/>
                <a:gd name="connsiteX1" fmla="*/ 8609 w 10557"/>
                <a:gd name="connsiteY1" fmla="*/ 1176 h 11017"/>
                <a:gd name="connsiteX2" fmla="*/ 7957 w 10557"/>
                <a:gd name="connsiteY2" fmla="*/ 1176 h 11017"/>
                <a:gd name="connsiteX3" fmla="*/ 7739 w 10557"/>
                <a:gd name="connsiteY3" fmla="*/ 294 h 11017"/>
                <a:gd name="connsiteX4" fmla="*/ 7522 w 10557"/>
                <a:gd name="connsiteY4" fmla="*/ 0 h 11017"/>
                <a:gd name="connsiteX5" fmla="*/ 6870 w 10557"/>
                <a:gd name="connsiteY5" fmla="*/ 882 h 11017"/>
                <a:gd name="connsiteX6" fmla="*/ 6435 w 10557"/>
                <a:gd name="connsiteY6" fmla="*/ 1471 h 11017"/>
                <a:gd name="connsiteX7" fmla="*/ 5604 w 10557"/>
                <a:gd name="connsiteY7" fmla="*/ 1160 h 11017"/>
                <a:gd name="connsiteX8" fmla="*/ 5131 w 10557"/>
                <a:gd name="connsiteY8" fmla="*/ 1176 h 11017"/>
                <a:gd name="connsiteX9" fmla="*/ 4478 w 10557"/>
                <a:gd name="connsiteY9" fmla="*/ 1176 h 11017"/>
                <a:gd name="connsiteX10" fmla="*/ 3609 w 10557"/>
                <a:gd name="connsiteY10" fmla="*/ 882 h 11017"/>
                <a:gd name="connsiteX11" fmla="*/ 3391 w 10557"/>
                <a:gd name="connsiteY11" fmla="*/ 2353 h 11017"/>
                <a:gd name="connsiteX12" fmla="*/ 2305 w 10557"/>
                <a:gd name="connsiteY12" fmla="*/ 2941 h 11017"/>
                <a:gd name="connsiteX13" fmla="*/ 1870 w 10557"/>
                <a:gd name="connsiteY13" fmla="*/ 3529 h 11017"/>
                <a:gd name="connsiteX14" fmla="*/ 1218 w 10557"/>
                <a:gd name="connsiteY14" fmla="*/ 3235 h 11017"/>
                <a:gd name="connsiteX15" fmla="*/ 574 w 10557"/>
                <a:gd name="connsiteY15" fmla="*/ 2846 h 11017"/>
                <a:gd name="connsiteX16" fmla="*/ 356 w 10557"/>
                <a:gd name="connsiteY16" fmla="*/ 4706 h 11017"/>
                <a:gd name="connsiteX17" fmla="*/ 348 w 10557"/>
                <a:gd name="connsiteY17" fmla="*/ 5882 h 11017"/>
                <a:gd name="connsiteX18" fmla="*/ 0 w 10557"/>
                <a:gd name="connsiteY18" fmla="*/ 7734 h 11017"/>
                <a:gd name="connsiteX19" fmla="*/ 800 w 10557"/>
                <a:gd name="connsiteY19" fmla="*/ 8417 h 11017"/>
                <a:gd name="connsiteX20" fmla="*/ 783 w 10557"/>
                <a:gd name="connsiteY20" fmla="*/ 9706 h 11017"/>
                <a:gd name="connsiteX21" fmla="*/ 472 w 10557"/>
                <a:gd name="connsiteY21" fmla="*/ 10621 h 11017"/>
                <a:gd name="connsiteX22" fmla="*/ 1365 w 10557"/>
                <a:gd name="connsiteY22" fmla="*/ 10882 h 11017"/>
                <a:gd name="connsiteX23" fmla="*/ 1808 w 10557"/>
                <a:gd name="connsiteY23" fmla="*/ 10893 h 11017"/>
                <a:gd name="connsiteX24" fmla="*/ 3024 w 10557"/>
                <a:gd name="connsiteY24" fmla="*/ 10980 h 11017"/>
                <a:gd name="connsiteX25" fmla="*/ 4782 w 10557"/>
                <a:gd name="connsiteY25" fmla="*/ 10261 h 11017"/>
                <a:gd name="connsiteX26" fmla="*/ 5051 w 10557"/>
                <a:gd name="connsiteY26" fmla="*/ 8921 h 11017"/>
                <a:gd name="connsiteX27" fmla="*/ 5896 w 10557"/>
                <a:gd name="connsiteY27" fmla="*/ 8595 h 11017"/>
                <a:gd name="connsiteX28" fmla="*/ 7247 w 10557"/>
                <a:gd name="connsiteY28" fmla="*/ 7778 h 11017"/>
                <a:gd name="connsiteX29" fmla="*/ 7297 w 10557"/>
                <a:gd name="connsiteY29" fmla="*/ 6764 h 11017"/>
                <a:gd name="connsiteX30" fmla="*/ 7587 w 10557"/>
                <a:gd name="connsiteY30" fmla="*/ 6503 h 11017"/>
                <a:gd name="connsiteX31" fmla="*/ 7969 w 10557"/>
                <a:gd name="connsiteY31" fmla="*/ 6078 h 11017"/>
                <a:gd name="connsiteX32" fmla="*/ 8619 w 10557"/>
                <a:gd name="connsiteY32" fmla="*/ 4935 h 11017"/>
                <a:gd name="connsiteX33" fmla="*/ 8743 w 10557"/>
                <a:gd name="connsiteY33" fmla="*/ 4248 h 11017"/>
                <a:gd name="connsiteX34" fmla="*/ 9173 w 10557"/>
                <a:gd name="connsiteY34" fmla="*/ 3203 h 11017"/>
                <a:gd name="connsiteX35" fmla="*/ 8826 w 10557"/>
                <a:gd name="connsiteY35" fmla="*/ 2059 h 11017"/>
                <a:gd name="connsiteX36" fmla="*/ 10557 w 10557"/>
                <a:gd name="connsiteY36" fmla="*/ 1287 h 11017"/>
                <a:gd name="connsiteX37" fmla="*/ 9913 w 10557"/>
                <a:gd name="connsiteY37" fmla="*/ 882 h 11017"/>
                <a:gd name="connsiteX38" fmla="*/ 9156 w 10557"/>
                <a:gd name="connsiteY38" fmla="*/ 42 h 11017"/>
                <a:gd name="connsiteX0" fmla="*/ 9156 w 10557"/>
                <a:gd name="connsiteY0" fmla="*/ 42 h 11017"/>
                <a:gd name="connsiteX1" fmla="*/ 8609 w 10557"/>
                <a:gd name="connsiteY1" fmla="*/ 1176 h 11017"/>
                <a:gd name="connsiteX2" fmla="*/ 7957 w 10557"/>
                <a:gd name="connsiteY2" fmla="*/ 1176 h 11017"/>
                <a:gd name="connsiteX3" fmla="*/ 7739 w 10557"/>
                <a:gd name="connsiteY3" fmla="*/ 294 h 11017"/>
                <a:gd name="connsiteX4" fmla="*/ 7522 w 10557"/>
                <a:gd name="connsiteY4" fmla="*/ 0 h 11017"/>
                <a:gd name="connsiteX5" fmla="*/ 6870 w 10557"/>
                <a:gd name="connsiteY5" fmla="*/ 882 h 11017"/>
                <a:gd name="connsiteX6" fmla="*/ 6435 w 10557"/>
                <a:gd name="connsiteY6" fmla="*/ 1471 h 11017"/>
                <a:gd name="connsiteX7" fmla="*/ 5604 w 10557"/>
                <a:gd name="connsiteY7" fmla="*/ 1160 h 11017"/>
                <a:gd name="connsiteX8" fmla="*/ 5131 w 10557"/>
                <a:gd name="connsiteY8" fmla="*/ 1176 h 11017"/>
                <a:gd name="connsiteX9" fmla="*/ 4478 w 10557"/>
                <a:gd name="connsiteY9" fmla="*/ 1176 h 11017"/>
                <a:gd name="connsiteX10" fmla="*/ 3609 w 10557"/>
                <a:gd name="connsiteY10" fmla="*/ 882 h 11017"/>
                <a:gd name="connsiteX11" fmla="*/ 3391 w 10557"/>
                <a:gd name="connsiteY11" fmla="*/ 2353 h 11017"/>
                <a:gd name="connsiteX12" fmla="*/ 2305 w 10557"/>
                <a:gd name="connsiteY12" fmla="*/ 2941 h 11017"/>
                <a:gd name="connsiteX13" fmla="*/ 1870 w 10557"/>
                <a:gd name="connsiteY13" fmla="*/ 3529 h 11017"/>
                <a:gd name="connsiteX14" fmla="*/ 1218 w 10557"/>
                <a:gd name="connsiteY14" fmla="*/ 3235 h 11017"/>
                <a:gd name="connsiteX15" fmla="*/ 574 w 10557"/>
                <a:gd name="connsiteY15" fmla="*/ 2846 h 11017"/>
                <a:gd name="connsiteX16" fmla="*/ 356 w 10557"/>
                <a:gd name="connsiteY16" fmla="*/ 4706 h 11017"/>
                <a:gd name="connsiteX17" fmla="*/ 348 w 10557"/>
                <a:gd name="connsiteY17" fmla="*/ 5882 h 11017"/>
                <a:gd name="connsiteX18" fmla="*/ 0 w 10557"/>
                <a:gd name="connsiteY18" fmla="*/ 7734 h 11017"/>
                <a:gd name="connsiteX19" fmla="*/ 800 w 10557"/>
                <a:gd name="connsiteY19" fmla="*/ 8417 h 11017"/>
                <a:gd name="connsiteX20" fmla="*/ 783 w 10557"/>
                <a:gd name="connsiteY20" fmla="*/ 9706 h 11017"/>
                <a:gd name="connsiteX21" fmla="*/ 472 w 10557"/>
                <a:gd name="connsiteY21" fmla="*/ 10621 h 11017"/>
                <a:gd name="connsiteX22" fmla="*/ 1365 w 10557"/>
                <a:gd name="connsiteY22" fmla="*/ 10882 h 11017"/>
                <a:gd name="connsiteX23" fmla="*/ 1808 w 10557"/>
                <a:gd name="connsiteY23" fmla="*/ 10893 h 11017"/>
                <a:gd name="connsiteX24" fmla="*/ 3024 w 10557"/>
                <a:gd name="connsiteY24" fmla="*/ 10980 h 11017"/>
                <a:gd name="connsiteX25" fmla="*/ 4782 w 10557"/>
                <a:gd name="connsiteY25" fmla="*/ 10261 h 11017"/>
                <a:gd name="connsiteX26" fmla="*/ 5051 w 10557"/>
                <a:gd name="connsiteY26" fmla="*/ 8921 h 11017"/>
                <a:gd name="connsiteX27" fmla="*/ 5896 w 10557"/>
                <a:gd name="connsiteY27" fmla="*/ 8595 h 11017"/>
                <a:gd name="connsiteX28" fmla="*/ 7247 w 10557"/>
                <a:gd name="connsiteY28" fmla="*/ 7778 h 11017"/>
                <a:gd name="connsiteX29" fmla="*/ 7297 w 10557"/>
                <a:gd name="connsiteY29" fmla="*/ 6764 h 11017"/>
                <a:gd name="connsiteX30" fmla="*/ 7587 w 10557"/>
                <a:gd name="connsiteY30" fmla="*/ 6503 h 11017"/>
                <a:gd name="connsiteX31" fmla="*/ 7969 w 10557"/>
                <a:gd name="connsiteY31" fmla="*/ 6078 h 11017"/>
                <a:gd name="connsiteX32" fmla="*/ 8619 w 10557"/>
                <a:gd name="connsiteY32" fmla="*/ 4935 h 11017"/>
                <a:gd name="connsiteX33" fmla="*/ 8743 w 10557"/>
                <a:gd name="connsiteY33" fmla="*/ 4248 h 11017"/>
                <a:gd name="connsiteX34" fmla="*/ 9173 w 10557"/>
                <a:gd name="connsiteY34" fmla="*/ 3203 h 11017"/>
                <a:gd name="connsiteX35" fmla="*/ 9313 w 10557"/>
                <a:gd name="connsiteY35" fmla="*/ 2250 h 11017"/>
                <a:gd name="connsiteX36" fmla="*/ 10557 w 10557"/>
                <a:gd name="connsiteY36" fmla="*/ 1287 h 11017"/>
                <a:gd name="connsiteX37" fmla="*/ 9913 w 10557"/>
                <a:gd name="connsiteY37" fmla="*/ 882 h 11017"/>
                <a:gd name="connsiteX38" fmla="*/ 9156 w 10557"/>
                <a:gd name="connsiteY38" fmla="*/ 42 h 11017"/>
                <a:gd name="connsiteX0" fmla="*/ 9156 w 10557"/>
                <a:gd name="connsiteY0" fmla="*/ 42 h 11017"/>
                <a:gd name="connsiteX1" fmla="*/ 8609 w 10557"/>
                <a:gd name="connsiteY1" fmla="*/ 1176 h 11017"/>
                <a:gd name="connsiteX2" fmla="*/ 7957 w 10557"/>
                <a:gd name="connsiteY2" fmla="*/ 1176 h 11017"/>
                <a:gd name="connsiteX3" fmla="*/ 7739 w 10557"/>
                <a:gd name="connsiteY3" fmla="*/ 294 h 11017"/>
                <a:gd name="connsiteX4" fmla="*/ 7522 w 10557"/>
                <a:gd name="connsiteY4" fmla="*/ 0 h 11017"/>
                <a:gd name="connsiteX5" fmla="*/ 6870 w 10557"/>
                <a:gd name="connsiteY5" fmla="*/ 882 h 11017"/>
                <a:gd name="connsiteX6" fmla="*/ 6435 w 10557"/>
                <a:gd name="connsiteY6" fmla="*/ 1471 h 11017"/>
                <a:gd name="connsiteX7" fmla="*/ 5604 w 10557"/>
                <a:gd name="connsiteY7" fmla="*/ 1160 h 11017"/>
                <a:gd name="connsiteX8" fmla="*/ 5131 w 10557"/>
                <a:gd name="connsiteY8" fmla="*/ 1176 h 11017"/>
                <a:gd name="connsiteX9" fmla="*/ 4478 w 10557"/>
                <a:gd name="connsiteY9" fmla="*/ 1176 h 11017"/>
                <a:gd name="connsiteX10" fmla="*/ 3609 w 10557"/>
                <a:gd name="connsiteY10" fmla="*/ 882 h 11017"/>
                <a:gd name="connsiteX11" fmla="*/ 3391 w 10557"/>
                <a:gd name="connsiteY11" fmla="*/ 2353 h 11017"/>
                <a:gd name="connsiteX12" fmla="*/ 2305 w 10557"/>
                <a:gd name="connsiteY12" fmla="*/ 2941 h 11017"/>
                <a:gd name="connsiteX13" fmla="*/ 1870 w 10557"/>
                <a:gd name="connsiteY13" fmla="*/ 3529 h 11017"/>
                <a:gd name="connsiteX14" fmla="*/ 1218 w 10557"/>
                <a:gd name="connsiteY14" fmla="*/ 3235 h 11017"/>
                <a:gd name="connsiteX15" fmla="*/ 574 w 10557"/>
                <a:gd name="connsiteY15" fmla="*/ 2846 h 11017"/>
                <a:gd name="connsiteX16" fmla="*/ 356 w 10557"/>
                <a:gd name="connsiteY16" fmla="*/ 4706 h 11017"/>
                <a:gd name="connsiteX17" fmla="*/ 348 w 10557"/>
                <a:gd name="connsiteY17" fmla="*/ 5882 h 11017"/>
                <a:gd name="connsiteX18" fmla="*/ 0 w 10557"/>
                <a:gd name="connsiteY18" fmla="*/ 7734 h 11017"/>
                <a:gd name="connsiteX19" fmla="*/ 800 w 10557"/>
                <a:gd name="connsiteY19" fmla="*/ 8417 h 11017"/>
                <a:gd name="connsiteX20" fmla="*/ 783 w 10557"/>
                <a:gd name="connsiteY20" fmla="*/ 9706 h 11017"/>
                <a:gd name="connsiteX21" fmla="*/ 472 w 10557"/>
                <a:gd name="connsiteY21" fmla="*/ 10621 h 11017"/>
                <a:gd name="connsiteX22" fmla="*/ 1365 w 10557"/>
                <a:gd name="connsiteY22" fmla="*/ 10882 h 11017"/>
                <a:gd name="connsiteX23" fmla="*/ 1808 w 10557"/>
                <a:gd name="connsiteY23" fmla="*/ 10893 h 11017"/>
                <a:gd name="connsiteX24" fmla="*/ 3024 w 10557"/>
                <a:gd name="connsiteY24" fmla="*/ 10980 h 11017"/>
                <a:gd name="connsiteX25" fmla="*/ 4782 w 10557"/>
                <a:gd name="connsiteY25" fmla="*/ 10261 h 11017"/>
                <a:gd name="connsiteX26" fmla="*/ 5051 w 10557"/>
                <a:gd name="connsiteY26" fmla="*/ 8921 h 11017"/>
                <a:gd name="connsiteX27" fmla="*/ 5896 w 10557"/>
                <a:gd name="connsiteY27" fmla="*/ 8595 h 11017"/>
                <a:gd name="connsiteX28" fmla="*/ 7247 w 10557"/>
                <a:gd name="connsiteY28" fmla="*/ 7778 h 11017"/>
                <a:gd name="connsiteX29" fmla="*/ 7297 w 10557"/>
                <a:gd name="connsiteY29" fmla="*/ 6764 h 11017"/>
                <a:gd name="connsiteX30" fmla="*/ 7587 w 10557"/>
                <a:gd name="connsiteY30" fmla="*/ 6503 h 11017"/>
                <a:gd name="connsiteX31" fmla="*/ 7969 w 10557"/>
                <a:gd name="connsiteY31" fmla="*/ 6078 h 11017"/>
                <a:gd name="connsiteX32" fmla="*/ 8619 w 10557"/>
                <a:gd name="connsiteY32" fmla="*/ 4935 h 11017"/>
                <a:gd name="connsiteX33" fmla="*/ 8743 w 10557"/>
                <a:gd name="connsiteY33" fmla="*/ 4248 h 11017"/>
                <a:gd name="connsiteX34" fmla="*/ 9173 w 10557"/>
                <a:gd name="connsiteY34" fmla="*/ 3203 h 11017"/>
                <a:gd name="connsiteX35" fmla="*/ 9313 w 10557"/>
                <a:gd name="connsiteY35" fmla="*/ 2250 h 11017"/>
                <a:gd name="connsiteX36" fmla="*/ 10557 w 10557"/>
                <a:gd name="connsiteY36" fmla="*/ 1287 h 11017"/>
                <a:gd name="connsiteX37" fmla="*/ 9843 w 10557"/>
                <a:gd name="connsiteY37" fmla="*/ 213 h 11017"/>
                <a:gd name="connsiteX38" fmla="*/ 9156 w 10557"/>
                <a:gd name="connsiteY38" fmla="*/ 42 h 11017"/>
                <a:gd name="connsiteX0" fmla="*/ 9156 w 10557"/>
                <a:gd name="connsiteY0" fmla="*/ 42 h 11017"/>
                <a:gd name="connsiteX1" fmla="*/ 8539 w 10557"/>
                <a:gd name="connsiteY1" fmla="*/ 794 h 11017"/>
                <a:gd name="connsiteX2" fmla="*/ 7957 w 10557"/>
                <a:gd name="connsiteY2" fmla="*/ 1176 h 11017"/>
                <a:gd name="connsiteX3" fmla="*/ 7739 w 10557"/>
                <a:gd name="connsiteY3" fmla="*/ 294 h 11017"/>
                <a:gd name="connsiteX4" fmla="*/ 7522 w 10557"/>
                <a:gd name="connsiteY4" fmla="*/ 0 h 11017"/>
                <a:gd name="connsiteX5" fmla="*/ 6870 w 10557"/>
                <a:gd name="connsiteY5" fmla="*/ 882 h 11017"/>
                <a:gd name="connsiteX6" fmla="*/ 6435 w 10557"/>
                <a:gd name="connsiteY6" fmla="*/ 1471 h 11017"/>
                <a:gd name="connsiteX7" fmla="*/ 5604 w 10557"/>
                <a:gd name="connsiteY7" fmla="*/ 1160 h 11017"/>
                <a:gd name="connsiteX8" fmla="*/ 5131 w 10557"/>
                <a:gd name="connsiteY8" fmla="*/ 1176 h 11017"/>
                <a:gd name="connsiteX9" fmla="*/ 4478 w 10557"/>
                <a:gd name="connsiteY9" fmla="*/ 1176 h 11017"/>
                <a:gd name="connsiteX10" fmla="*/ 3609 w 10557"/>
                <a:gd name="connsiteY10" fmla="*/ 882 h 11017"/>
                <a:gd name="connsiteX11" fmla="*/ 3391 w 10557"/>
                <a:gd name="connsiteY11" fmla="*/ 2353 h 11017"/>
                <a:gd name="connsiteX12" fmla="*/ 2305 w 10557"/>
                <a:gd name="connsiteY12" fmla="*/ 2941 h 11017"/>
                <a:gd name="connsiteX13" fmla="*/ 1870 w 10557"/>
                <a:gd name="connsiteY13" fmla="*/ 3529 h 11017"/>
                <a:gd name="connsiteX14" fmla="*/ 1218 w 10557"/>
                <a:gd name="connsiteY14" fmla="*/ 3235 h 11017"/>
                <a:gd name="connsiteX15" fmla="*/ 574 w 10557"/>
                <a:gd name="connsiteY15" fmla="*/ 2846 h 11017"/>
                <a:gd name="connsiteX16" fmla="*/ 356 w 10557"/>
                <a:gd name="connsiteY16" fmla="*/ 4706 h 11017"/>
                <a:gd name="connsiteX17" fmla="*/ 348 w 10557"/>
                <a:gd name="connsiteY17" fmla="*/ 5882 h 11017"/>
                <a:gd name="connsiteX18" fmla="*/ 0 w 10557"/>
                <a:gd name="connsiteY18" fmla="*/ 7734 h 11017"/>
                <a:gd name="connsiteX19" fmla="*/ 800 w 10557"/>
                <a:gd name="connsiteY19" fmla="*/ 8417 h 11017"/>
                <a:gd name="connsiteX20" fmla="*/ 783 w 10557"/>
                <a:gd name="connsiteY20" fmla="*/ 9706 h 11017"/>
                <a:gd name="connsiteX21" fmla="*/ 472 w 10557"/>
                <a:gd name="connsiteY21" fmla="*/ 10621 h 11017"/>
                <a:gd name="connsiteX22" fmla="*/ 1365 w 10557"/>
                <a:gd name="connsiteY22" fmla="*/ 10882 h 11017"/>
                <a:gd name="connsiteX23" fmla="*/ 1808 w 10557"/>
                <a:gd name="connsiteY23" fmla="*/ 10893 h 11017"/>
                <a:gd name="connsiteX24" fmla="*/ 3024 w 10557"/>
                <a:gd name="connsiteY24" fmla="*/ 10980 h 11017"/>
                <a:gd name="connsiteX25" fmla="*/ 4782 w 10557"/>
                <a:gd name="connsiteY25" fmla="*/ 10261 h 11017"/>
                <a:gd name="connsiteX26" fmla="*/ 5051 w 10557"/>
                <a:gd name="connsiteY26" fmla="*/ 8921 h 11017"/>
                <a:gd name="connsiteX27" fmla="*/ 5896 w 10557"/>
                <a:gd name="connsiteY27" fmla="*/ 8595 h 11017"/>
                <a:gd name="connsiteX28" fmla="*/ 7247 w 10557"/>
                <a:gd name="connsiteY28" fmla="*/ 7778 h 11017"/>
                <a:gd name="connsiteX29" fmla="*/ 7297 w 10557"/>
                <a:gd name="connsiteY29" fmla="*/ 6764 h 11017"/>
                <a:gd name="connsiteX30" fmla="*/ 7587 w 10557"/>
                <a:gd name="connsiteY30" fmla="*/ 6503 h 11017"/>
                <a:gd name="connsiteX31" fmla="*/ 7969 w 10557"/>
                <a:gd name="connsiteY31" fmla="*/ 6078 h 11017"/>
                <a:gd name="connsiteX32" fmla="*/ 8619 w 10557"/>
                <a:gd name="connsiteY32" fmla="*/ 4935 h 11017"/>
                <a:gd name="connsiteX33" fmla="*/ 8743 w 10557"/>
                <a:gd name="connsiteY33" fmla="*/ 4248 h 11017"/>
                <a:gd name="connsiteX34" fmla="*/ 9173 w 10557"/>
                <a:gd name="connsiteY34" fmla="*/ 3203 h 11017"/>
                <a:gd name="connsiteX35" fmla="*/ 9313 w 10557"/>
                <a:gd name="connsiteY35" fmla="*/ 2250 h 11017"/>
                <a:gd name="connsiteX36" fmla="*/ 10557 w 10557"/>
                <a:gd name="connsiteY36" fmla="*/ 1287 h 11017"/>
                <a:gd name="connsiteX37" fmla="*/ 9843 w 10557"/>
                <a:gd name="connsiteY37" fmla="*/ 213 h 11017"/>
                <a:gd name="connsiteX38" fmla="*/ 9156 w 10557"/>
                <a:gd name="connsiteY38" fmla="*/ 42 h 1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557" h="11017">
                  <a:moveTo>
                    <a:pt x="9156" y="42"/>
                  </a:moveTo>
                  <a:cubicBezTo>
                    <a:pt x="8834" y="324"/>
                    <a:pt x="8739" y="605"/>
                    <a:pt x="8539" y="794"/>
                  </a:cubicBezTo>
                  <a:cubicBezTo>
                    <a:pt x="8339" y="983"/>
                    <a:pt x="8174" y="1176"/>
                    <a:pt x="7957" y="1176"/>
                  </a:cubicBezTo>
                  <a:cubicBezTo>
                    <a:pt x="7884" y="882"/>
                    <a:pt x="7812" y="588"/>
                    <a:pt x="7739" y="294"/>
                  </a:cubicBezTo>
                  <a:lnTo>
                    <a:pt x="7522" y="0"/>
                  </a:lnTo>
                  <a:lnTo>
                    <a:pt x="6870" y="882"/>
                  </a:lnTo>
                  <a:cubicBezTo>
                    <a:pt x="6725" y="1078"/>
                    <a:pt x="6646" y="1425"/>
                    <a:pt x="6435" y="1471"/>
                  </a:cubicBezTo>
                  <a:cubicBezTo>
                    <a:pt x="6224" y="1517"/>
                    <a:pt x="5881" y="1264"/>
                    <a:pt x="5604" y="1160"/>
                  </a:cubicBezTo>
                  <a:cubicBezTo>
                    <a:pt x="5446" y="1165"/>
                    <a:pt x="5319" y="1173"/>
                    <a:pt x="5131" y="1176"/>
                  </a:cubicBezTo>
                  <a:cubicBezTo>
                    <a:pt x="4943" y="1179"/>
                    <a:pt x="4696" y="1176"/>
                    <a:pt x="4478" y="1176"/>
                  </a:cubicBezTo>
                  <a:lnTo>
                    <a:pt x="3609" y="882"/>
                  </a:lnTo>
                  <a:cubicBezTo>
                    <a:pt x="3536" y="1372"/>
                    <a:pt x="3464" y="1863"/>
                    <a:pt x="3391" y="2353"/>
                  </a:cubicBezTo>
                  <a:lnTo>
                    <a:pt x="2305" y="2941"/>
                  </a:lnTo>
                  <a:lnTo>
                    <a:pt x="1870" y="3529"/>
                  </a:lnTo>
                  <a:lnTo>
                    <a:pt x="1218" y="3235"/>
                  </a:lnTo>
                  <a:lnTo>
                    <a:pt x="574" y="2846"/>
                  </a:lnTo>
                  <a:cubicBezTo>
                    <a:pt x="501" y="3434"/>
                    <a:pt x="429" y="4118"/>
                    <a:pt x="356" y="4706"/>
                  </a:cubicBezTo>
                  <a:cubicBezTo>
                    <a:pt x="284" y="5098"/>
                    <a:pt x="420" y="5490"/>
                    <a:pt x="348" y="5882"/>
                  </a:cubicBezTo>
                  <a:cubicBezTo>
                    <a:pt x="278" y="6404"/>
                    <a:pt x="70" y="7212"/>
                    <a:pt x="0" y="7734"/>
                  </a:cubicBezTo>
                  <a:cubicBezTo>
                    <a:pt x="290" y="7930"/>
                    <a:pt x="510" y="8221"/>
                    <a:pt x="800" y="8417"/>
                  </a:cubicBezTo>
                  <a:cubicBezTo>
                    <a:pt x="365" y="10182"/>
                    <a:pt x="838" y="9339"/>
                    <a:pt x="783" y="9706"/>
                  </a:cubicBezTo>
                  <a:cubicBezTo>
                    <a:pt x="728" y="10073"/>
                    <a:pt x="375" y="10425"/>
                    <a:pt x="472" y="10621"/>
                  </a:cubicBezTo>
                  <a:cubicBezTo>
                    <a:pt x="569" y="10817"/>
                    <a:pt x="1142" y="10837"/>
                    <a:pt x="1365" y="10882"/>
                  </a:cubicBezTo>
                  <a:cubicBezTo>
                    <a:pt x="1588" y="10927"/>
                    <a:pt x="1663" y="10844"/>
                    <a:pt x="1808" y="10893"/>
                  </a:cubicBezTo>
                  <a:cubicBezTo>
                    <a:pt x="1953" y="10942"/>
                    <a:pt x="2528" y="11085"/>
                    <a:pt x="3024" y="10980"/>
                  </a:cubicBezTo>
                  <a:cubicBezTo>
                    <a:pt x="3520" y="10875"/>
                    <a:pt x="4444" y="10604"/>
                    <a:pt x="4782" y="10261"/>
                  </a:cubicBezTo>
                  <a:cubicBezTo>
                    <a:pt x="5120" y="9918"/>
                    <a:pt x="4865" y="9199"/>
                    <a:pt x="5051" y="8921"/>
                  </a:cubicBezTo>
                  <a:cubicBezTo>
                    <a:pt x="5237" y="8643"/>
                    <a:pt x="5530" y="8785"/>
                    <a:pt x="5896" y="8595"/>
                  </a:cubicBezTo>
                  <a:cubicBezTo>
                    <a:pt x="6262" y="8405"/>
                    <a:pt x="7014" y="8083"/>
                    <a:pt x="7247" y="7778"/>
                  </a:cubicBezTo>
                  <a:cubicBezTo>
                    <a:pt x="7481" y="7473"/>
                    <a:pt x="7240" y="6977"/>
                    <a:pt x="7297" y="6764"/>
                  </a:cubicBezTo>
                  <a:cubicBezTo>
                    <a:pt x="7354" y="6552"/>
                    <a:pt x="7475" y="6617"/>
                    <a:pt x="7587" y="6503"/>
                  </a:cubicBezTo>
                  <a:cubicBezTo>
                    <a:pt x="7699" y="6389"/>
                    <a:pt x="7797" y="6339"/>
                    <a:pt x="7969" y="6078"/>
                  </a:cubicBezTo>
                  <a:cubicBezTo>
                    <a:pt x="8141" y="5817"/>
                    <a:pt x="8490" y="5240"/>
                    <a:pt x="8619" y="4935"/>
                  </a:cubicBezTo>
                  <a:cubicBezTo>
                    <a:pt x="8748" y="4630"/>
                    <a:pt x="8651" y="4537"/>
                    <a:pt x="8743" y="4248"/>
                  </a:cubicBezTo>
                  <a:cubicBezTo>
                    <a:pt x="8835" y="3959"/>
                    <a:pt x="9078" y="3536"/>
                    <a:pt x="9173" y="3203"/>
                  </a:cubicBezTo>
                  <a:cubicBezTo>
                    <a:pt x="9268" y="2870"/>
                    <a:pt x="9082" y="2569"/>
                    <a:pt x="9313" y="2250"/>
                  </a:cubicBezTo>
                  <a:cubicBezTo>
                    <a:pt x="9544" y="1931"/>
                    <a:pt x="10050" y="1385"/>
                    <a:pt x="10557" y="1287"/>
                  </a:cubicBezTo>
                  <a:lnTo>
                    <a:pt x="9843" y="213"/>
                  </a:lnTo>
                  <a:lnTo>
                    <a:pt x="9156" y="4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277"/>
            <p:cNvSpPr>
              <a:spLocks/>
            </p:cNvSpPr>
            <p:nvPr/>
          </p:nvSpPr>
          <p:spPr bwMode="auto">
            <a:xfrm>
              <a:off x="2180034" y="4100512"/>
              <a:ext cx="276225" cy="77787"/>
            </a:xfrm>
            <a:custGeom>
              <a:avLst/>
              <a:gdLst>
                <a:gd name="T0" fmla="*/ 2147483646 w 35"/>
                <a:gd name="T1" fmla="*/ 2147483646 h 10"/>
                <a:gd name="T2" fmla="*/ 2147483646 w 35"/>
                <a:gd name="T3" fmla="*/ 0 h 10"/>
                <a:gd name="T4" fmla="*/ 2147483646 w 35"/>
                <a:gd name="T5" fmla="*/ 0 h 10"/>
                <a:gd name="T6" fmla="*/ 2147483646 w 35"/>
                <a:gd name="T7" fmla="*/ 2147483646 h 10"/>
                <a:gd name="T8" fmla="*/ 2147483646 w 35"/>
                <a:gd name="T9" fmla="*/ 2147483646 h 10"/>
                <a:gd name="T10" fmla="*/ 2147483646 w 35"/>
                <a:gd name="T11" fmla="*/ 2147483646 h 10"/>
                <a:gd name="T12" fmla="*/ 2147483646 w 35"/>
                <a:gd name="T13" fmla="*/ 2147483646 h 10"/>
                <a:gd name="T14" fmla="*/ 2147483646 w 35"/>
                <a:gd name="T15" fmla="*/ 2147483646 h 10"/>
                <a:gd name="T16" fmla="*/ 2147483646 w 35"/>
                <a:gd name="T17" fmla="*/ 2147483646 h 10"/>
                <a:gd name="T18" fmla="*/ 2147483646 w 35"/>
                <a:gd name="T19" fmla="*/ 2147483646 h 10"/>
                <a:gd name="T20" fmla="*/ 2147483646 w 35"/>
                <a:gd name="T21" fmla="*/ 2147483646 h 10"/>
                <a:gd name="T22" fmla="*/ 2147483646 w 35"/>
                <a:gd name="T23" fmla="*/ 2147483646 h 10"/>
                <a:gd name="T24" fmla="*/ 2147483646 w 35"/>
                <a:gd name="T25" fmla="*/ 2147483646 h 10"/>
                <a:gd name="T26" fmla="*/ 2147483646 w 35"/>
                <a:gd name="T27" fmla="*/ 2147483646 h 10"/>
                <a:gd name="T28" fmla="*/ 0 w 35"/>
                <a:gd name="T29" fmla="*/ 2147483646 h 10"/>
                <a:gd name="T30" fmla="*/ 2147483646 w 35"/>
                <a:gd name="T31" fmla="*/ 2147483646 h 1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5" h="10">
                  <a:moveTo>
                    <a:pt x="2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7" y="5"/>
                    <a:pt x="28" y="6"/>
                  </a:cubicBezTo>
                  <a:cubicBezTo>
                    <a:pt x="30" y="7"/>
                    <a:pt x="33" y="7"/>
                    <a:pt x="33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10"/>
                    <a:pt x="33" y="10"/>
                  </a:cubicBezTo>
                  <a:cubicBezTo>
                    <a:pt x="31" y="10"/>
                    <a:pt x="25" y="10"/>
                    <a:pt x="25" y="10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65" name="Freeform 278"/>
            <p:cNvSpPr>
              <a:spLocks/>
            </p:cNvSpPr>
            <p:nvPr/>
          </p:nvSpPr>
          <p:spPr bwMode="auto">
            <a:xfrm>
              <a:off x="2456259" y="4186237"/>
              <a:ext cx="171450" cy="47625"/>
            </a:xfrm>
            <a:custGeom>
              <a:avLst/>
              <a:gdLst>
                <a:gd name="T0" fmla="*/ 2147483646 w 132"/>
                <a:gd name="T1" fmla="*/ 0 h 36"/>
                <a:gd name="T2" fmla="*/ 2147483646 w 132"/>
                <a:gd name="T3" fmla="*/ 2147483646 h 36"/>
                <a:gd name="T4" fmla="*/ 0 w 132"/>
                <a:gd name="T5" fmla="*/ 2147483646 h 36"/>
                <a:gd name="T6" fmla="*/ 2147483646 w 132"/>
                <a:gd name="T7" fmla="*/ 2147483646 h 36"/>
                <a:gd name="T8" fmla="*/ 2147483646 w 132"/>
                <a:gd name="T9" fmla="*/ 2147483646 h 36"/>
                <a:gd name="T10" fmla="*/ 2147483646 w 132"/>
                <a:gd name="T11" fmla="*/ 2147483646 h 36"/>
                <a:gd name="T12" fmla="*/ 2147483646 w 132"/>
                <a:gd name="T13" fmla="*/ 2147483646 h 36"/>
                <a:gd name="T14" fmla="*/ 2147483646 w 132"/>
                <a:gd name="T15" fmla="*/ 2147483646 h 36"/>
                <a:gd name="T16" fmla="*/ 2147483646 w 132"/>
                <a:gd name="T17" fmla="*/ 2147483646 h 36"/>
                <a:gd name="T18" fmla="*/ 2147483646 w 132"/>
                <a:gd name="T19" fmla="*/ 0 h 36"/>
                <a:gd name="T20" fmla="*/ 2147483646 w 132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32" h="36">
                  <a:moveTo>
                    <a:pt x="24" y="0"/>
                  </a:moveTo>
                  <a:lnTo>
                    <a:pt x="24" y="12"/>
                  </a:lnTo>
                  <a:lnTo>
                    <a:pt x="0" y="18"/>
                  </a:lnTo>
                  <a:lnTo>
                    <a:pt x="30" y="30"/>
                  </a:lnTo>
                  <a:lnTo>
                    <a:pt x="42" y="36"/>
                  </a:lnTo>
                  <a:lnTo>
                    <a:pt x="66" y="36"/>
                  </a:lnTo>
                  <a:lnTo>
                    <a:pt x="84" y="24"/>
                  </a:lnTo>
                  <a:lnTo>
                    <a:pt x="132" y="30"/>
                  </a:lnTo>
                  <a:lnTo>
                    <a:pt x="108" y="18"/>
                  </a:lnTo>
                  <a:lnTo>
                    <a:pt x="72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66" name="Freeform 402"/>
            <p:cNvSpPr>
              <a:spLocks/>
            </p:cNvSpPr>
            <p:nvPr/>
          </p:nvSpPr>
          <p:spPr bwMode="auto">
            <a:xfrm>
              <a:off x="2243534" y="4444999"/>
              <a:ext cx="141288" cy="60325"/>
            </a:xfrm>
            <a:custGeom>
              <a:avLst/>
              <a:gdLst>
                <a:gd name="T0" fmla="*/ 2147483646 w 18"/>
                <a:gd name="T1" fmla="*/ 2147483646 h 8"/>
                <a:gd name="T2" fmla="*/ 2147483646 w 18"/>
                <a:gd name="T3" fmla="*/ 2147483646 h 8"/>
                <a:gd name="T4" fmla="*/ 2147483646 w 18"/>
                <a:gd name="T5" fmla="*/ 2147483646 h 8"/>
                <a:gd name="T6" fmla="*/ 2147483646 w 18"/>
                <a:gd name="T7" fmla="*/ 0 h 8"/>
                <a:gd name="T8" fmla="*/ 0 w 18"/>
                <a:gd name="T9" fmla="*/ 2147483646 h 8"/>
                <a:gd name="T10" fmla="*/ 2147483646 w 18"/>
                <a:gd name="T11" fmla="*/ 2147483646 h 8"/>
                <a:gd name="T12" fmla="*/ 2147483646 w 18"/>
                <a:gd name="T13" fmla="*/ 2147483646 h 8"/>
                <a:gd name="T14" fmla="*/ 2147483646 w 18"/>
                <a:gd name="T15" fmla="*/ 2147483646 h 8"/>
                <a:gd name="T16" fmla="*/ 2147483646 w 18"/>
                <a:gd name="T17" fmla="*/ 2147483646 h 8"/>
                <a:gd name="T18" fmla="*/ 2147483646 w 18"/>
                <a:gd name="T19" fmla="*/ 2147483646 h 8"/>
                <a:gd name="T20" fmla="*/ 2147483646 w 18"/>
                <a:gd name="T21" fmla="*/ 2147483646 h 8"/>
                <a:gd name="T22" fmla="*/ 2147483646 w 18"/>
                <a:gd name="T23" fmla="*/ 2147483646 h 8"/>
                <a:gd name="T24" fmla="*/ 2147483646 w 18"/>
                <a:gd name="T25" fmla="*/ 2147483646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" h="8">
                  <a:moveTo>
                    <a:pt x="14" y="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3" y="2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3" y="7"/>
                    <a:pt x="4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8" y="4"/>
                    <a:pt x="18" y="4"/>
                    <a:pt x="18" y="4"/>
                  </a:cubicBezTo>
                  <a:lnTo>
                    <a:pt x="14" y="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67" name="Freeform 445"/>
            <p:cNvSpPr>
              <a:spLocks/>
            </p:cNvSpPr>
            <p:nvPr/>
          </p:nvSpPr>
          <p:spPr bwMode="auto">
            <a:xfrm>
              <a:off x="2680097" y="4260849"/>
              <a:ext cx="36512" cy="19050"/>
            </a:xfrm>
            <a:custGeom>
              <a:avLst/>
              <a:gdLst>
                <a:gd name="T0" fmla="*/ 2147483646 w 23"/>
                <a:gd name="T1" fmla="*/ 0 h 18"/>
                <a:gd name="T2" fmla="*/ 2147483646 w 23"/>
                <a:gd name="T3" fmla="*/ 2147483646 h 18"/>
                <a:gd name="T4" fmla="*/ 2147483646 w 23"/>
                <a:gd name="T5" fmla="*/ 2147483646 h 18"/>
                <a:gd name="T6" fmla="*/ 0 w 23"/>
                <a:gd name="T7" fmla="*/ 2147483646 h 18"/>
                <a:gd name="T8" fmla="*/ 2147483646 w 2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" h="18">
                  <a:moveTo>
                    <a:pt x="2" y="0"/>
                  </a:moveTo>
                  <a:lnTo>
                    <a:pt x="23" y="1"/>
                  </a:lnTo>
                  <a:lnTo>
                    <a:pt x="21" y="18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68" name="Freeform: Shape 75"/>
            <p:cNvSpPr/>
            <p:nvPr/>
          </p:nvSpPr>
          <p:spPr bwMode="auto">
            <a:xfrm>
              <a:off x="1995488" y="4238625"/>
              <a:ext cx="95250" cy="116681"/>
            </a:xfrm>
            <a:custGeom>
              <a:avLst/>
              <a:gdLst>
                <a:gd name="connsiteX0" fmla="*/ 95250 w 95250"/>
                <a:gd name="connsiteY0" fmla="*/ 0 h 116681"/>
                <a:gd name="connsiteX1" fmla="*/ 45243 w 95250"/>
                <a:gd name="connsiteY1" fmla="*/ 11906 h 116681"/>
                <a:gd name="connsiteX2" fmla="*/ 23812 w 95250"/>
                <a:gd name="connsiteY2" fmla="*/ 28575 h 116681"/>
                <a:gd name="connsiteX3" fmla="*/ 42862 w 95250"/>
                <a:gd name="connsiteY3" fmla="*/ 54769 h 116681"/>
                <a:gd name="connsiteX4" fmla="*/ 42862 w 95250"/>
                <a:gd name="connsiteY4" fmla="*/ 54769 h 116681"/>
                <a:gd name="connsiteX5" fmla="*/ 0 w 95250"/>
                <a:gd name="connsiteY5" fmla="*/ 88106 h 116681"/>
                <a:gd name="connsiteX6" fmla="*/ 42862 w 95250"/>
                <a:gd name="connsiteY6" fmla="*/ 116681 h 116681"/>
                <a:gd name="connsiteX7" fmla="*/ 71437 w 95250"/>
                <a:gd name="connsiteY7" fmla="*/ 95250 h 116681"/>
                <a:gd name="connsiteX8" fmla="*/ 85725 w 95250"/>
                <a:gd name="connsiteY8" fmla="*/ 64294 h 116681"/>
                <a:gd name="connsiteX9" fmla="*/ 95250 w 95250"/>
                <a:gd name="connsiteY9" fmla="*/ 0 h 116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116681">
                  <a:moveTo>
                    <a:pt x="95250" y="0"/>
                  </a:moveTo>
                  <a:lnTo>
                    <a:pt x="45243" y="11906"/>
                  </a:lnTo>
                  <a:lnTo>
                    <a:pt x="23812" y="28575"/>
                  </a:lnTo>
                  <a:lnTo>
                    <a:pt x="42862" y="54769"/>
                  </a:lnTo>
                  <a:lnTo>
                    <a:pt x="42862" y="54769"/>
                  </a:lnTo>
                  <a:lnTo>
                    <a:pt x="0" y="88106"/>
                  </a:lnTo>
                  <a:lnTo>
                    <a:pt x="42862" y="116681"/>
                  </a:lnTo>
                  <a:lnTo>
                    <a:pt x="71437" y="95250"/>
                  </a:lnTo>
                  <a:lnTo>
                    <a:pt x="85725" y="64294"/>
                  </a:lnTo>
                  <a:lnTo>
                    <a:pt x="9525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69" name="Freeform: Shape 76"/>
            <p:cNvSpPr/>
            <p:nvPr/>
          </p:nvSpPr>
          <p:spPr bwMode="auto">
            <a:xfrm>
              <a:off x="2045494" y="4288631"/>
              <a:ext cx="164306" cy="80963"/>
            </a:xfrm>
            <a:custGeom>
              <a:avLst/>
              <a:gdLst>
                <a:gd name="connsiteX0" fmla="*/ 164306 w 164306"/>
                <a:gd name="connsiteY0" fmla="*/ 30957 h 80963"/>
                <a:gd name="connsiteX1" fmla="*/ 114300 w 164306"/>
                <a:gd name="connsiteY1" fmla="*/ 0 h 80963"/>
                <a:gd name="connsiteX2" fmla="*/ 95250 w 164306"/>
                <a:gd name="connsiteY2" fmla="*/ 14288 h 80963"/>
                <a:gd name="connsiteX3" fmla="*/ 61912 w 164306"/>
                <a:gd name="connsiteY3" fmla="*/ 14288 h 80963"/>
                <a:gd name="connsiteX4" fmla="*/ 38100 w 164306"/>
                <a:gd name="connsiteY4" fmla="*/ 11907 h 80963"/>
                <a:gd name="connsiteX5" fmla="*/ 26194 w 164306"/>
                <a:gd name="connsiteY5" fmla="*/ 47625 h 80963"/>
                <a:gd name="connsiteX6" fmla="*/ 0 w 164306"/>
                <a:gd name="connsiteY6" fmla="*/ 66675 h 80963"/>
                <a:gd name="connsiteX7" fmla="*/ 33337 w 164306"/>
                <a:gd name="connsiteY7" fmla="*/ 64294 h 80963"/>
                <a:gd name="connsiteX8" fmla="*/ 33337 w 164306"/>
                <a:gd name="connsiteY8" fmla="*/ 64294 h 80963"/>
                <a:gd name="connsiteX9" fmla="*/ 69056 w 164306"/>
                <a:gd name="connsiteY9" fmla="*/ 80963 h 80963"/>
                <a:gd name="connsiteX10" fmla="*/ 104775 w 164306"/>
                <a:gd name="connsiteY10" fmla="*/ 57150 h 80963"/>
                <a:gd name="connsiteX11" fmla="*/ 164306 w 164306"/>
                <a:gd name="connsiteY11" fmla="*/ 30957 h 80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306" h="80963">
                  <a:moveTo>
                    <a:pt x="164306" y="30957"/>
                  </a:moveTo>
                  <a:lnTo>
                    <a:pt x="114300" y="0"/>
                  </a:lnTo>
                  <a:lnTo>
                    <a:pt x="95250" y="14288"/>
                  </a:lnTo>
                  <a:lnTo>
                    <a:pt x="61912" y="14288"/>
                  </a:lnTo>
                  <a:lnTo>
                    <a:pt x="38100" y="11907"/>
                  </a:lnTo>
                  <a:lnTo>
                    <a:pt x="26194" y="47625"/>
                  </a:lnTo>
                  <a:lnTo>
                    <a:pt x="0" y="66675"/>
                  </a:lnTo>
                  <a:lnTo>
                    <a:pt x="33337" y="64294"/>
                  </a:lnTo>
                  <a:lnTo>
                    <a:pt x="33337" y="64294"/>
                  </a:lnTo>
                  <a:lnTo>
                    <a:pt x="69056" y="80963"/>
                  </a:lnTo>
                  <a:lnTo>
                    <a:pt x="104775" y="57150"/>
                  </a:lnTo>
                  <a:lnTo>
                    <a:pt x="164306" y="3095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0" name="Freeform: Shape 77"/>
            <p:cNvSpPr/>
            <p:nvPr/>
          </p:nvSpPr>
          <p:spPr bwMode="auto">
            <a:xfrm>
              <a:off x="2112169" y="4324350"/>
              <a:ext cx="97631" cy="100013"/>
            </a:xfrm>
            <a:custGeom>
              <a:avLst/>
              <a:gdLst>
                <a:gd name="connsiteX0" fmla="*/ 97631 w 97631"/>
                <a:gd name="connsiteY0" fmla="*/ 92869 h 92869"/>
                <a:gd name="connsiteX1" fmla="*/ 97631 w 97631"/>
                <a:gd name="connsiteY1" fmla="*/ 0 h 92869"/>
                <a:gd name="connsiteX2" fmla="*/ 64294 w 97631"/>
                <a:gd name="connsiteY2" fmla="*/ 14288 h 92869"/>
                <a:gd name="connsiteX3" fmla="*/ 0 w 97631"/>
                <a:gd name="connsiteY3" fmla="*/ 47625 h 92869"/>
                <a:gd name="connsiteX4" fmla="*/ 97631 w 97631"/>
                <a:gd name="connsiteY4" fmla="*/ 92869 h 92869"/>
                <a:gd name="connsiteX0" fmla="*/ 97631 w 97631"/>
                <a:gd name="connsiteY0" fmla="*/ 92869 h 92869"/>
                <a:gd name="connsiteX1" fmla="*/ 97631 w 97631"/>
                <a:gd name="connsiteY1" fmla="*/ 0 h 92869"/>
                <a:gd name="connsiteX2" fmla="*/ 64294 w 97631"/>
                <a:gd name="connsiteY2" fmla="*/ 14288 h 92869"/>
                <a:gd name="connsiteX3" fmla="*/ 0 w 97631"/>
                <a:gd name="connsiteY3" fmla="*/ 47625 h 92869"/>
                <a:gd name="connsiteX4" fmla="*/ 50006 w 97631"/>
                <a:gd name="connsiteY4" fmla="*/ 71438 h 92869"/>
                <a:gd name="connsiteX5" fmla="*/ 97631 w 97631"/>
                <a:gd name="connsiteY5" fmla="*/ 92869 h 92869"/>
                <a:gd name="connsiteX0" fmla="*/ 97631 w 97631"/>
                <a:gd name="connsiteY0" fmla="*/ 92869 h 100013"/>
                <a:gd name="connsiteX1" fmla="*/ 97631 w 97631"/>
                <a:gd name="connsiteY1" fmla="*/ 0 h 100013"/>
                <a:gd name="connsiteX2" fmla="*/ 64294 w 97631"/>
                <a:gd name="connsiteY2" fmla="*/ 14288 h 100013"/>
                <a:gd name="connsiteX3" fmla="*/ 0 w 97631"/>
                <a:gd name="connsiteY3" fmla="*/ 47625 h 100013"/>
                <a:gd name="connsiteX4" fmla="*/ 45243 w 97631"/>
                <a:gd name="connsiteY4" fmla="*/ 100013 h 100013"/>
                <a:gd name="connsiteX5" fmla="*/ 97631 w 97631"/>
                <a:gd name="connsiteY5" fmla="*/ 92869 h 10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631" h="100013">
                  <a:moveTo>
                    <a:pt x="97631" y="92869"/>
                  </a:moveTo>
                  <a:lnTo>
                    <a:pt x="97631" y="0"/>
                  </a:lnTo>
                  <a:lnTo>
                    <a:pt x="64294" y="14288"/>
                  </a:lnTo>
                  <a:lnTo>
                    <a:pt x="0" y="47625"/>
                  </a:lnTo>
                  <a:lnTo>
                    <a:pt x="45243" y="100013"/>
                  </a:lnTo>
                  <a:lnTo>
                    <a:pt x="97631" y="9286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1" name="Freeform: Shape 78"/>
            <p:cNvSpPr/>
            <p:nvPr/>
          </p:nvSpPr>
          <p:spPr bwMode="auto">
            <a:xfrm>
              <a:off x="2159794" y="4417220"/>
              <a:ext cx="83344" cy="69056"/>
            </a:xfrm>
            <a:custGeom>
              <a:avLst/>
              <a:gdLst>
                <a:gd name="connsiteX0" fmla="*/ 83344 w 83344"/>
                <a:gd name="connsiteY0" fmla="*/ 35719 h 47625"/>
                <a:gd name="connsiteX1" fmla="*/ 45244 w 83344"/>
                <a:gd name="connsiteY1" fmla="*/ 0 h 47625"/>
                <a:gd name="connsiteX2" fmla="*/ 7144 w 83344"/>
                <a:gd name="connsiteY2" fmla="*/ 7144 h 47625"/>
                <a:gd name="connsiteX3" fmla="*/ 0 w 83344"/>
                <a:gd name="connsiteY3" fmla="*/ 21431 h 47625"/>
                <a:gd name="connsiteX4" fmla="*/ 30956 w 83344"/>
                <a:gd name="connsiteY4" fmla="*/ 47625 h 47625"/>
                <a:gd name="connsiteX5" fmla="*/ 83344 w 83344"/>
                <a:gd name="connsiteY5" fmla="*/ 35719 h 47625"/>
                <a:gd name="connsiteX0" fmla="*/ 83344 w 83344"/>
                <a:gd name="connsiteY0" fmla="*/ 35719 h 47625"/>
                <a:gd name="connsiteX1" fmla="*/ 45244 w 83344"/>
                <a:gd name="connsiteY1" fmla="*/ 0 h 47625"/>
                <a:gd name="connsiteX2" fmla="*/ 7144 w 83344"/>
                <a:gd name="connsiteY2" fmla="*/ 7144 h 47625"/>
                <a:gd name="connsiteX3" fmla="*/ 0 w 83344"/>
                <a:gd name="connsiteY3" fmla="*/ 21431 h 47625"/>
                <a:gd name="connsiteX4" fmla="*/ 30956 w 83344"/>
                <a:gd name="connsiteY4" fmla="*/ 47625 h 47625"/>
                <a:gd name="connsiteX5" fmla="*/ 54769 w 83344"/>
                <a:gd name="connsiteY5" fmla="*/ 40481 h 47625"/>
                <a:gd name="connsiteX6" fmla="*/ 83344 w 83344"/>
                <a:gd name="connsiteY6" fmla="*/ 35719 h 47625"/>
                <a:gd name="connsiteX0" fmla="*/ 83344 w 83344"/>
                <a:gd name="connsiteY0" fmla="*/ 35719 h 69056"/>
                <a:gd name="connsiteX1" fmla="*/ 45244 w 83344"/>
                <a:gd name="connsiteY1" fmla="*/ 0 h 69056"/>
                <a:gd name="connsiteX2" fmla="*/ 7144 w 83344"/>
                <a:gd name="connsiteY2" fmla="*/ 7144 h 69056"/>
                <a:gd name="connsiteX3" fmla="*/ 0 w 83344"/>
                <a:gd name="connsiteY3" fmla="*/ 21431 h 69056"/>
                <a:gd name="connsiteX4" fmla="*/ 30956 w 83344"/>
                <a:gd name="connsiteY4" fmla="*/ 47625 h 69056"/>
                <a:gd name="connsiteX5" fmla="*/ 64294 w 83344"/>
                <a:gd name="connsiteY5" fmla="*/ 69056 h 69056"/>
                <a:gd name="connsiteX6" fmla="*/ 83344 w 83344"/>
                <a:gd name="connsiteY6" fmla="*/ 35719 h 6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44" h="69056">
                  <a:moveTo>
                    <a:pt x="83344" y="35719"/>
                  </a:moveTo>
                  <a:lnTo>
                    <a:pt x="45244" y="0"/>
                  </a:lnTo>
                  <a:lnTo>
                    <a:pt x="7144" y="7144"/>
                  </a:lnTo>
                  <a:lnTo>
                    <a:pt x="0" y="21431"/>
                  </a:lnTo>
                  <a:lnTo>
                    <a:pt x="30956" y="47625"/>
                  </a:lnTo>
                  <a:lnTo>
                    <a:pt x="64294" y="69056"/>
                  </a:lnTo>
                  <a:lnTo>
                    <a:pt x="83344" y="357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2" name="Freeform: Shape 79"/>
            <p:cNvSpPr/>
            <p:nvPr/>
          </p:nvSpPr>
          <p:spPr bwMode="auto">
            <a:xfrm>
              <a:off x="2333625" y="4393406"/>
              <a:ext cx="295275" cy="409575"/>
            </a:xfrm>
            <a:custGeom>
              <a:avLst/>
              <a:gdLst>
                <a:gd name="connsiteX0" fmla="*/ 23813 w 295275"/>
                <a:gd name="connsiteY0" fmla="*/ 102394 h 409575"/>
                <a:gd name="connsiteX1" fmla="*/ 42863 w 295275"/>
                <a:gd name="connsiteY1" fmla="*/ 185738 h 409575"/>
                <a:gd name="connsiteX2" fmla="*/ 38100 w 295275"/>
                <a:gd name="connsiteY2" fmla="*/ 228600 h 409575"/>
                <a:gd name="connsiteX3" fmla="*/ 0 w 295275"/>
                <a:gd name="connsiteY3" fmla="*/ 266700 h 409575"/>
                <a:gd name="connsiteX4" fmla="*/ 52388 w 295275"/>
                <a:gd name="connsiteY4" fmla="*/ 300038 h 409575"/>
                <a:gd name="connsiteX5" fmla="*/ 64294 w 295275"/>
                <a:gd name="connsiteY5" fmla="*/ 285750 h 409575"/>
                <a:gd name="connsiteX6" fmla="*/ 90488 w 295275"/>
                <a:gd name="connsiteY6" fmla="*/ 311944 h 409575"/>
                <a:gd name="connsiteX7" fmla="*/ 109538 w 295275"/>
                <a:gd name="connsiteY7" fmla="*/ 316707 h 409575"/>
                <a:gd name="connsiteX8" fmla="*/ 147638 w 295275"/>
                <a:gd name="connsiteY8" fmla="*/ 364332 h 409575"/>
                <a:gd name="connsiteX9" fmla="*/ 183356 w 295275"/>
                <a:gd name="connsiteY9" fmla="*/ 359569 h 409575"/>
                <a:gd name="connsiteX10" fmla="*/ 207169 w 295275"/>
                <a:gd name="connsiteY10" fmla="*/ 369094 h 409575"/>
                <a:gd name="connsiteX11" fmla="*/ 211931 w 295275"/>
                <a:gd name="connsiteY11" fmla="*/ 409575 h 409575"/>
                <a:gd name="connsiteX12" fmla="*/ 223838 w 295275"/>
                <a:gd name="connsiteY12" fmla="*/ 390525 h 409575"/>
                <a:gd name="connsiteX13" fmla="*/ 226219 w 295275"/>
                <a:gd name="connsiteY13" fmla="*/ 316707 h 409575"/>
                <a:gd name="connsiteX14" fmla="*/ 214313 w 295275"/>
                <a:gd name="connsiteY14" fmla="*/ 302419 h 409575"/>
                <a:gd name="connsiteX15" fmla="*/ 226219 w 295275"/>
                <a:gd name="connsiteY15" fmla="*/ 285750 h 409575"/>
                <a:gd name="connsiteX16" fmla="*/ 214313 w 295275"/>
                <a:gd name="connsiteY16" fmla="*/ 261938 h 409575"/>
                <a:gd name="connsiteX17" fmla="*/ 254794 w 295275"/>
                <a:gd name="connsiteY17" fmla="*/ 259557 h 409575"/>
                <a:gd name="connsiteX18" fmla="*/ 269081 w 295275"/>
                <a:gd name="connsiteY18" fmla="*/ 250032 h 409575"/>
                <a:gd name="connsiteX19" fmla="*/ 295275 w 295275"/>
                <a:gd name="connsiteY19" fmla="*/ 280988 h 409575"/>
                <a:gd name="connsiteX20" fmla="*/ 280988 w 295275"/>
                <a:gd name="connsiteY20" fmla="*/ 235744 h 409575"/>
                <a:gd name="connsiteX21" fmla="*/ 280988 w 295275"/>
                <a:gd name="connsiteY21" fmla="*/ 211932 h 409575"/>
                <a:gd name="connsiteX22" fmla="*/ 269081 w 295275"/>
                <a:gd name="connsiteY22" fmla="*/ 185738 h 409575"/>
                <a:gd name="connsiteX23" fmla="*/ 269081 w 295275"/>
                <a:gd name="connsiteY23" fmla="*/ 147638 h 409575"/>
                <a:gd name="connsiteX24" fmla="*/ 240506 w 295275"/>
                <a:gd name="connsiteY24" fmla="*/ 154782 h 409575"/>
                <a:gd name="connsiteX25" fmla="*/ 211931 w 295275"/>
                <a:gd name="connsiteY25" fmla="*/ 130969 h 409575"/>
                <a:gd name="connsiteX26" fmla="*/ 183356 w 295275"/>
                <a:gd name="connsiteY26" fmla="*/ 121444 h 409575"/>
                <a:gd name="connsiteX27" fmla="*/ 161925 w 295275"/>
                <a:gd name="connsiteY27" fmla="*/ 128588 h 409575"/>
                <a:gd name="connsiteX28" fmla="*/ 157163 w 295275"/>
                <a:gd name="connsiteY28" fmla="*/ 97632 h 409575"/>
                <a:gd name="connsiteX29" fmla="*/ 138113 w 295275"/>
                <a:gd name="connsiteY29" fmla="*/ 73819 h 409575"/>
                <a:gd name="connsiteX30" fmla="*/ 157163 w 295275"/>
                <a:gd name="connsiteY30" fmla="*/ 35719 h 409575"/>
                <a:gd name="connsiteX31" fmla="*/ 180975 w 295275"/>
                <a:gd name="connsiteY31" fmla="*/ 0 h 409575"/>
                <a:gd name="connsiteX32" fmla="*/ 135731 w 295275"/>
                <a:gd name="connsiteY32" fmla="*/ 23813 h 409575"/>
                <a:gd name="connsiteX33" fmla="*/ 109538 w 295275"/>
                <a:gd name="connsiteY33" fmla="*/ 33338 h 409575"/>
                <a:gd name="connsiteX34" fmla="*/ 85725 w 295275"/>
                <a:gd name="connsiteY34" fmla="*/ 40482 h 409575"/>
                <a:gd name="connsiteX35" fmla="*/ 83344 w 295275"/>
                <a:gd name="connsiteY35" fmla="*/ 69057 h 409575"/>
                <a:gd name="connsiteX36" fmla="*/ 23813 w 295275"/>
                <a:gd name="connsiteY36" fmla="*/ 102394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95275" h="409575">
                  <a:moveTo>
                    <a:pt x="23813" y="102394"/>
                  </a:moveTo>
                  <a:lnTo>
                    <a:pt x="42863" y="185738"/>
                  </a:lnTo>
                  <a:lnTo>
                    <a:pt x="38100" y="228600"/>
                  </a:lnTo>
                  <a:lnTo>
                    <a:pt x="0" y="266700"/>
                  </a:lnTo>
                  <a:lnTo>
                    <a:pt x="52388" y="300038"/>
                  </a:lnTo>
                  <a:lnTo>
                    <a:pt x="64294" y="285750"/>
                  </a:lnTo>
                  <a:lnTo>
                    <a:pt x="90488" y="311944"/>
                  </a:lnTo>
                  <a:lnTo>
                    <a:pt x="109538" y="316707"/>
                  </a:lnTo>
                  <a:lnTo>
                    <a:pt x="147638" y="364332"/>
                  </a:lnTo>
                  <a:lnTo>
                    <a:pt x="183356" y="359569"/>
                  </a:lnTo>
                  <a:lnTo>
                    <a:pt x="207169" y="369094"/>
                  </a:lnTo>
                  <a:lnTo>
                    <a:pt x="211931" y="409575"/>
                  </a:lnTo>
                  <a:lnTo>
                    <a:pt x="223838" y="390525"/>
                  </a:lnTo>
                  <a:cubicBezTo>
                    <a:pt x="224632" y="365919"/>
                    <a:pt x="225425" y="341313"/>
                    <a:pt x="226219" y="316707"/>
                  </a:cubicBezTo>
                  <a:lnTo>
                    <a:pt x="214313" y="302419"/>
                  </a:lnTo>
                  <a:lnTo>
                    <a:pt x="226219" y="285750"/>
                  </a:lnTo>
                  <a:lnTo>
                    <a:pt x="214313" y="261938"/>
                  </a:lnTo>
                  <a:lnTo>
                    <a:pt x="254794" y="259557"/>
                  </a:lnTo>
                  <a:lnTo>
                    <a:pt x="269081" y="250032"/>
                  </a:lnTo>
                  <a:lnTo>
                    <a:pt x="295275" y="280988"/>
                  </a:lnTo>
                  <a:lnTo>
                    <a:pt x="280988" y="235744"/>
                  </a:lnTo>
                  <a:lnTo>
                    <a:pt x="280988" y="211932"/>
                  </a:lnTo>
                  <a:lnTo>
                    <a:pt x="269081" y="185738"/>
                  </a:lnTo>
                  <a:lnTo>
                    <a:pt x="269081" y="147638"/>
                  </a:lnTo>
                  <a:lnTo>
                    <a:pt x="240506" y="154782"/>
                  </a:lnTo>
                  <a:lnTo>
                    <a:pt x="211931" y="130969"/>
                  </a:lnTo>
                  <a:lnTo>
                    <a:pt x="183356" y="121444"/>
                  </a:lnTo>
                  <a:lnTo>
                    <a:pt x="161925" y="128588"/>
                  </a:lnTo>
                  <a:lnTo>
                    <a:pt x="157163" y="97632"/>
                  </a:lnTo>
                  <a:lnTo>
                    <a:pt x="138113" y="73819"/>
                  </a:lnTo>
                  <a:lnTo>
                    <a:pt x="157163" y="35719"/>
                  </a:lnTo>
                  <a:lnTo>
                    <a:pt x="180975" y="0"/>
                  </a:lnTo>
                  <a:lnTo>
                    <a:pt x="135731" y="23813"/>
                  </a:lnTo>
                  <a:lnTo>
                    <a:pt x="109538" y="33338"/>
                  </a:lnTo>
                  <a:lnTo>
                    <a:pt x="85725" y="40482"/>
                  </a:lnTo>
                  <a:lnTo>
                    <a:pt x="83344" y="69057"/>
                  </a:lnTo>
                  <a:lnTo>
                    <a:pt x="23813" y="10239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3" name="Freeform: Shape 80"/>
            <p:cNvSpPr/>
            <p:nvPr/>
          </p:nvSpPr>
          <p:spPr bwMode="auto">
            <a:xfrm>
              <a:off x="2471738" y="4414838"/>
              <a:ext cx="316706" cy="266699"/>
            </a:xfrm>
            <a:custGeom>
              <a:avLst/>
              <a:gdLst>
                <a:gd name="connsiteX0" fmla="*/ 150018 w 316706"/>
                <a:gd name="connsiteY0" fmla="*/ 245268 h 254793"/>
                <a:gd name="connsiteX1" fmla="*/ 207168 w 316706"/>
                <a:gd name="connsiteY1" fmla="*/ 254793 h 254793"/>
                <a:gd name="connsiteX2" fmla="*/ 226218 w 316706"/>
                <a:gd name="connsiteY2" fmla="*/ 230981 h 254793"/>
                <a:gd name="connsiteX3" fmla="*/ 216693 w 316706"/>
                <a:gd name="connsiteY3" fmla="*/ 195262 h 254793"/>
                <a:gd name="connsiteX4" fmla="*/ 211931 w 316706"/>
                <a:gd name="connsiteY4" fmla="*/ 173831 h 254793"/>
                <a:gd name="connsiteX5" fmla="*/ 240506 w 316706"/>
                <a:gd name="connsiteY5" fmla="*/ 185737 h 254793"/>
                <a:gd name="connsiteX6" fmla="*/ 290512 w 316706"/>
                <a:gd name="connsiteY6" fmla="*/ 173831 h 254793"/>
                <a:gd name="connsiteX7" fmla="*/ 304800 w 316706"/>
                <a:gd name="connsiteY7" fmla="*/ 147637 h 254793"/>
                <a:gd name="connsiteX8" fmla="*/ 295275 w 316706"/>
                <a:gd name="connsiteY8" fmla="*/ 135731 h 254793"/>
                <a:gd name="connsiteX9" fmla="*/ 307181 w 316706"/>
                <a:gd name="connsiteY9" fmla="*/ 109537 h 254793"/>
                <a:gd name="connsiteX10" fmla="*/ 309562 w 316706"/>
                <a:gd name="connsiteY10" fmla="*/ 88106 h 254793"/>
                <a:gd name="connsiteX11" fmla="*/ 316706 w 316706"/>
                <a:gd name="connsiteY11" fmla="*/ 73818 h 254793"/>
                <a:gd name="connsiteX12" fmla="*/ 309562 w 316706"/>
                <a:gd name="connsiteY12" fmla="*/ 69056 h 254793"/>
                <a:gd name="connsiteX13" fmla="*/ 290512 w 316706"/>
                <a:gd name="connsiteY13" fmla="*/ 45243 h 254793"/>
                <a:gd name="connsiteX14" fmla="*/ 261937 w 316706"/>
                <a:gd name="connsiteY14" fmla="*/ 45243 h 254793"/>
                <a:gd name="connsiteX15" fmla="*/ 250031 w 316706"/>
                <a:gd name="connsiteY15" fmla="*/ 9525 h 254793"/>
                <a:gd name="connsiteX16" fmla="*/ 207168 w 316706"/>
                <a:gd name="connsiteY16" fmla="*/ 26193 h 254793"/>
                <a:gd name="connsiteX17" fmla="*/ 190500 w 316706"/>
                <a:gd name="connsiteY17" fmla="*/ 35718 h 254793"/>
                <a:gd name="connsiteX18" fmla="*/ 152400 w 316706"/>
                <a:gd name="connsiteY18" fmla="*/ 19050 h 254793"/>
                <a:gd name="connsiteX19" fmla="*/ 123825 w 316706"/>
                <a:gd name="connsiteY19" fmla="*/ 19050 h 254793"/>
                <a:gd name="connsiteX20" fmla="*/ 100012 w 316706"/>
                <a:gd name="connsiteY20" fmla="*/ 0 h 254793"/>
                <a:gd name="connsiteX21" fmla="*/ 76200 w 316706"/>
                <a:gd name="connsiteY21" fmla="*/ 2381 h 254793"/>
                <a:gd name="connsiteX22" fmla="*/ 30956 w 316706"/>
                <a:gd name="connsiteY22" fmla="*/ 16668 h 254793"/>
                <a:gd name="connsiteX23" fmla="*/ 61912 w 316706"/>
                <a:gd name="connsiteY23" fmla="*/ 38100 h 254793"/>
                <a:gd name="connsiteX24" fmla="*/ 54768 w 316706"/>
                <a:gd name="connsiteY24" fmla="*/ 54768 h 254793"/>
                <a:gd name="connsiteX25" fmla="*/ 26193 w 316706"/>
                <a:gd name="connsiteY25" fmla="*/ 52387 h 254793"/>
                <a:gd name="connsiteX26" fmla="*/ 19050 w 316706"/>
                <a:gd name="connsiteY26" fmla="*/ 33337 h 254793"/>
                <a:gd name="connsiteX27" fmla="*/ 26193 w 316706"/>
                <a:gd name="connsiteY27" fmla="*/ 2381 h 254793"/>
                <a:gd name="connsiteX28" fmla="*/ 0 w 316706"/>
                <a:gd name="connsiteY28" fmla="*/ 50006 h 254793"/>
                <a:gd name="connsiteX29" fmla="*/ 14287 w 316706"/>
                <a:gd name="connsiteY29" fmla="*/ 73818 h 254793"/>
                <a:gd name="connsiteX30" fmla="*/ 21431 w 316706"/>
                <a:gd name="connsiteY30" fmla="*/ 104775 h 254793"/>
                <a:gd name="connsiteX31" fmla="*/ 40481 w 316706"/>
                <a:gd name="connsiteY31" fmla="*/ 102393 h 254793"/>
                <a:gd name="connsiteX32" fmla="*/ 76200 w 316706"/>
                <a:gd name="connsiteY32" fmla="*/ 109537 h 254793"/>
                <a:gd name="connsiteX33" fmla="*/ 100012 w 316706"/>
                <a:gd name="connsiteY33" fmla="*/ 130968 h 254793"/>
                <a:gd name="connsiteX34" fmla="*/ 126206 w 316706"/>
                <a:gd name="connsiteY34" fmla="*/ 126206 h 254793"/>
                <a:gd name="connsiteX35" fmla="*/ 135731 w 316706"/>
                <a:gd name="connsiteY35" fmla="*/ 166687 h 254793"/>
                <a:gd name="connsiteX36" fmla="*/ 142875 w 316706"/>
                <a:gd name="connsiteY36" fmla="*/ 192881 h 254793"/>
                <a:gd name="connsiteX37" fmla="*/ 150018 w 316706"/>
                <a:gd name="connsiteY37" fmla="*/ 245268 h 254793"/>
                <a:gd name="connsiteX0" fmla="*/ 150019 w 316707"/>
                <a:gd name="connsiteY0" fmla="*/ 278606 h 288131"/>
                <a:gd name="connsiteX1" fmla="*/ 207169 w 316707"/>
                <a:gd name="connsiteY1" fmla="*/ 288131 h 288131"/>
                <a:gd name="connsiteX2" fmla="*/ 226219 w 316707"/>
                <a:gd name="connsiteY2" fmla="*/ 264319 h 288131"/>
                <a:gd name="connsiteX3" fmla="*/ 216694 w 316707"/>
                <a:gd name="connsiteY3" fmla="*/ 228600 h 288131"/>
                <a:gd name="connsiteX4" fmla="*/ 211932 w 316707"/>
                <a:gd name="connsiteY4" fmla="*/ 207169 h 288131"/>
                <a:gd name="connsiteX5" fmla="*/ 240507 w 316707"/>
                <a:gd name="connsiteY5" fmla="*/ 219075 h 288131"/>
                <a:gd name="connsiteX6" fmla="*/ 290513 w 316707"/>
                <a:gd name="connsiteY6" fmla="*/ 207169 h 288131"/>
                <a:gd name="connsiteX7" fmla="*/ 304801 w 316707"/>
                <a:gd name="connsiteY7" fmla="*/ 180975 h 288131"/>
                <a:gd name="connsiteX8" fmla="*/ 295276 w 316707"/>
                <a:gd name="connsiteY8" fmla="*/ 169069 h 288131"/>
                <a:gd name="connsiteX9" fmla="*/ 307182 w 316707"/>
                <a:gd name="connsiteY9" fmla="*/ 142875 h 288131"/>
                <a:gd name="connsiteX10" fmla="*/ 309563 w 316707"/>
                <a:gd name="connsiteY10" fmla="*/ 121444 h 288131"/>
                <a:gd name="connsiteX11" fmla="*/ 316707 w 316707"/>
                <a:gd name="connsiteY11" fmla="*/ 107156 h 288131"/>
                <a:gd name="connsiteX12" fmla="*/ 309563 w 316707"/>
                <a:gd name="connsiteY12" fmla="*/ 102394 h 288131"/>
                <a:gd name="connsiteX13" fmla="*/ 290513 w 316707"/>
                <a:gd name="connsiteY13" fmla="*/ 78581 h 288131"/>
                <a:gd name="connsiteX14" fmla="*/ 261938 w 316707"/>
                <a:gd name="connsiteY14" fmla="*/ 78581 h 288131"/>
                <a:gd name="connsiteX15" fmla="*/ 250032 w 316707"/>
                <a:gd name="connsiteY15" fmla="*/ 42863 h 288131"/>
                <a:gd name="connsiteX16" fmla="*/ 207169 w 316707"/>
                <a:gd name="connsiteY16" fmla="*/ 59531 h 288131"/>
                <a:gd name="connsiteX17" fmla="*/ 190501 w 316707"/>
                <a:gd name="connsiteY17" fmla="*/ 69056 h 288131"/>
                <a:gd name="connsiteX18" fmla="*/ 152401 w 316707"/>
                <a:gd name="connsiteY18" fmla="*/ 52388 h 288131"/>
                <a:gd name="connsiteX19" fmla="*/ 123826 w 316707"/>
                <a:gd name="connsiteY19" fmla="*/ 52388 h 288131"/>
                <a:gd name="connsiteX20" fmla="*/ 100013 w 316707"/>
                <a:gd name="connsiteY20" fmla="*/ 33338 h 288131"/>
                <a:gd name="connsiteX21" fmla="*/ 76201 w 316707"/>
                <a:gd name="connsiteY21" fmla="*/ 35719 h 288131"/>
                <a:gd name="connsiteX22" fmla="*/ 30957 w 316707"/>
                <a:gd name="connsiteY22" fmla="*/ 50006 h 288131"/>
                <a:gd name="connsiteX23" fmla="*/ 61913 w 316707"/>
                <a:gd name="connsiteY23" fmla="*/ 71438 h 288131"/>
                <a:gd name="connsiteX24" fmla="*/ 54769 w 316707"/>
                <a:gd name="connsiteY24" fmla="*/ 88106 h 288131"/>
                <a:gd name="connsiteX25" fmla="*/ 26194 w 316707"/>
                <a:gd name="connsiteY25" fmla="*/ 85725 h 288131"/>
                <a:gd name="connsiteX26" fmla="*/ 19051 w 316707"/>
                <a:gd name="connsiteY26" fmla="*/ 66675 h 288131"/>
                <a:gd name="connsiteX27" fmla="*/ 0 w 316707"/>
                <a:gd name="connsiteY27" fmla="*/ 0 h 288131"/>
                <a:gd name="connsiteX28" fmla="*/ 1 w 316707"/>
                <a:gd name="connsiteY28" fmla="*/ 83344 h 288131"/>
                <a:gd name="connsiteX29" fmla="*/ 14288 w 316707"/>
                <a:gd name="connsiteY29" fmla="*/ 107156 h 288131"/>
                <a:gd name="connsiteX30" fmla="*/ 21432 w 316707"/>
                <a:gd name="connsiteY30" fmla="*/ 138113 h 288131"/>
                <a:gd name="connsiteX31" fmla="*/ 40482 w 316707"/>
                <a:gd name="connsiteY31" fmla="*/ 135731 h 288131"/>
                <a:gd name="connsiteX32" fmla="*/ 76201 w 316707"/>
                <a:gd name="connsiteY32" fmla="*/ 142875 h 288131"/>
                <a:gd name="connsiteX33" fmla="*/ 100013 w 316707"/>
                <a:gd name="connsiteY33" fmla="*/ 164306 h 288131"/>
                <a:gd name="connsiteX34" fmla="*/ 126207 w 316707"/>
                <a:gd name="connsiteY34" fmla="*/ 159544 h 288131"/>
                <a:gd name="connsiteX35" fmla="*/ 135732 w 316707"/>
                <a:gd name="connsiteY35" fmla="*/ 200025 h 288131"/>
                <a:gd name="connsiteX36" fmla="*/ 142876 w 316707"/>
                <a:gd name="connsiteY36" fmla="*/ 226219 h 288131"/>
                <a:gd name="connsiteX37" fmla="*/ 150019 w 316707"/>
                <a:gd name="connsiteY37" fmla="*/ 278606 h 288131"/>
                <a:gd name="connsiteX0" fmla="*/ 150019 w 316707"/>
                <a:gd name="connsiteY0" fmla="*/ 278606 h 288131"/>
                <a:gd name="connsiteX1" fmla="*/ 207169 w 316707"/>
                <a:gd name="connsiteY1" fmla="*/ 288131 h 288131"/>
                <a:gd name="connsiteX2" fmla="*/ 226219 w 316707"/>
                <a:gd name="connsiteY2" fmla="*/ 264319 h 288131"/>
                <a:gd name="connsiteX3" fmla="*/ 216694 w 316707"/>
                <a:gd name="connsiteY3" fmla="*/ 228600 h 288131"/>
                <a:gd name="connsiteX4" fmla="*/ 211932 w 316707"/>
                <a:gd name="connsiteY4" fmla="*/ 207169 h 288131"/>
                <a:gd name="connsiteX5" fmla="*/ 240507 w 316707"/>
                <a:gd name="connsiteY5" fmla="*/ 219075 h 288131"/>
                <a:gd name="connsiteX6" fmla="*/ 290513 w 316707"/>
                <a:gd name="connsiteY6" fmla="*/ 207169 h 288131"/>
                <a:gd name="connsiteX7" fmla="*/ 304801 w 316707"/>
                <a:gd name="connsiteY7" fmla="*/ 180975 h 288131"/>
                <a:gd name="connsiteX8" fmla="*/ 295276 w 316707"/>
                <a:gd name="connsiteY8" fmla="*/ 169069 h 288131"/>
                <a:gd name="connsiteX9" fmla="*/ 307182 w 316707"/>
                <a:gd name="connsiteY9" fmla="*/ 142875 h 288131"/>
                <a:gd name="connsiteX10" fmla="*/ 309563 w 316707"/>
                <a:gd name="connsiteY10" fmla="*/ 121444 h 288131"/>
                <a:gd name="connsiteX11" fmla="*/ 316707 w 316707"/>
                <a:gd name="connsiteY11" fmla="*/ 107156 h 288131"/>
                <a:gd name="connsiteX12" fmla="*/ 309563 w 316707"/>
                <a:gd name="connsiteY12" fmla="*/ 102394 h 288131"/>
                <a:gd name="connsiteX13" fmla="*/ 290513 w 316707"/>
                <a:gd name="connsiteY13" fmla="*/ 78581 h 288131"/>
                <a:gd name="connsiteX14" fmla="*/ 261938 w 316707"/>
                <a:gd name="connsiteY14" fmla="*/ 78581 h 288131"/>
                <a:gd name="connsiteX15" fmla="*/ 250032 w 316707"/>
                <a:gd name="connsiteY15" fmla="*/ 42863 h 288131"/>
                <a:gd name="connsiteX16" fmla="*/ 207169 w 316707"/>
                <a:gd name="connsiteY16" fmla="*/ 59531 h 288131"/>
                <a:gd name="connsiteX17" fmla="*/ 190501 w 316707"/>
                <a:gd name="connsiteY17" fmla="*/ 69056 h 288131"/>
                <a:gd name="connsiteX18" fmla="*/ 152401 w 316707"/>
                <a:gd name="connsiteY18" fmla="*/ 52388 h 288131"/>
                <a:gd name="connsiteX19" fmla="*/ 123826 w 316707"/>
                <a:gd name="connsiteY19" fmla="*/ 52388 h 288131"/>
                <a:gd name="connsiteX20" fmla="*/ 100013 w 316707"/>
                <a:gd name="connsiteY20" fmla="*/ 33338 h 288131"/>
                <a:gd name="connsiteX21" fmla="*/ 76201 w 316707"/>
                <a:gd name="connsiteY21" fmla="*/ 35719 h 288131"/>
                <a:gd name="connsiteX22" fmla="*/ 47626 w 316707"/>
                <a:gd name="connsiteY22" fmla="*/ 50006 h 288131"/>
                <a:gd name="connsiteX23" fmla="*/ 61913 w 316707"/>
                <a:gd name="connsiteY23" fmla="*/ 71438 h 288131"/>
                <a:gd name="connsiteX24" fmla="*/ 54769 w 316707"/>
                <a:gd name="connsiteY24" fmla="*/ 88106 h 288131"/>
                <a:gd name="connsiteX25" fmla="*/ 26194 w 316707"/>
                <a:gd name="connsiteY25" fmla="*/ 85725 h 288131"/>
                <a:gd name="connsiteX26" fmla="*/ 19051 w 316707"/>
                <a:gd name="connsiteY26" fmla="*/ 66675 h 288131"/>
                <a:gd name="connsiteX27" fmla="*/ 0 w 316707"/>
                <a:gd name="connsiteY27" fmla="*/ 0 h 288131"/>
                <a:gd name="connsiteX28" fmla="*/ 1 w 316707"/>
                <a:gd name="connsiteY28" fmla="*/ 83344 h 288131"/>
                <a:gd name="connsiteX29" fmla="*/ 14288 w 316707"/>
                <a:gd name="connsiteY29" fmla="*/ 107156 h 288131"/>
                <a:gd name="connsiteX30" fmla="*/ 21432 w 316707"/>
                <a:gd name="connsiteY30" fmla="*/ 138113 h 288131"/>
                <a:gd name="connsiteX31" fmla="*/ 40482 w 316707"/>
                <a:gd name="connsiteY31" fmla="*/ 135731 h 288131"/>
                <a:gd name="connsiteX32" fmla="*/ 76201 w 316707"/>
                <a:gd name="connsiteY32" fmla="*/ 142875 h 288131"/>
                <a:gd name="connsiteX33" fmla="*/ 100013 w 316707"/>
                <a:gd name="connsiteY33" fmla="*/ 164306 h 288131"/>
                <a:gd name="connsiteX34" fmla="*/ 126207 w 316707"/>
                <a:gd name="connsiteY34" fmla="*/ 159544 h 288131"/>
                <a:gd name="connsiteX35" fmla="*/ 135732 w 316707"/>
                <a:gd name="connsiteY35" fmla="*/ 200025 h 288131"/>
                <a:gd name="connsiteX36" fmla="*/ 142876 w 316707"/>
                <a:gd name="connsiteY36" fmla="*/ 226219 h 288131"/>
                <a:gd name="connsiteX37" fmla="*/ 150019 w 316707"/>
                <a:gd name="connsiteY37" fmla="*/ 278606 h 288131"/>
                <a:gd name="connsiteX0" fmla="*/ 150018 w 316706"/>
                <a:gd name="connsiteY0" fmla="*/ 245268 h 254793"/>
                <a:gd name="connsiteX1" fmla="*/ 207168 w 316706"/>
                <a:gd name="connsiteY1" fmla="*/ 254793 h 254793"/>
                <a:gd name="connsiteX2" fmla="*/ 226218 w 316706"/>
                <a:gd name="connsiteY2" fmla="*/ 230981 h 254793"/>
                <a:gd name="connsiteX3" fmla="*/ 216693 w 316706"/>
                <a:gd name="connsiteY3" fmla="*/ 195262 h 254793"/>
                <a:gd name="connsiteX4" fmla="*/ 211931 w 316706"/>
                <a:gd name="connsiteY4" fmla="*/ 173831 h 254793"/>
                <a:gd name="connsiteX5" fmla="*/ 240506 w 316706"/>
                <a:gd name="connsiteY5" fmla="*/ 185737 h 254793"/>
                <a:gd name="connsiteX6" fmla="*/ 290512 w 316706"/>
                <a:gd name="connsiteY6" fmla="*/ 173831 h 254793"/>
                <a:gd name="connsiteX7" fmla="*/ 304800 w 316706"/>
                <a:gd name="connsiteY7" fmla="*/ 147637 h 254793"/>
                <a:gd name="connsiteX8" fmla="*/ 295275 w 316706"/>
                <a:gd name="connsiteY8" fmla="*/ 135731 h 254793"/>
                <a:gd name="connsiteX9" fmla="*/ 307181 w 316706"/>
                <a:gd name="connsiteY9" fmla="*/ 109537 h 254793"/>
                <a:gd name="connsiteX10" fmla="*/ 309562 w 316706"/>
                <a:gd name="connsiteY10" fmla="*/ 88106 h 254793"/>
                <a:gd name="connsiteX11" fmla="*/ 316706 w 316706"/>
                <a:gd name="connsiteY11" fmla="*/ 73818 h 254793"/>
                <a:gd name="connsiteX12" fmla="*/ 309562 w 316706"/>
                <a:gd name="connsiteY12" fmla="*/ 69056 h 254793"/>
                <a:gd name="connsiteX13" fmla="*/ 290512 w 316706"/>
                <a:gd name="connsiteY13" fmla="*/ 45243 h 254793"/>
                <a:gd name="connsiteX14" fmla="*/ 261937 w 316706"/>
                <a:gd name="connsiteY14" fmla="*/ 45243 h 254793"/>
                <a:gd name="connsiteX15" fmla="*/ 250031 w 316706"/>
                <a:gd name="connsiteY15" fmla="*/ 9525 h 254793"/>
                <a:gd name="connsiteX16" fmla="*/ 207168 w 316706"/>
                <a:gd name="connsiteY16" fmla="*/ 26193 h 254793"/>
                <a:gd name="connsiteX17" fmla="*/ 190500 w 316706"/>
                <a:gd name="connsiteY17" fmla="*/ 35718 h 254793"/>
                <a:gd name="connsiteX18" fmla="*/ 152400 w 316706"/>
                <a:gd name="connsiteY18" fmla="*/ 19050 h 254793"/>
                <a:gd name="connsiteX19" fmla="*/ 123825 w 316706"/>
                <a:gd name="connsiteY19" fmla="*/ 19050 h 254793"/>
                <a:gd name="connsiteX20" fmla="*/ 100012 w 316706"/>
                <a:gd name="connsiteY20" fmla="*/ 0 h 254793"/>
                <a:gd name="connsiteX21" fmla="*/ 76200 w 316706"/>
                <a:gd name="connsiteY21" fmla="*/ 2381 h 254793"/>
                <a:gd name="connsiteX22" fmla="*/ 47625 w 316706"/>
                <a:gd name="connsiteY22" fmla="*/ 16668 h 254793"/>
                <a:gd name="connsiteX23" fmla="*/ 61912 w 316706"/>
                <a:gd name="connsiteY23" fmla="*/ 38100 h 254793"/>
                <a:gd name="connsiteX24" fmla="*/ 54768 w 316706"/>
                <a:gd name="connsiteY24" fmla="*/ 54768 h 254793"/>
                <a:gd name="connsiteX25" fmla="*/ 26193 w 316706"/>
                <a:gd name="connsiteY25" fmla="*/ 52387 h 254793"/>
                <a:gd name="connsiteX26" fmla="*/ 19050 w 316706"/>
                <a:gd name="connsiteY26" fmla="*/ 33337 h 254793"/>
                <a:gd name="connsiteX27" fmla="*/ 19049 w 316706"/>
                <a:gd name="connsiteY27" fmla="*/ 9525 h 254793"/>
                <a:gd name="connsiteX28" fmla="*/ 0 w 316706"/>
                <a:gd name="connsiteY28" fmla="*/ 50006 h 254793"/>
                <a:gd name="connsiteX29" fmla="*/ 14287 w 316706"/>
                <a:gd name="connsiteY29" fmla="*/ 73818 h 254793"/>
                <a:gd name="connsiteX30" fmla="*/ 21431 w 316706"/>
                <a:gd name="connsiteY30" fmla="*/ 104775 h 254793"/>
                <a:gd name="connsiteX31" fmla="*/ 40481 w 316706"/>
                <a:gd name="connsiteY31" fmla="*/ 102393 h 254793"/>
                <a:gd name="connsiteX32" fmla="*/ 76200 w 316706"/>
                <a:gd name="connsiteY32" fmla="*/ 109537 h 254793"/>
                <a:gd name="connsiteX33" fmla="*/ 100012 w 316706"/>
                <a:gd name="connsiteY33" fmla="*/ 130968 h 254793"/>
                <a:gd name="connsiteX34" fmla="*/ 126206 w 316706"/>
                <a:gd name="connsiteY34" fmla="*/ 126206 h 254793"/>
                <a:gd name="connsiteX35" fmla="*/ 135731 w 316706"/>
                <a:gd name="connsiteY35" fmla="*/ 166687 h 254793"/>
                <a:gd name="connsiteX36" fmla="*/ 142875 w 316706"/>
                <a:gd name="connsiteY36" fmla="*/ 192881 h 254793"/>
                <a:gd name="connsiteX37" fmla="*/ 150018 w 316706"/>
                <a:gd name="connsiteY37" fmla="*/ 245268 h 254793"/>
                <a:gd name="connsiteX0" fmla="*/ 150018 w 316706"/>
                <a:gd name="connsiteY0" fmla="*/ 245268 h 254793"/>
                <a:gd name="connsiteX1" fmla="*/ 176212 w 316706"/>
                <a:gd name="connsiteY1" fmla="*/ 250031 h 254793"/>
                <a:gd name="connsiteX2" fmla="*/ 207168 w 316706"/>
                <a:gd name="connsiteY2" fmla="*/ 254793 h 254793"/>
                <a:gd name="connsiteX3" fmla="*/ 226218 w 316706"/>
                <a:gd name="connsiteY3" fmla="*/ 230981 h 254793"/>
                <a:gd name="connsiteX4" fmla="*/ 216693 w 316706"/>
                <a:gd name="connsiteY4" fmla="*/ 195262 h 254793"/>
                <a:gd name="connsiteX5" fmla="*/ 211931 w 316706"/>
                <a:gd name="connsiteY5" fmla="*/ 173831 h 254793"/>
                <a:gd name="connsiteX6" fmla="*/ 240506 w 316706"/>
                <a:gd name="connsiteY6" fmla="*/ 185737 h 254793"/>
                <a:gd name="connsiteX7" fmla="*/ 290512 w 316706"/>
                <a:gd name="connsiteY7" fmla="*/ 173831 h 254793"/>
                <a:gd name="connsiteX8" fmla="*/ 304800 w 316706"/>
                <a:gd name="connsiteY8" fmla="*/ 147637 h 254793"/>
                <a:gd name="connsiteX9" fmla="*/ 295275 w 316706"/>
                <a:gd name="connsiteY9" fmla="*/ 135731 h 254793"/>
                <a:gd name="connsiteX10" fmla="*/ 307181 w 316706"/>
                <a:gd name="connsiteY10" fmla="*/ 109537 h 254793"/>
                <a:gd name="connsiteX11" fmla="*/ 309562 w 316706"/>
                <a:gd name="connsiteY11" fmla="*/ 88106 h 254793"/>
                <a:gd name="connsiteX12" fmla="*/ 316706 w 316706"/>
                <a:gd name="connsiteY12" fmla="*/ 73818 h 254793"/>
                <a:gd name="connsiteX13" fmla="*/ 309562 w 316706"/>
                <a:gd name="connsiteY13" fmla="*/ 69056 h 254793"/>
                <a:gd name="connsiteX14" fmla="*/ 290512 w 316706"/>
                <a:gd name="connsiteY14" fmla="*/ 45243 h 254793"/>
                <a:gd name="connsiteX15" fmla="*/ 261937 w 316706"/>
                <a:gd name="connsiteY15" fmla="*/ 45243 h 254793"/>
                <a:gd name="connsiteX16" fmla="*/ 250031 w 316706"/>
                <a:gd name="connsiteY16" fmla="*/ 9525 h 254793"/>
                <a:gd name="connsiteX17" fmla="*/ 207168 w 316706"/>
                <a:gd name="connsiteY17" fmla="*/ 26193 h 254793"/>
                <a:gd name="connsiteX18" fmla="*/ 190500 w 316706"/>
                <a:gd name="connsiteY18" fmla="*/ 35718 h 254793"/>
                <a:gd name="connsiteX19" fmla="*/ 152400 w 316706"/>
                <a:gd name="connsiteY19" fmla="*/ 19050 h 254793"/>
                <a:gd name="connsiteX20" fmla="*/ 123825 w 316706"/>
                <a:gd name="connsiteY20" fmla="*/ 19050 h 254793"/>
                <a:gd name="connsiteX21" fmla="*/ 100012 w 316706"/>
                <a:gd name="connsiteY21" fmla="*/ 0 h 254793"/>
                <a:gd name="connsiteX22" fmla="*/ 76200 w 316706"/>
                <a:gd name="connsiteY22" fmla="*/ 2381 h 254793"/>
                <a:gd name="connsiteX23" fmla="*/ 47625 w 316706"/>
                <a:gd name="connsiteY23" fmla="*/ 16668 h 254793"/>
                <a:gd name="connsiteX24" fmla="*/ 61912 w 316706"/>
                <a:gd name="connsiteY24" fmla="*/ 38100 h 254793"/>
                <a:gd name="connsiteX25" fmla="*/ 54768 w 316706"/>
                <a:gd name="connsiteY25" fmla="*/ 54768 h 254793"/>
                <a:gd name="connsiteX26" fmla="*/ 26193 w 316706"/>
                <a:gd name="connsiteY26" fmla="*/ 52387 h 254793"/>
                <a:gd name="connsiteX27" fmla="*/ 19050 w 316706"/>
                <a:gd name="connsiteY27" fmla="*/ 33337 h 254793"/>
                <a:gd name="connsiteX28" fmla="*/ 19049 w 316706"/>
                <a:gd name="connsiteY28" fmla="*/ 9525 h 254793"/>
                <a:gd name="connsiteX29" fmla="*/ 0 w 316706"/>
                <a:gd name="connsiteY29" fmla="*/ 50006 h 254793"/>
                <a:gd name="connsiteX30" fmla="*/ 14287 w 316706"/>
                <a:gd name="connsiteY30" fmla="*/ 73818 h 254793"/>
                <a:gd name="connsiteX31" fmla="*/ 21431 w 316706"/>
                <a:gd name="connsiteY31" fmla="*/ 104775 h 254793"/>
                <a:gd name="connsiteX32" fmla="*/ 40481 w 316706"/>
                <a:gd name="connsiteY32" fmla="*/ 102393 h 254793"/>
                <a:gd name="connsiteX33" fmla="*/ 76200 w 316706"/>
                <a:gd name="connsiteY33" fmla="*/ 109537 h 254793"/>
                <a:gd name="connsiteX34" fmla="*/ 100012 w 316706"/>
                <a:gd name="connsiteY34" fmla="*/ 130968 h 254793"/>
                <a:gd name="connsiteX35" fmla="*/ 126206 w 316706"/>
                <a:gd name="connsiteY35" fmla="*/ 126206 h 254793"/>
                <a:gd name="connsiteX36" fmla="*/ 135731 w 316706"/>
                <a:gd name="connsiteY36" fmla="*/ 166687 h 254793"/>
                <a:gd name="connsiteX37" fmla="*/ 142875 w 316706"/>
                <a:gd name="connsiteY37" fmla="*/ 192881 h 254793"/>
                <a:gd name="connsiteX38" fmla="*/ 150018 w 316706"/>
                <a:gd name="connsiteY38" fmla="*/ 245268 h 254793"/>
                <a:gd name="connsiteX0" fmla="*/ 150018 w 316706"/>
                <a:gd name="connsiteY0" fmla="*/ 245268 h 266699"/>
                <a:gd name="connsiteX1" fmla="*/ 176212 w 316706"/>
                <a:gd name="connsiteY1" fmla="*/ 266699 h 266699"/>
                <a:gd name="connsiteX2" fmla="*/ 207168 w 316706"/>
                <a:gd name="connsiteY2" fmla="*/ 254793 h 266699"/>
                <a:gd name="connsiteX3" fmla="*/ 226218 w 316706"/>
                <a:gd name="connsiteY3" fmla="*/ 230981 h 266699"/>
                <a:gd name="connsiteX4" fmla="*/ 216693 w 316706"/>
                <a:gd name="connsiteY4" fmla="*/ 195262 h 266699"/>
                <a:gd name="connsiteX5" fmla="*/ 211931 w 316706"/>
                <a:gd name="connsiteY5" fmla="*/ 173831 h 266699"/>
                <a:gd name="connsiteX6" fmla="*/ 240506 w 316706"/>
                <a:gd name="connsiteY6" fmla="*/ 185737 h 266699"/>
                <a:gd name="connsiteX7" fmla="*/ 290512 w 316706"/>
                <a:gd name="connsiteY7" fmla="*/ 173831 h 266699"/>
                <a:gd name="connsiteX8" fmla="*/ 304800 w 316706"/>
                <a:gd name="connsiteY8" fmla="*/ 147637 h 266699"/>
                <a:gd name="connsiteX9" fmla="*/ 295275 w 316706"/>
                <a:gd name="connsiteY9" fmla="*/ 135731 h 266699"/>
                <a:gd name="connsiteX10" fmla="*/ 307181 w 316706"/>
                <a:gd name="connsiteY10" fmla="*/ 109537 h 266699"/>
                <a:gd name="connsiteX11" fmla="*/ 309562 w 316706"/>
                <a:gd name="connsiteY11" fmla="*/ 88106 h 266699"/>
                <a:gd name="connsiteX12" fmla="*/ 316706 w 316706"/>
                <a:gd name="connsiteY12" fmla="*/ 73818 h 266699"/>
                <a:gd name="connsiteX13" fmla="*/ 309562 w 316706"/>
                <a:gd name="connsiteY13" fmla="*/ 69056 h 266699"/>
                <a:gd name="connsiteX14" fmla="*/ 290512 w 316706"/>
                <a:gd name="connsiteY14" fmla="*/ 45243 h 266699"/>
                <a:gd name="connsiteX15" fmla="*/ 261937 w 316706"/>
                <a:gd name="connsiteY15" fmla="*/ 45243 h 266699"/>
                <a:gd name="connsiteX16" fmla="*/ 250031 w 316706"/>
                <a:gd name="connsiteY16" fmla="*/ 9525 h 266699"/>
                <a:gd name="connsiteX17" fmla="*/ 207168 w 316706"/>
                <a:gd name="connsiteY17" fmla="*/ 26193 h 266699"/>
                <a:gd name="connsiteX18" fmla="*/ 190500 w 316706"/>
                <a:gd name="connsiteY18" fmla="*/ 35718 h 266699"/>
                <a:gd name="connsiteX19" fmla="*/ 152400 w 316706"/>
                <a:gd name="connsiteY19" fmla="*/ 19050 h 266699"/>
                <a:gd name="connsiteX20" fmla="*/ 123825 w 316706"/>
                <a:gd name="connsiteY20" fmla="*/ 19050 h 266699"/>
                <a:gd name="connsiteX21" fmla="*/ 100012 w 316706"/>
                <a:gd name="connsiteY21" fmla="*/ 0 h 266699"/>
                <a:gd name="connsiteX22" fmla="*/ 76200 w 316706"/>
                <a:gd name="connsiteY22" fmla="*/ 2381 h 266699"/>
                <a:gd name="connsiteX23" fmla="*/ 47625 w 316706"/>
                <a:gd name="connsiteY23" fmla="*/ 16668 h 266699"/>
                <a:gd name="connsiteX24" fmla="*/ 61912 w 316706"/>
                <a:gd name="connsiteY24" fmla="*/ 38100 h 266699"/>
                <a:gd name="connsiteX25" fmla="*/ 54768 w 316706"/>
                <a:gd name="connsiteY25" fmla="*/ 54768 h 266699"/>
                <a:gd name="connsiteX26" fmla="*/ 26193 w 316706"/>
                <a:gd name="connsiteY26" fmla="*/ 52387 h 266699"/>
                <a:gd name="connsiteX27" fmla="*/ 19050 w 316706"/>
                <a:gd name="connsiteY27" fmla="*/ 33337 h 266699"/>
                <a:gd name="connsiteX28" fmla="*/ 19049 w 316706"/>
                <a:gd name="connsiteY28" fmla="*/ 9525 h 266699"/>
                <a:gd name="connsiteX29" fmla="*/ 0 w 316706"/>
                <a:gd name="connsiteY29" fmla="*/ 50006 h 266699"/>
                <a:gd name="connsiteX30" fmla="*/ 14287 w 316706"/>
                <a:gd name="connsiteY30" fmla="*/ 73818 h 266699"/>
                <a:gd name="connsiteX31" fmla="*/ 21431 w 316706"/>
                <a:gd name="connsiteY31" fmla="*/ 104775 h 266699"/>
                <a:gd name="connsiteX32" fmla="*/ 40481 w 316706"/>
                <a:gd name="connsiteY32" fmla="*/ 102393 h 266699"/>
                <a:gd name="connsiteX33" fmla="*/ 76200 w 316706"/>
                <a:gd name="connsiteY33" fmla="*/ 109537 h 266699"/>
                <a:gd name="connsiteX34" fmla="*/ 100012 w 316706"/>
                <a:gd name="connsiteY34" fmla="*/ 130968 h 266699"/>
                <a:gd name="connsiteX35" fmla="*/ 126206 w 316706"/>
                <a:gd name="connsiteY35" fmla="*/ 126206 h 266699"/>
                <a:gd name="connsiteX36" fmla="*/ 135731 w 316706"/>
                <a:gd name="connsiteY36" fmla="*/ 166687 h 266699"/>
                <a:gd name="connsiteX37" fmla="*/ 142875 w 316706"/>
                <a:gd name="connsiteY37" fmla="*/ 192881 h 266699"/>
                <a:gd name="connsiteX38" fmla="*/ 150018 w 316706"/>
                <a:gd name="connsiteY38" fmla="*/ 245268 h 26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6706" h="266699">
                  <a:moveTo>
                    <a:pt x="150018" y="245268"/>
                  </a:moveTo>
                  <a:lnTo>
                    <a:pt x="176212" y="266699"/>
                  </a:lnTo>
                  <a:lnTo>
                    <a:pt x="207168" y="254793"/>
                  </a:lnTo>
                  <a:lnTo>
                    <a:pt x="226218" y="230981"/>
                  </a:lnTo>
                  <a:lnTo>
                    <a:pt x="216693" y="195262"/>
                  </a:lnTo>
                  <a:lnTo>
                    <a:pt x="211931" y="173831"/>
                  </a:lnTo>
                  <a:lnTo>
                    <a:pt x="240506" y="185737"/>
                  </a:lnTo>
                  <a:lnTo>
                    <a:pt x="290512" y="173831"/>
                  </a:lnTo>
                  <a:lnTo>
                    <a:pt x="304800" y="147637"/>
                  </a:lnTo>
                  <a:lnTo>
                    <a:pt x="295275" y="135731"/>
                  </a:lnTo>
                  <a:lnTo>
                    <a:pt x="307181" y="109537"/>
                  </a:lnTo>
                  <a:lnTo>
                    <a:pt x="309562" y="88106"/>
                  </a:lnTo>
                  <a:lnTo>
                    <a:pt x="316706" y="73818"/>
                  </a:lnTo>
                  <a:lnTo>
                    <a:pt x="309562" y="69056"/>
                  </a:lnTo>
                  <a:lnTo>
                    <a:pt x="290512" y="45243"/>
                  </a:lnTo>
                  <a:lnTo>
                    <a:pt x="261937" y="45243"/>
                  </a:lnTo>
                  <a:lnTo>
                    <a:pt x="250031" y="9525"/>
                  </a:lnTo>
                  <a:lnTo>
                    <a:pt x="207168" y="26193"/>
                  </a:lnTo>
                  <a:lnTo>
                    <a:pt x="190500" y="35718"/>
                  </a:lnTo>
                  <a:lnTo>
                    <a:pt x="152400" y="19050"/>
                  </a:lnTo>
                  <a:lnTo>
                    <a:pt x="123825" y="19050"/>
                  </a:lnTo>
                  <a:lnTo>
                    <a:pt x="100012" y="0"/>
                  </a:lnTo>
                  <a:lnTo>
                    <a:pt x="76200" y="2381"/>
                  </a:lnTo>
                  <a:lnTo>
                    <a:pt x="47625" y="16668"/>
                  </a:lnTo>
                  <a:lnTo>
                    <a:pt x="61912" y="38100"/>
                  </a:lnTo>
                  <a:lnTo>
                    <a:pt x="54768" y="54768"/>
                  </a:lnTo>
                  <a:lnTo>
                    <a:pt x="26193" y="52387"/>
                  </a:lnTo>
                  <a:lnTo>
                    <a:pt x="19050" y="33337"/>
                  </a:lnTo>
                  <a:cubicBezTo>
                    <a:pt x="19050" y="25400"/>
                    <a:pt x="19049" y="17462"/>
                    <a:pt x="19049" y="9525"/>
                  </a:cubicBezTo>
                  <a:cubicBezTo>
                    <a:pt x="19049" y="37306"/>
                    <a:pt x="0" y="22225"/>
                    <a:pt x="0" y="50006"/>
                  </a:cubicBezTo>
                  <a:lnTo>
                    <a:pt x="14287" y="73818"/>
                  </a:lnTo>
                  <a:lnTo>
                    <a:pt x="21431" y="104775"/>
                  </a:lnTo>
                  <a:lnTo>
                    <a:pt x="40481" y="102393"/>
                  </a:lnTo>
                  <a:lnTo>
                    <a:pt x="76200" y="109537"/>
                  </a:lnTo>
                  <a:lnTo>
                    <a:pt x="100012" y="130968"/>
                  </a:lnTo>
                  <a:lnTo>
                    <a:pt x="126206" y="126206"/>
                  </a:lnTo>
                  <a:lnTo>
                    <a:pt x="135731" y="166687"/>
                  </a:lnTo>
                  <a:lnTo>
                    <a:pt x="142875" y="192881"/>
                  </a:lnTo>
                  <a:lnTo>
                    <a:pt x="150018" y="24526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4" name="Freeform: Shape 81"/>
            <p:cNvSpPr/>
            <p:nvPr/>
          </p:nvSpPr>
          <p:spPr bwMode="auto">
            <a:xfrm>
              <a:off x="2286000" y="4657725"/>
              <a:ext cx="138113" cy="171450"/>
            </a:xfrm>
            <a:custGeom>
              <a:avLst/>
              <a:gdLst>
                <a:gd name="connsiteX0" fmla="*/ 47625 w 138113"/>
                <a:gd name="connsiteY0" fmla="*/ 0 h 171450"/>
                <a:gd name="connsiteX1" fmla="*/ 0 w 138113"/>
                <a:gd name="connsiteY1" fmla="*/ 57150 h 171450"/>
                <a:gd name="connsiteX2" fmla="*/ 28575 w 138113"/>
                <a:gd name="connsiteY2" fmla="*/ 59531 h 171450"/>
                <a:gd name="connsiteX3" fmla="*/ 38100 w 138113"/>
                <a:gd name="connsiteY3" fmla="*/ 83344 h 171450"/>
                <a:gd name="connsiteX4" fmla="*/ 33338 w 138113"/>
                <a:gd name="connsiteY4" fmla="*/ 109538 h 171450"/>
                <a:gd name="connsiteX5" fmla="*/ 4763 w 138113"/>
                <a:gd name="connsiteY5" fmla="*/ 128588 h 171450"/>
                <a:gd name="connsiteX6" fmla="*/ 7144 w 138113"/>
                <a:gd name="connsiteY6" fmla="*/ 161925 h 171450"/>
                <a:gd name="connsiteX7" fmla="*/ 26194 w 138113"/>
                <a:gd name="connsiteY7" fmla="*/ 157163 h 171450"/>
                <a:gd name="connsiteX8" fmla="*/ 42863 w 138113"/>
                <a:gd name="connsiteY8" fmla="*/ 171450 h 171450"/>
                <a:gd name="connsiteX9" fmla="*/ 54769 w 138113"/>
                <a:gd name="connsiteY9" fmla="*/ 142875 h 171450"/>
                <a:gd name="connsiteX10" fmla="*/ 66675 w 138113"/>
                <a:gd name="connsiteY10" fmla="*/ 116681 h 171450"/>
                <a:gd name="connsiteX11" fmla="*/ 85725 w 138113"/>
                <a:gd name="connsiteY11" fmla="*/ 104775 h 171450"/>
                <a:gd name="connsiteX12" fmla="*/ 109538 w 138113"/>
                <a:gd name="connsiteY12" fmla="*/ 97631 h 171450"/>
                <a:gd name="connsiteX13" fmla="*/ 138113 w 138113"/>
                <a:gd name="connsiteY13" fmla="*/ 61913 h 171450"/>
                <a:gd name="connsiteX14" fmla="*/ 135731 w 138113"/>
                <a:gd name="connsiteY14" fmla="*/ 47625 h 171450"/>
                <a:gd name="connsiteX15" fmla="*/ 109538 w 138113"/>
                <a:gd name="connsiteY15" fmla="*/ 23813 h 171450"/>
                <a:gd name="connsiteX16" fmla="*/ 92869 w 138113"/>
                <a:gd name="connsiteY16" fmla="*/ 35719 h 171450"/>
                <a:gd name="connsiteX17" fmla="*/ 47625 w 138113"/>
                <a:gd name="connsiteY17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8113" h="171450">
                  <a:moveTo>
                    <a:pt x="47625" y="0"/>
                  </a:moveTo>
                  <a:lnTo>
                    <a:pt x="0" y="57150"/>
                  </a:lnTo>
                  <a:lnTo>
                    <a:pt x="28575" y="59531"/>
                  </a:lnTo>
                  <a:lnTo>
                    <a:pt x="38100" y="83344"/>
                  </a:lnTo>
                  <a:lnTo>
                    <a:pt x="33338" y="109538"/>
                  </a:lnTo>
                  <a:lnTo>
                    <a:pt x="4763" y="128588"/>
                  </a:lnTo>
                  <a:lnTo>
                    <a:pt x="7144" y="161925"/>
                  </a:lnTo>
                  <a:lnTo>
                    <a:pt x="26194" y="157163"/>
                  </a:lnTo>
                  <a:lnTo>
                    <a:pt x="42863" y="171450"/>
                  </a:lnTo>
                  <a:lnTo>
                    <a:pt x="54769" y="142875"/>
                  </a:lnTo>
                  <a:lnTo>
                    <a:pt x="66675" y="116681"/>
                  </a:lnTo>
                  <a:lnTo>
                    <a:pt x="85725" y="104775"/>
                  </a:lnTo>
                  <a:lnTo>
                    <a:pt x="109538" y="97631"/>
                  </a:lnTo>
                  <a:lnTo>
                    <a:pt x="138113" y="61913"/>
                  </a:lnTo>
                  <a:lnTo>
                    <a:pt x="135731" y="47625"/>
                  </a:lnTo>
                  <a:lnTo>
                    <a:pt x="109538" y="23813"/>
                  </a:lnTo>
                  <a:lnTo>
                    <a:pt x="92869" y="35719"/>
                  </a:lnTo>
                  <a:lnTo>
                    <a:pt x="47625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5" name="Freeform: Shape 82"/>
            <p:cNvSpPr/>
            <p:nvPr/>
          </p:nvSpPr>
          <p:spPr bwMode="auto">
            <a:xfrm>
              <a:off x="2457450" y="4562475"/>
              <a:ext cx="954881" cy="995363"/>
            </a:xfrm>
            <a:custGeom>
              <a:avLst/>
              <a:gdLst>
                <a:gd name="connsiteX0" fmla="*/ 552450 w 954881"/>
                <a:gd name="connsiteY0" fmla="*/ 40481 h 995363"/>
                <a:gd name="connsiteX1" fmla="*/ 507206 w 954881"/>
                <a:gd name="connsiteY1" fmla="*/ 83344 h 995363"/>
                <a:gd name="connsiteX2" fmla="*/ 478631 w 954881"/>
                <a:gd name="connsiteY2" fmla="*/ 76200 h 995363"/>
                <a:gd name="connsiteX3" fmla="*/ 459581 w 954881"/>
                <a:gd name="connsiteY3" fmla="*/ 66675 h 995363"/>
                <a:gd name="connsiteX4" fmla="*/ 435769 w 954881"/>
                <a:gd name="connsiteY4" fmla="*/ 88106 h 995363"/>
                <a:gd name="connsiteX5" fmla="*/ 416719 w 954881"/>
                <a:gd name="connsiteY5" fmla="*/ 78581 h 995363"/>
                <a:gd name="connsiteX6" fmla="*/ 383381 w 954881"/>
                <a:gd name="connsiteY6" fmla="*/ 100013 h 995363"/>
                <a:gd name="connsiteX7" fmla="*/ 357188 w 954881"/>
                <a:gd name="connsiteY7" fmla="*/ 92869 h 995363"/>
                <a:gd name="connsiteX8" fmla="*/ 350044 w 954881"/>
                <a:gd name="connsiteY8" fmla="*/ 35719 h 995363"/>
                <a:gd name="connsiteX9" fmla="*/ 342900 w 954881"/>
                <a:gd name="connsiteY9" fmla="*/ 2381 h 995363"/>
                <a:gd name="connsiteX10" fmla="*/ 319088 w 954881"/>
                <a:gd name="connsiteY10" fmla="*/ 0 h 995363"/>
                <a:gd name="connsiteX11" fmla="*/ 307181 w 954881"/>
                <a:gd name="connsiteY11" fmla="*/ 30956 h 995363"/>
                <a:gd name="connsiteX12" fmla="*/ 259556 w 954881"/>
                <a:gd name="connsiteY12" fmla="*/ 35719 h 995363"/>
                <a:gd name="connsiteX13" fmla="*/ 226219 w 954881"/>
                <a:gd name="connsiteY13" fmla="*/ 28575 h 995363"/>
                <a:gd name="connsiteX14" fmla="*/ 242888 w 954881"/>
                <a:gd name="connsiteY14" fmla="*/ 85725 h 995363"/>
                <a:gd name="connsiteX15" fmla="*/ 221456 w 954881"/>
                <a:gd name="connsiteY15" fmla="*/ 109538 h 995363"/>
                <a:gd name="connsiteX16" fmla="*/ 188119 w 954881"/>
                <a:gd name="connsiteY16" fmla="*/ 119063 h 995363"/>
                <a:gd name="connsiteX17" fmla="*/ 164306 w 954881"/>
                <a:gd name="connsiteY17" fmla="*/ 102394 h 995363"/>
                <a:gd name="connsiteX18" fmla="*/ 135731 w 954881"/>
                <a:gd name="connsiteY18" fmla="*/ 80963 h 995363"/>
                <a:gd name="connsiteX19" fmla="*/ 88106 w 954881"/>
                <a:gd name="connsiteY19" fmla="*/ 92869 h 995363"/>
                <a:gd name="connsiteX20" fmla="*/ 100013 w 954881"/>
                <a:gd name="connsiteY20" fmla="*/ 119063 h 995363"/>
                <a:gd name="connsiteX21" fmla="*/ 90488 w 954881"/>
                <a:gd name="connsiteY21" fmla="*/ 138113 h 995363"/>
                <a:gd name="connsiteX22" fmla="*/ 102394 w 954881"/>
                <a:gd name="connsiteY22" fmla="*/ 154781 h 995363"/>
                <a:gd name="connsiteX23" fmla="*/ 95250 w 954881"/>
                <a:gd name="connsiteY23" fmla="*/ 233363 h 995363"/>
                <a:gd name="connsiteX24" fmla="*/ 85725 w 954881"/>
                <a:gd name="connsiteY24" fmla="*/ 245269 h 995363"/>
                <a:gd name="connsiteX25" fmla="*/ 59531 w 954881"/>
                <a:gd name="connsiteY25" fmla="*/ 257175 h 995363"/>
                <a:gd name="connsiteX26" fmla="*/ 16669 w 954881"/>
                <a:gd name="connsiteY26" fmla="*/ 280988 h 995363"/>
                <a:gd name="connsiteX27" fmla="*/ 0 w 954881"/>
                <a:gd name="connsiteY27" fmla="*/ 311944 h 995363"/>
                <a:gd name="connsiteX28" fmla="*/ 16669 w 954881"/>
                <a:gd name="connsiteY28" fmla="*/ 350044 h 995363"/>
                <a:gd name="connsiteX29" fmla="*/ 28575 w 954881"/>
                <a:gd name="connsiteY29" fmla="*/ 373856 h 995363"/>
                <a:gd name="connsiteX30" fmla="*/ 47625 w 954881"/>
                <a:gd name="connsiteY30" fmla="*/ 388144 h 995363"/>
                <a:gd name="connsiteX31" fmla="*/ 78581 w 954881"/>
                <a:gd name="connsiteY31" fmla="*/ 361950 h 995363"/>
                <a:gd name="connsiteX32" fmla="*/ 92869 w 954881"/>
                <a:gd name="connsiteY32" fmla="*/ 400050 h 995363"/>
                <a:gd name="connsiteX33" fmla="*/ 114300 w 954881"/>
                <a:gd name="connsiteY33" fmla="*/ 414338 h 995363"/>
                <a:gd name="connsiteX34" fmla="*/ 147638 w 954881"/>
                <a:gd name="connsiteY34" fmla="*/ 397669 h 995363"/>
                <a:gd name="connsiteX35" fmla="*/ 185738 w 954881"/>
                <a:gd name="connsiteY35" fmla="*/ 371475 h 995363"/>
                <a:gd name="connsiteX36" fmla="*/ 200025 w 954881"/>
                <a:gd name="connsiteY36" fmla="*/ 371475 h 995363"/>
                <a:gd name="connsiteX37" fmla="*/ 219075 w 954881"/>
                <a:gd name="connsiteY37" fmla="*/ 438150 h 995363"/>
                <a:gd name="connsiteX38" fmla="*/ 242888 w 954881"/>
                <a:gd name="connsiteY38" fmla="*/ 440531 h 995363"/>
                <a:gd name="connsiteX39" fmla="*/ 273844 w 954881"/>
                <a:gd name="connsiteY39" fmla="*/ 452438 h 995363"/>
                <a:gd name="connsiteX40" fmla="*/ 316706 w 954881"/>
                <a:gd name="connsiteY40" fmla="*/ 473869 h 995363"/>
                <a:gd name="connsiteX41" fmla="*/ 333375 w 954881"/>
                <a:gd name="connsiteY41" fmla="*/ 497681 h 995363"/>
                <a:gd name="connsiteX42" fmla="*/ 328613 w 954881"/>
                <a:gd name="connsiteY42" fmla="*/ 519113 h 995363"/>
                <a:gd name="connsiteX43" fmla="*/ 342900 w 954881"/>
                <a:gd name="connsiteY43" fmla="*/ 540544 h 995363"/>
                <a:gd name="connsiteX44" fmla="*/ 376238 w 954881"/>
                <a:gd name="connsiteY44" fmla="*/ 540544 h 995363"/>
                <a:gd name="connsiteX45" fmla="*/ 390525 w 954881"/>
                <a:gd name="connsiteY45" fmla="*/ 571500 h 995363"/>
                <a:gd name="connsiteX46" fmla="*/ 395288 w 954881"/>
                <a:gd name="connsiteY46" fmla="*/ 638175 h 995363"/>
                <a:gd name="connsiteX47" fmla="*/ 400050 w 954881"/>
                <a:gd name="connsiteY47" fmla="*/ 681038 h 995363"/>
                <a:gd name="connsiteX48" fmla="*/ 414338 w 954881"/>
                <a:gd name="connsiteY48" fmla="*/ 690563 h 995363"/>
                <a:gd name="connsiteX49" fmla="*/ 440531 w 954881"/>
                <a:gd name="connsiteY49" fmla="*/ 688181 h 995363"/>
                <a:gd name="connsiteX50" fmla="*/ 457200 w 954881"/>
                <a:gd name="connsiteY50" fmla="*/ 714375 h 995363"/>
                <a:gd name="connsiteX51" fmla="*/ 481013 w 954881"/>
                <a:gd name="connsiteY51" fmla="*/ 752475 h 995363"/>
                <a:gd name="connsiteX52" fmla="*/ 497681 w 954881"/>
                <a:gd name="connsiteY52" fmla="*/ 802481 h 995363"/>
                <a:gd name="connsiteX53" fmla="*/ 497681 w 954881"/>
                <a:gd name="connsiteY53" fmla="*/ 826294 h 995363"/>
                <a:gd name="connsiteX54" fmla="*/ 407194 w 954881"/>
                <a:gd name="connsiteY54" fmla="*/ 909638 h 995363"/>
                <a:gd name="connsiteX55" fmla="*/ 431006 w 954881"/>
                <a:gd name="connsiteY55" fmla="*/ 928688 h 995363"/>
                <a:gd name="connsiteX56" fmla="*/ 469106 w 954881"/>
                <a:gd name="connsiteY56" fmla="*/ 935831 h 995363"/>
                <a:gd name="connsiteX57" fmla="*/ 485775 w 954881"/>
                <a:gd name="connsiteY57" fmla="*/ 964406 h 995363"/>
                <a:gd name="connsiteX58" fmla="*/ 511969 w 954881"/>
                <a:gd name="connsiteY58" fmla="*/ 995363 h 995363"/>
                <a:gd name="connsiteX59" fmla="*/ 540544 w 954881"/>
                <a:gd name="connsiteY59" fmla="*/ 947738 h 995363"/>
                <a:gd name="connsiteX60" fmla="*/ 566738 w 954881"/>
                <a:gd name="connsiteY60" fmla="*/ 897731 h 995363"/>
                <a:gd name="connsiteX61" fmla="*/ 619125 w 954881"/>
                <a:gd name="connsiteY61" fmla="*/ 847725 h 995363"/>
                <a:gd name="connsiteX62" fmla="*/ 619125 w 954881"/>
                <a:gd name="connsiteY62" fmla="*/ 807244 h 995363"/>
                <a:gd name="connsiteX63" fmla="*/ 635794 w 954881"/>
                <a:gd name="connsiteY63" fmla="*/ 766763 h 995363"/>
                <a:gd name="connsiteX64" fmla="*/ 669131 w 954881"/>
                <a:gd name="connsiteY64" fmla="*/ 738188 h 995363"/>
                <a:gd name="connsiteX65" fmla="*/ 716756 w 954881"/>
                <a:gd name="connsiteY65" fmla="*/ 714375 h 995363"/>
                <a:gd name="connsiteX66" fmla="*/ 790575 w 954881"/>
                <a:gd name="connsiteY66" fmla="*/ 692944 h 995363"/>
                <a:gd name="connsiteX67" fmla="*/ 807244 w 954881"/>
                <a:gd name="connsiteY67" fmla="*/ 676275 h 995363"/>
                <a:gd name="connsiteX68" fmla="*/ 807244 w 954881"/>
                <a:gd name="connsiteY68" fmla="*/ 676275 h 995363"/>
                <a:gd name="connsiteX69" fmla="*/ 835819 w 954881"/>
                <a:gd name="connsiteY69" fmla="*/ 611981 h 995363"/>
                <a:gd name="connsiteX70" fmla="*/ 840581 w 954881"/>
                <a:gd name="connsiteY70" fmla="*/ 585788 h 995363"/>
                <a:gd name="connsiteX71" fmla="*/ 857250 w 954881"/>
                <a:gd name="connsiteY71" fmla="*/ 526256 h 995363"/>
                <a:gd name="connsiteX72" fmla="*/ 854869 w 954881"/>
                <a:gd name="connsiteY72" fmla="*/ 478631 h 995363"/>
                <a:gd name="connsiteX73" fmla="*/ 881063 w 954881"/>
                <a:gd name="connsiteY73" fmla="*/ 426244 h 995363"/>
                <a:gd name="connsiteX74" fmla="*/ 914400 w 954881"/>
                <a:gd name="connsiteY74" fmla="*/ 390525 h 995363"/>
                <a:gd name="connsiteX75" fmla="*/ 942975 w 954881"/>
                <a:gd name="connsiteY75" fmla="*/ 345281 h 995363"/>
                <a:gd name="connsiteX76" fmla="*/ 954881 w 954881"/>
                <a:gd name="connsiteY76" fmla="*/ 314325 h 995363"/>
                <a:gd name="connsiteX77" fmla="*/ 954881 w 954881"/>
                <a:gd name="connsiteY77" fmla="*/ 269081 h 995363"/>
                <a:gd name="connsiteX78" fmla="*/ 945356 w 954881"/>
                <a:gd name="connsiteY78" fmla="*/ 254794 h 995363"/>
                <a:gd name="connsiteX79" fmla="*/ 907256 w 954881"/>
                <a:gd name="connsiteY79" fmla="*/ 259556 h 995363"/>
                <a:gd name="connsiteX80" fmla="*/ 876300 w 954881"/>
                <a:gd name="connsiteY80" fmla="*/ 233363 h 995363"/>
                <a:gd name="connsiteX81" fmla="*/ 833438 w 954881"/>
                <a:gd name="connsiteY81" fmla="*/ 211931 h 995363"/>
                <a:gd name="connsiteX82" fmla="*/ 771525 w 954881"/>
                <a:gd name="connsiteY82" fmla="*/ 211931 h 995363"/>
                <a:gd name="connsiteX83" fmla="*/ 757238 w 954881"/>
                <a:gd name="connsiteY83" fmla="*/ 202406 h 995363"/>
                <a:gd name="connsiteX84" fmla="*/ 738188 w 954881"/>
                <a:gd name="connsiteY84" fmla="*/ 202406 h 995363"/>
                <a:gd name="connsiteX85" fmla="*/ 721519 w 954881"/>
                <a:gd name="connsiteY85" fmla="*/ 192881 h 995363"/>
                <a:gd name="connsiteX86" fmla="*/ 709613 w 954881"/>
                <a:gd name="connsiteY86" fmla="*/ 173831 h 995363"/>
                <a:gd name="connsiteX87" fmla="*/ 688181 w 954881"/>
                <a:gd name="connsiteY87" fmla="*/ 169069 h 995363"/>
                <a:gd name="connsiteX88" fmla="*/ 688181 w 954881"/>
                <a:gd name="connsiteY88" fmla="*/ 169069 h 995363"/>
                <a:gd name="connsiteX89" fmla="*/ 652463 w 954881"/>
                <a:gd name="connsiteY89" fmla="*/ 145256 h 995363"/>
                <a:gd name="connsiteX90" fmla="*/ 623888 w 954881"/>
                <a:gd name="connsiteY90" fmla="*/ 166688 h 995363"/>
                <a:gd name="connsiteX91" fmla="*/ 609600 w 954881"/>
                <a:gd name="connsiteY91" fmla="*/ 192881 h 995363"/>
                <a:gd name="connsiteX92" fmla="*/ 585788 w 954881"/>
                <a:gd name="connsiteY92" fmla="*/ 188119 h 995363"/>
                <a:gd name="connsiteX93" fmla="*/ 569119 w 954881"/>
                <a:gd name="connsiteY93" fmla="*/ 173831 h 995363"/>
                <a:gd name="connsiteX94" fmla="*/ 559594 w 954881"/>
                <a:gd name="connsiteY94" fmla="*/ 150019 h 995363"/>
                <a:gd name="connsiteX95" fmla="*/ 561975 w 954881"/>
                <a:gd name="connsiteY95" fmla="*/ 119063 h 995363"/>
                <a:gd name="connsiteX96" fmla="*/ 578644 w 954881"/>
                <a:gd name="connsiteY96" fmla="*/ 102394 h 995363"/>
                <a:gd name="connsiteX97" fmla="*/ 552450 w 954881"/>
                <a:gd name="connsiteY97" fmla="*/ 40481 h 99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954881" h="995363">
                  <a:moveTo>
                    <a:pt x="552450" y="40481"/>
                  </a:moveTo>
                  <a:lnTo>
                    <a:pt x="507206" y="83344"/>
                  </a:lnTo>
                  <a:lnTo>
                    <a:pt x="478631" y="76200"/>
                  </a:lnTo>
                  <a:lnTo>
                    <a:pt x="459581" y="66675"/>
                  </a:lnTo>
                  <a:lnTo>
                    <a:pt x="435769" y="88106"/>
                  </a:lnTo>
                  <a:lnTo>
                    <a:pt x="416719" y="78581"/>
                  </a:lnTo>
                  <a:lnTo>
                    <a:pt x="383381" y="100013"/>
                  </a:lnTo>
                  <a:lnTo>
                    <a:pt x="357188" y="92869"/>
                  </a:lnTo>
                  <a:lnTo>
                    <a:pt x="350044" y="35719"/>
                  </a:lnTo>
                  <a:lnTo>
                    <a:pt x="342900" y="2381"/>
                  </a:lnTo>
                  <a:lnTo>
                    <a:pt x="319088" y="0"/>
                  </a:lnTo>
                  <a:lnTo>
                    <a:pt x="307181" y="30956"/>
                  </a:lnTo>
                  <a:lnTo>
                    <a:pt x="259556" y="35719"/>
                  </a:lnTo>
                  <a:lnTo>
                    <a:pt x="226219" y="28575"/>
                  </a:lnTo>
                  <a:lnTo>
                    <a:pt x="242888" y="85725"/>
                  </a:lnTo>
                  <a:lnTo>
                    <a:pt x="221456" y="109538"/>
                  </a:lnTo>
                  <a:lnTo>
                    <a:pt x="188119" y="119063"/>
                  </a:lnTo>
                  <a:lnTo>
                    <a:pt x="164306" y="102394"/>
                  </a:lnTo>
                  <a:lnTo>
                    <a:pt x="135731" y="80963"/>
                  </a:lnTo>
                  <a:lnTo>
                    <a:pt x="88106" y="92869"/>
                  </a:lnTo>
                  <a:lnTo>
                    <a:pt x="100013" y="119063"/>
                  </a:lnTo>
                  <a:lnTo>
                    <a:pt x="90488" y="138113"/>
                  </a:lnTo>
                  <a:lnTo>
                    <a:pt x="102394" y="154781"/>
                  </a:lnTo>
                  <a:lnTo>
                    <a:pt x="95250" y="233363"/>
                  </a:lnTo>
                  <a:lnTo>
                    <a:pt x="85725" y="245269"/>
                  </a:lnTo>
                  <a:lnTo>
                    <a:pt x="59531" y="257175"/>
                  </a:lnTo>
                  <a:lnTo>
                    <a:pt x="16669" y="280988"/>
                  </a:lnTo>
                  <a:lnTo>
                    <a:pt x="0" y="311944"/>
                  </a:lnTo>
                  <a:lnTo>
                    <a:pt x="16669" y="350044"/>
                  </a:lnTo>
                  <a:lnTo>
                    <a:pt x="28575" y="373856"/>
                  </a:lnTo>
                  <a:lnTo>
                    <a:pt x="47625" y="388144"/>
                  </a:lnTo>
                  <a:lnTo>
                    <a:pt x="78581" y="361950"/>
                  </a:lnTo>
                  <a:lnTo>
                    <a:pt x="92869" y="400050"/>
                  </a:lnTo>
                  <a:lnTo>
                    <a:pt x="114300" y="414338"/>
                  </a:lnTo>
                  <a:lnTo>
                    <a:pt x="147638" y="397669"/>
                  </a:lnTo>
                  <a:lnTo>
                    <a:pt x="185738" y="371475"/>
                  </a:lnTo>
                  <a:lnTo>
                    <a:pt x="200025" y="371475"/>
                  </a:lnTo>
                  <a:lnTo>
                    <a:pt x="219075" y="438150"/>
                  </a:lnTo>
                  <a:lnTo>
                    <a:pt x="242888" y="440531"/>
                  </a:lnTo>
                  <a:lnTo>
                    <a:pt x="273844" y="452438"/>
                  </a:lnTo>
                  <a:lnTo>
                    <a:pt x="316706" y="473869"/>
                  </a:lnTo>
                  <a:lnTo>
                    <a:pt x="333375" y="497681"/>
                  </a:lnTo>
                  <a:lnTo>
                    <a:pt x="328613" y="519113"/>
                  </a:lnTo>
                  <a:lnTo>
                    <a:pt x="342900" y="540544"/>
                  </a:lnTo>
                  <a:lnTo>
                    <a:pt x="376238" y="540544"/>
                  </a:lnTo>
                  <a:lnTo>
                    <a:pt x="390525" y="571500"/>
                  </a:lnTo>
                  <a:lnTo>
                    <a:pt x="395288" y="638175"/>
                  </a:lnTo>
                  <a:lnTo>
                    <a:pt x="400050" y="681038"/>
                  </a:lnTo>
                  <a:lnTo>
                    <a:pt x="414338" y="690563"/>
                  </a:lnTo>
                  <a:lnTo>
                    <a:pt x="440531" y="688181"/>
                  </a:lnTo>
                  <a:lnTo>
                    <a:pt x="457200" y="714375"/>
                  </a:lnTo>
                  <a:lnTo>
                    <a:pt x="481013" y="752475"/>
                  </a:lnTo>
                  <a:lnTo>
                    <a:pt x="497681" y="802481"/>
                  </a:lnTo>
                  <a:lnTo>
                    <a:pt x="497681" y="826294"/>
                  </a:lnTo>
                  <a:lnTo>
                    <a:pt x="407194" y="909638"/>
                  </a:lnTo>
                  <a:lnTo>
                    <a:pt x="431006" y="928688"/>
                  </a:lnTo>
                  <a:lnTo>
                    <a:pt x="469106" y="935831"/>
                  </a:lnTo>
                  <a:lnTo>
                    <a:pt x="485775" y="964406"/>
                  </a:lnTo>
                  <a:lnTo>
                    <a:pt x="511969" y="995363"/>
                  </a:lnTo>
                  <a:lnTo>
                    <a:pt x="540544" y="947738"/>
                  </a:lnTo>
                  <a:lnTo>
                    <a:pt x="566738" y="897731"/>
                  </a:lnTo>
                  <a:lnTo>
                    <a:pt x="619125" y="847725"/>
                  </a:lnTo>
                  <a:lnTo>
                    <a:pt x="619125" y="807244"/>
                  </a:lnTo>
                  <a:lnTo>
                    <a:pt x="635794" y="766763"/>
                  </a:lnTo>
                  <a:lnTo>
                    <a:pt x="669131" y="738188"/>
                  </a:lnTo>
                  <a:lnTo>
                    <a:pt x="716756" y="714375"/>
                  </a:lnTo>
                  <a:lnTo>
                    <a:pt x="790575" y="692944"/>
                  </a:lnTo>
                  <a:lnTo>
                    <a:pt x="807244" y="676275"/>
                  </a:lnTo>
                  <a:lnTo>
                    <a:pt x="807244" y="676275"/>
                  </a:lnTo>
                  <a:lnTo>
                    <a:pt x="835819" y="611981"/>
                  </a:lnTo>
                  <a:lnTo>
                    <a:pt x="840581" y="585788"/>
                  </a:lnTo>
                  <a:lnTo>
                    <a:pt x="857250" y="526256"/>
                  </a:lnTo>
                  <a:lnTo>
                    <a:pt x="854869" y="478631"/>
                  </a:lnTo>
                  <a:lnTo>
                    <a:pt x="881063" y="426244"/>
                  </a:lnTo>
                  <a:lnTo>
                    <a:pt x="914400" y="390525"/>
                  </a:lnTo>
                  <a:lnTo>
                    <a:pt x="942975" y="345281"/>
                  </a:lnTo>
                  <a:lnTo>
                    <a:pt x="954881" y="314325"/>
                  </a:lnTo>
                  <a:lnTo>
                    <a:pt x="954881" y="269081"/>
                  </a:lnTo>
                  <a:lnTo>
                    <a:pt x="945356" y="254794"/>
                  </a:lnTo>
                  <a:lnTo>
                    <a:pt x="907256" y="259556"/>
                  </a:lnTo>
                  <a:lnTo>
                    <a:pt x="876300" y="233363"/>
                  </a:lnTo>
                  <a:lnTo>
                    <a:pt x="833438" y="211931"/>
                  </a:lnTo>
                  <a:lnTo>
                    <a:pt x="771525" y="211931"/>
                  </a:lnTo>
                  <a:lnTo>
                    <a:pt x="757238" y="202406"/>
                  </a:lnTo>
                  <a:lnTo>
                    <a:pt x="738188" y="202406"/>
                  </a:lnTo>
                  <a:lnTo>
                    <a:pt x="721519" y="192881"/>
                  </a:lnTo>
                  <a:lnTo>
                    <a:pt x="709613" y="173831"/>
                  </a:lnTo>
                  <a:lnTo>
                    <a:pt x="688181" y="169069"/>
                  </a:lnTo>
                  <a:lnTo>
                    <a:pt x="688181" y="169069"/>
                  </a:lnTo>
                  <a:lnTo>
                    <a:pt x="652463" y="145256"/>
                  </a:lnTo>
                  <a:lnTo>
                    <a:pt x="623888" y="166688"/>
                  </a:lnTo>
                  <a:lnTo>
                    <a:pt x="609600" y="192881"/>
                  </a:lnTo>
                  <a:lnTo>
                    <a:pt x="585788" y="188119"/>
                  </a:lnTo>
                  <a:lnTo>
                    <a:pt x="569119" y="173831"/>
                  </a:lnTo>
                  <a:lnTo>
                    <a:pt x="559594" y="150019"/>
                  </a:lnTo>
                  <a:lnTo>
                    <a:pt x="561975" y="119063"/>
                  </a:lnTo>
                  <a:lnTo>
                    <a:pt x="578644" y="102394"/>
                  </a:lnTo>
                  <a:lnTo>
                    <a:pt x="552450" y="4048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6" name="Freeform: Shape 83"/>
            <p:cNvSpPr/>
            <p:nvPr/>
          </p:nvSpPr>
          <p:spPr bwMode="auto">
            <a:xfrm>
              <a:off x="2931319" y="4562475"/>
              <a:ext cx="78581" cy="78581"/>
            </a:xfrm>
            <a:custGeom>
              <a:avLst/>
              <a:gdLst>
                <a:gd name="connsiteX0" fmla="*/ 78581 w 78581"/>
                <a:gd name="connsiteY0" fmla="*/ 38100 h 78581"/>
                <a:gd name="connsiteX1" fmla="*/ 21431 w 78581"/>
                <a:gd name="connsiteY1" fmla="*/ 0 h 78581"/>
                <a:gd name="connsiteX2" fmla="*/ 7144 w 78581"/>
                <a:gd name="connsiteY2" fmla="*/ 23813 h 78581"/>
                <a:gd name="connsiteX3" fmla="*/ 7144 w 78581"/>
                <a:gd name="connsiteY3" fmla="*/ 23813 h 78581"/>
                <a:gd name="connsiteX4" fmla="*/ 16669 w 78581"/>
                <a:gd name="connsiteY4" fmla="*/ 42863 h 78581"/>
                <a:gd name="connsiteX5" fmla="*/ 0 w 78581"/>
                <a:gd name="connsiteY5" fmla="*/ 78581 h 78581"/>
                <a:gd name="connsiteX6" fmla="*/ 30956 w 78581"/>
                <a:gd name="connsiteY6" fmla="*/ 78581 h 78581"/>
                <a:gd name="connsiteX7" fmla="*/ 78581 w 78581"/>
                <a:gd name="connsiteY7" fmla="*/ 38100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81" h="78581">
                  <a:moveTo>
                    <a:pt x="78581" y="38100"/>
                  </a:moveTo>
                  <a:lnTo>
                    <a:pt x="21431" y="0"/>
                  </a:lnTo>
                  <a:lnTo>
                    <a:pt x="7144" y="23813"/>
                  </a:lnTo>
                  <a:lnTo>
                    <a:pt x="7144" y="23813"/>
                  </a:lnTo>
                  <a:lnTo>
                    <a:pt x="16669" y="42863"/>
                  </a:lnTo>
                  <a:lnTo>
                    <a:pt x="0" y="78581"/>
                  </a:lnTo>
                  <a:lnTo>
                    <a:pt x="30956" y="78581"/>
                  </a:lnTo>
                  <a:lnTo>
                    <a:pt x="78581" y="3810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7" name="Freeform: Shape 84"/>
            <p:cNvSpPr/>
            <p:nvPr/>
          </p:nvSpPr>
          <p:spPr bwMode="auto">
            <a:xfrm>
              <a:off x="2845594" y="4557713"/>
              <a:ext cx="109537" cy="90487"/>
            </a:xfrm>
            <a:custGeom>
              <a:avLst/>
              <a:gdLst>
                <a:gd name="connsiteX0" fmla="*/ 109537 w 109537"/>
                <a:gd name="connsiteY0" fmla="*/ 0 h 90487"/>
                <a:gd name="connsiteX1" fmla="*/ 26194 w 109537"/>
                <a:gd name="connsiteY1" fmla="*/ 0 h 90487"/>
                <a:gd name="connsiteX2" fmla="*/ 7144 w 109537"/>
                <a:gd name="connsiteY2" fmla="*/ 14287 h 90487"/>
                <a:gd name="connsiteX3" fmla="*/ 0 w 109537"/>
                <a:gd name="connsiteY3" fmla="*/ 30956 h 90487"/>
                <a:gd name="connsiteX4" fmla="*/ 21431 w 109537"/>
                <a:gd name="connsiteY4" fmla="*/ 50006 h 90487"/>
                <a:gd name="connsiteX5" fmla="*/ 28575 w 109537"/>
                <a:gd name="connsiteY5" fmla="*/ 88106 h 90487"/>
                <a:gd name="connsiteX6" fmla="*/ 52387 w 109537"/>
                <a:gd name="connsiteY6" fmla="*/ 90487 h 90487"/>
                <a:gd name="connsiteX7" fmla="*/ 69056 w 109537"/>
                <a:gd name="connsiteY7" fmla="*/ 73818 h 90487"/>
                <a:gd name="connsiteX8" fmla="*/ 88106 w 109537"/>
                <a:gd name="connsiteY8" fmla="*/ 80962 h 90487"/>
                <a:gd name="connsiteX9" fmla="*/ 102394 w 109537"/>
                <a:gd name="connsiteY9" fmla="*/ 52387 h 90487"/>
                <a:gd name="connsiteX10" fmla="*/ 109537 w 109537"/>
                <a:gd name="connsiteY10" fmla="*/ 0 h 9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537" h="90487">
                  <a:moveTo>
                    <a:pt x="109537" y="0"/>
                  </a:moveTo>
                  <a:lnTo>
                    <a:pt x="26194" y="0"/>
                  </a:lnTo>
                  <a:lnTo>
                    <a:pt x="7144" y="14287"/>
                  </a:lnTo>
                  <a:lnTo>
                    <a:pt x="0" y="30956"/>
                  </a:lnTo>
                  <a:lnTo>
                    <a:pt x="21431" y="50006"/>
                  </a:lnTo>
                  <a:lnTo>
                    <a:pt x="28575" y="88106"/>
                  </a:lnTo>
                  <a:lnTo>
                    <a:pt x="52387" y="90487"/>
                  </a:lnTo>
                  <a:lnTo>
                    <a:pt x="69056" y="73818"/>
                  </a:lnTo>
                  <a:lnTo>
                    <a:pt x="88106" y="80962"/>
                  </a:lnTo>
                  <a:lnTo>
                    <a:pt x="102394" y="52387"/>
                  </a:lnTo>
                  <a:lnTo>
                    <a:pt x="109537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8" name="Freeform: Shape 85"/>
            <p:cNvSpPr/>
            <p:nvPr/>
          </p:nvSpPr>
          <p:spPr bwMode="auto">
            <a:xfrm>
              <a:off x="2762250" y="4486275"/>
              <a:ext cx="111919" cy="178594"/>
            </a:xfrm>
            <a:custGeom>
              <a:avLst/>
              <a:gdLst>
                <a:gd name="connsiteX0" fmla="*/ 111919 w 111919"/>
                <a:gd name="connsiteY0" fmla="*/ 69056 h 178594"/>
                <a:gd name="connsiteX1" fmla="*/ 57150 w 111919"/>
                <a:gd name="connsiteY1" fmla="*/ 19050 h 178594"/>
                <a:gd name="connsiteX2" fmla="*/ 26194 w 111919"/>
                <a:gd name="connsiteY2" fmla="*/ 0 h 178594"/>
                <a:gd name="connsiteX3" fmla="*/ 16669 w 111919"/>
                <a:gd name="connsiteY3" fmla="*/ 26194 h 178594"/>
                <a:gd name="connsiteX4" fmla="*/ 16669 w 111919"/>
                <a:gd name="connsiteY4" fmla="*/ 45244 h 178594"/>
                <a:gd name="connsiteX5" fmla="*/ 0 w 111919"/>
                <a:gd name="connsiteY5" fmla="*/ 69056 h 178594"/>
                <a:gd name="connsiteX6" fmla="*/ 16669 w 111919"/>
                <a:gd name="connsiteY6" fmla="*/ 78581 h 178594"/>
                <a:gd name="connsiteX7" fmla="*/ 38100 w 111919"/>
                <a:gd name="connsiteY7" fmla="*/ 83344 h 178594"/>
                <a:gd name="connsiteX8" fmla="*/ 54769 w 111919"/>
                <a:gd name="connsiteY8" fmla="*/ 166688 h 178594"/>
                <a:gd name="connsiteX9" fmla="*/ 71438 w 111919"/>
                <a:gd name="connsiteY9" fmla="*/ 178594 h 178594"/>
                <a:gd name="connsiteX10" fmla="*/ 95250 w 111919"/>
                <a:gd name="connsiteY10" fmla="*/ 166688 h 178594"/>
                <a:gd name="connsiteX11" fmla="*/ 109538 w 111919"/>
                <a:gd name="connsiteY11" fmla="*/ 159544 h 178594"/>
                <a:gd name="connsiteX12" fmla="*/ 102394 w 111919"/>
                <a:gd name="connsiteY12" fmla="*/ 126206 h 178594"/>
                <a:gd name="connsiteX13" fmla="*/ 111919 w 111919"/>
                <a:gd name="connsiteY13" fmla="*/ 69056 h 17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1919" h="178594">
                  <a:moveTo>
                    <a:pt x="111919" y="69056"/>
                  </a:moveTo>
                  <a:lnTo>
                    <a:pt x="57150" y="19050"/>
                  </a:lnTo>
                  <a:lnTo>
                    <a:pt x="26194" y="0"/>
                  </a:lnTo>
                  <a:lnTo>
                    <a:pt x="16669" y="26194"/>
                  </a:lnTo>
                  <a:lnTo>
                    <a:pt x="16669" y="45244"/>
                  </a:lnTo>
                  <a:lnTo>
                    <a:pt x="0" y="69056"/>
                  </a:lnTo>
                  <a:lnTo>
                    <a:pt x="16669" y="78581"/>
                  </a:lnTo>
                  <a:lnTo>
                    <a:pt x="38100" y="83344"/>
                  </a:lnTo>
                  <a:lnTo>
                    <a:pt x="54769" y="166688"/>
                  </a:lnTo>
                  <a:lnTo>
                    <a:pt x="71438" y="178594"/>
                  </a:lnTo>
                  <a:lnTo>
                    <a:pt x="95250" y="166688"/>
                  </a:lnTo>
                  <a:lnTo>
                    <a:pt x="109538" y="159544"/>
                  </a:lnTo>
                  <a:lnTo>
                    <a:pt x="102394" y="126206"/>
                  </a:lnTo>
                  <a:lnTo>
                    <a:pt x="111919" y="6905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79" name="Freeform: Shape 86"/>
            <p:cNvSpPr/>
            <p:nvPr/>
          </p:nvSpPr>
          <p:spPr bwMode="auto">
            <a:xfrm>
              <a:off x="2283619" y="4702969"/>
              <a:ext cx="292894" cy="452437"/>
            </a:xfrm>
            <a:custGeom>
              <a:avLst/>
              <a:gdLst>
                <a:gd name="connsiteX0" fmla="*/ 0 w 292894"/>
                <a:gd name="connsiteY0" fmla="*/ 83344 h 452437"/>
                <a:gd name="connsiteX1" fmla="*/ 0 w 292894"/>
                <a:gd name="connsiteY1" fmla="*/ 145256 h 452437"/>
                <a:gd name="connsiteX2" fmla="*/ 50006 w 292894"/>
                <a:gd name="connsiteY2" fmla="*/ 188119 h 452437"/>
                <a:gd name="connsiteX3" fmla="*/ 59531 w 292894"/>
                <a:gd name="connsiteY3" fmla="*/ 221456 h 452437"/>
                <a:gd name="connsiteX4" fmla="*/ 80962 w 292894"/>
                <a:gd name="connsiteY4" fmla="*/ 273844 h 452437"/>
                <a:gd name="connsiteX5" fmla="*/ 109537 w 292894"/>
                <a:gd name="connsiteY5" fmla="*/ 319087 h 452437"/>
                <a:gd name="connsiteX6" fmla="*/ 126206 w 292894"/>
                <a:gd name="connsiteY6" fmla="*/ 364331 h 452437"/>
                <a:gd name="connsiteX7" fmla="*/ 190500 w 292894"/>
                <a:gd name="connsiteY7" fmla="*/ 395287 h 452437"/>
                <a:gd name="connsiteX8" fmla="*/ 230981 w 292894"/>
                <a:gd name="connsiteY8" fmla="*/ 419100 h 452437"/>
                <a:gd name="connsiteX9" fmla="*/ 266700 w 292894"/>
                <a:gd name="connsiteY9" fmla="*/ 452437 h 452437"/>
                <a:gd name="connsiteX10" fmla="*/ 285750 w 292894"/>
                <a:gd name="connsiteY10" fmla="*/ 440531 h 452437"/>
                <a:gd name="connsiteX11" fmla="*/ 280987 w 292894"/>
                <a:gd name="connsiteY11" fmla="*/ 428625 h 452437"/>
                <a:gd name="connsiteX12" fmla="*/ 290512 w 292894"/>
                <a:gd name="connsiteY12" fmla="*/ 397669 h 452437"/>
                <a:gd name="connsiteX13" fmla="*/ 290512 w 292894"/>
                <a:gd name="connsiteY13" fmla="*/ 376237 h 452437"/>
                <a:gd name="connsiteX14" fmla="*/ 285750 w 292894"/>
                <a:gd name="connsiteY14" fmla="*/ 340519 h 452437"/>
                <a:gd name="connsiteX15" fmla="*/ 292894 w 292894"/>
                <a:gd name="connsiteY15" fmla="*/ 321469 h 452437"/>
                <a:gd name="connsiteX16" fmla="*/ 288131 w 292894"/>
                <a:gd name="connsiteY16" fmla="*/ 273844 h 452437"/>
                <a:gd name="connsiteX17" fmla="*/ 271462 w 292894"/>
                <a:gd name="connsiteY17" fmla="*/ 259556 h 452437"/>
                <a:gd name="connsiteX18" fmla="*/ 250031 w 292894"/>
                <a:gd name="connsiteY18" fmla="*/ 223837 h 452437"/>
                <a:gd name="connsiteX19" fmla="*/ 226219 w 292894"/>
                <a:gd name="connsiteY19" fmla="*/ 238125 h 452437"/>
                <a:gd name="connsiteX20" fmla="*/ 202406 w 292894"/>
                <a:gd name="connsiteY20" fmla="*/ 235744 h 452437"/>
                <a:gd name="connsiteX21" fmla="*/ 176212 w 292894"/>
                <a:gd name="connsiteY21" fmla="*/ 169069 h 452437"/>
                <a:gd name="connsiteX22" fmla="*/ 183356 w 292894"/>
                <a:gd name="connsiteY22" fmla="*/ 147637 h 452437"/>
                <a:gd name="connsiteX23" fmla="*/ 254794 w 292894"/>
                <a:gd name="connsiteY23" fmla="*/ 104775 h 452437"/>
                <a:gd name="connsiteX24" fmla="*/ 257175 w 292894"/>
                <a:gd name="connsiteY24" fmla="*/ 83344 h 452437"/>
                <a:gd name="connsiteX25" fmla="*/ 247650 w 292894"/>
                <a:gd name="connsiteY25" fmla="*/ 59531 h 452437"/>
                <a:gd name="connsiteX26" fmla="*/ 226219 w 292894"/>
                <a:gd name="connsiteY26" fmla="*/ 50006 h 452437"/>
                <a:gd name="connsiteX27" fmla="*/ 200025 w 292894"/>
                <a:gd name="connsiteY27" fmla="*/ 57150 h 452437"/>
                <a:gd name="connsiteX28" fmla="*/ 161925 w 292894"/>
                <a:gd name="connsiteY28" fmla="*/ 4762 h 452437"/>
                <a:gd name="connsiteX29" fmla="*/ 138112 w 292894"/>
                <a:gd name="connsiteY29" fmla="*/ 0 h 452437"/>
                <a:gd name="connsiteX30" fmla="*/ 128587 w 292894"/>
                <a:gd name="connsiteY30" fmla="*/ 28575 h 452437"/>
                <a:gd name="connsiteX31" fmla="*/ 114300 w 292894"/>
                <a:gd name="connsiteY31" fmla="*/ 50006 h 452437"/>
                <a:gd name="connsiteX32" fmla="*/ 95250 w 292894"/>
                <a:gd name="connsiteY32" fmla="*/ 61912 h 452437"/>
                <a:gd name="connsiteX33" fmla="*/ 69056 w 292894"/>
                <a:gd name="connsiteY33" fmla="*/ 69056 h 452437"/>
                <a:gd name="connsiteX34" fmla="*/ 40481 w 292894"/>
                <a:gd name="connsiteY34" fmla="*/ 126206 h 452437"/>
                <a:gd name="connsiteX35" fmla="*/ 0 w 292894"/>
                <a:gd name="connsiteY35" fmla="*/ 83344 h 45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2894" h="452437">
                  <a:moveTo>
                    <a:pt x="0" y="83344"/>
                  </a:moveTo>
                  <a:lnTo>
                    <a:pt x="0" y="145256"/>
                  </a:lnTo>
                  <a:lnTo>
                    <a:pt x="50006" y="188119"/>
                  </a:lnTo>
                  <a:lnTo>
                    <a:pt x="59531" y="221456"/>
                  </a:lnTo>
                  <a:lnTo>
                    <a:pt x="80962" y="273844"/>
                  </a:lnTo>
                  <a:lnTo>
                    <a:pt x="109537" y="319087"/>
                  </a:lnTo>
                  <a:lnTo>
                    <a:pt x="126206" y="364331"/>
                  </a:lnTo>
                  <a:lnTo>
                    <a:pt x="190500" y="395287"/>
                  </a:lnTo>
                  <a:lnTo>
                    <a:pt x="230981" y="419100"/>
                  </a:lnTo>
                  <a:lnTo>
                    <a:pt x="266700" y="452437"/>
                  </a:lnTo>
                  <a:lnTo>
                    <a:pt x="285750" y="440531"/>
                  </a:lnTo>
                  <a:lnTo>
                    <a:pt x="280987" y="428625"/>
                  </a:lnTo>
                  <a:lnTo>
                    <a:pt x="290512" y="397669"/>
                  </a:lnTo>
                  <a:lnTo>
                    <a:pt x="290512" y="376237"/>
                  </a:lnTo>
                  <a:lnTo>
                    <a:pt x="285750" y="340519"/>
                  </a:lnTo>
                  <a:lnTo>
                    <a:pt x="292894" y="321469"/>
                  </a:lnTo>
                  <a:lnTo>
                    <a:pt x="288131" y="273844"/>
                  </a:lnTo>
                  <a:lnTo>
                    <a:pt x="271462" y="259556"/>
                  </a:lnTo>
                  <a:lnTo>
                    <a:pt x="250031" y="223837"/>
                  </a:lnTo>
                  <a:lnTo>
                    <a:pt x="226219" y="238125"/>
                  </a:lnTo>
                  <a:lnTo>
                    <a:pt x="202406" y="235744"/>
                  </a:lnTo>
                  <a:lnTo>
                    <a:pt x="176212" y="169069"/>
                  </a:lnTo>
                  <a:lnTo>
                    <a:pt x="183356" y="147637"/>
                  </a:lnTo>
                  <a:lnTo>
                    <a:pt x="254794" y="104775"/>
                  </a:lnTo>
                  <a:lnTo>
                    <a:pt x="257175" y="83344"/>
                  </a:lnTo>
                  <a:lnTo>
                    <a:pt x="247650" y="59531"/>
                  </a:lnTo>
                  <a:lnTo>
                    <a:pt x="226219" y="50006"/>
                  </a:lnTo>
                  <a:lnTo>
                    <a:pt x="200025" y="57150"/>
                  </a:lnTo>
                  <a:lnTo>
                    <a:pt x="161925" y="4762"/>
                  </a:lnTo>
                  <a:lnTo>
                    <a:pt x="138112" y="0"/>
                  </a:lnTo>
                  <a:lnTo>
                    <a:pt x="128587" y="28575"/>
                  </a:lnTo>
                  <a:lnTo>
                    <a:pt x="114300" y="50006"/>
                  </a:lnTo>
                  <a:lnTo>
                    <a:pt x="95250" y="61912"/>
                  </a:lnTo>
                  <a:lnTo>
                    <a:pt x="69056" y="69056"/>
                  </a:lnTo>
                  <a:lnTo>
                    <a:pt x="40481" y="126206"/>
                  </a:lnTo>
                  <a:lnTo>
                    <a:pt x="0" y="8334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0" name="Freeform: Shape 87"/>
            <p:cNvSpPr/>
            <p:nvPr/>
          </p:nvSpPr>
          <p:spPr bwMode="auto">
            <a:xfrm>
              <a:off x="2564606" y="4933950"/>
              <a:ext cx="290513" cy="342900"/>
            </a:xfrm>
            <a:custGeom>
              <a:avLst/>
              <a:gdLst>
                <a:gd name="connsiteX0" fmla="*/ 0 w 290513"/>
                <a:gd name="connsiteY0" fmla="*/ 211931 h 342900"/>
                <a:gd name="connsiteX1" fmla="*/ 16669 w 290513"/>
                <a:gd name="connsiteY1" fmla="*/ 238125 h 342900"/>
                <a:gd name="connsiteX2" fmla="*/ 23813 w 290513"/>
                <a:gd name="connsiteY2" fmla="*/ 264319 h 342900"/>
                <a:gd name="connsiteX3" fmla="*/ 19050 w 290513"/>
                <a:gd name="connsiteY3" fmla="*/ 278606 h 342900"/>
                <a:gd name="connsiteX4" fmla="*/ 42863 w 290513"/>
                <a:gd name="connsiteY4" fmla="*/ 330994 h 342900"/>
                <a:gd name="connsiteX5" fmla="*/ 57150 w 290513"/>
                <a:gd name="connsiteY5" fmla="*/ 342900 h 342900"/>
                <a:gd name="connsiteX6" fmla="*/ 80963 w 290513"/>
                <a:gd name="connsiteY6" fmla="*/ 314325 h 342900"/>
                <a:gd name="connsiteX7" fmla="*/ 97632 w 290513"/>
                <a:gd name="connsiteY7" fmla="*/ 330994 h 342900"/>
                <a:gd name="connsiteX8" fmla="*/ 126207 w 290513"/>
                <a:gd name="connsiteY8" fmla="*/ 328613 h 342900"/>
                <a:gd name="connsiteX9" fmla="*/ 126207 w 290513"/>
                <a:gd name="connsiteY9" fmla="*/ 328613 h 342900"/>
                <a:gd name="connsiteX10" fmla="*/ 169069 w 290513"/>
                <a:gd name="connsiteY10" fmla="*/ 311944 h 342900"/>
                <a:gd name="connsiteX11" fmla="*/ 188119 w 290513"/>
                <a:gd name="connsiteY11" fmla="*/ 257175 h 342900"/>
                <a:gd name="connsiteX12" fmla="*/ 202407 w 290513"/>
                <a:gd name="connsiteY12" fmla="*/ 245269 h 342900"/>
                <a:gd name="connsiteX13" fmla="*/ 247650 w 290513"/>
                <a:gd name="connsiteY13" fmla="*/ 245269 h 342900"/>
                <a:gd name="connsiteX14" fmla="*/ 290513 w 290513"/>
                <a:gd name="connsiteY14" fmla="*/ 261938 h 342900"/>
                <a:gd name="connsiteX15" fmla="*/ 285750 w 290513"/>
                <a:gd name="connsiteY15" fmla="*/ 197644 h 342900"/>
                <a:gd name="connsiteX16" fmla="*/ 266700 w 290513"/>
                <a:gd name="connsiteY16" fmla="*/ 169069 h 342900"/>
                <a:gd name="connsiteX17" fmla="*/ 238125 w 290513"/>
                <a:gd name="connsiteY17" fmla="*/ 169069 h 342900"/>
                <a:gd name="connsiteX18" fmla="*/ 221457 w 290513"/>
                <a:gd name="connsiteY18" fmla="*/ 147638 h 342900"/>
                <a:gd name="connsiteX19" fmla="*/ 221457 w 290513"/>
                <a:gd name="connsiteY19" fmla="*/ 121444 h 342900"/>
                <a:gd name="connsiteX20" fmla="*/ 204788 w 290513"/>
                <a:gd name="connsiteY20" fmla="*/ 95250 h 342900"/>
                <a:gd name="connsiteX21" fmla="*/ 140494 w 290513"/>
                <a:gd name="connsiteY21" fmla="*/ 66675 h 342900"/>
                <a:gd name="connsiteX22" fmla="*/ 109538 w 290513"/>
                <a:gd name="connsiteY22" fmla="*/ 61913 h 342900"/>
                <a:gd name="connsiteX23" fmla="*/ 90488 w 290513"/>
                <a:gd name="connsiteY23" fmla="*/ 0 h 342900"/>
                <a:gd name="connsiteX24" fmla="*/ 71438 w 290513"/>
                <a:gd name="connsiteY24" fmla="*/ 0 h 342900"/>
                <a:gd name="connsiteX25" fmla="*/ 11907 w 290513"/>
                <a:gd name="connsiteY25" fmla="*/ 42863 h 342900"/>
                <a:gd name="connsiteX26" fmla="*/ 11907 w 290513"/>
                <a:gd name="connsiteY26" fmla="*/ 90488 h 342900"/>
                <a:gd name="connsiteX27" fmla="*/ 4763 w 290513"/>
                <a:gd name="connsiteY27" fmla="*/ 111919 h 342900"/>
                <a:gd name="connsiteX28" fmla="*/ 9525 w 290513"/>
                <a:gd name="connsiteY28" fmla="*/ 150019 h 342900"/>
                <a:gd name="connsiteX29" fmla="*/ 0 w 290513"/>
                <a:gd name="connsiteY29" fmla="*/ 211931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90513" h="342900">
                  <a:moveTo>
                    <a:pt x="0" y="211931"/>
                  </a:moveTo>
                  <a:lnTo>
                    <a:pt x="16669" y="238125"/>
                  </a:lnTo>
                  <a:lnTo>
                    <a:pt x="23813" y="264319"/>
                  </a:lnTo>
                  <a:lnTo>
                    <a:pt x="19050" y="278606"/>
                  </a:lnTo>
                  <a:lnTo>
                    <a:pt x="42863" y="330994"/>
                  </a:lnTo>
                  <a:lnTo>
                    <a:pt x="57150" y="342900"/>
                  </a:lnTo>
                  <a:lnTo>
                    <a:pt x="80963" y="314325"/>
                  </a:lnTo>
                  <a:lnTo>
                    <a:pt x="97632" y="330994"/>
                  </a:lnTo>
                  <a:lnTo>
                    <a:pt x="126207" y="328613"/>
                  </a:lnTo>
                  <a:lnTo>
                    <a:pt x="126207" y="328613"/>
                  </a:lnTo>
                  <a:lnTo>
                    <a:pt x="169069" y="311944"/>
                  </a:lnTo>
                  <a:lnTo>
                    <a:pt x="188119" y="257175"/>
                  </a:lnTo>
                  <a:lnTo>
                    <a:pt x="202407" y="245269"/>
                  </a:lnTo>
                  <a:lnTo>
                    <a:pt x="247650" y="245269"/>
                  </a:lnTo>
                  <a:lnTo>
                    <a:pt x="290513" y="261938"/>
                  </a:lnTo>
                  <a:lnTo>
                    <a:pt x="285750" y="197644"/>
                  </a:lnTo>
                  <a:lnTo>
                    <a:pt x="266700" y="169069"/>
                  </a:lnTo>
                  <a:lnTo>
                    <a:pt x="238125" y="169069"/>
                  </a:lnTo>
                  <a:lnTo>
                    <a:pt x="221457" y="147638"/>
                  </a:lnTo>
                  <a:lnTo>
                    <a:pt x="221457" y="121444"/>
                  </a:lnTo>
                  <a:lnTo>
                    <a:pt x="204788" y="95250"/>
                  </a:lnTo>
                  <a:lnTo>
                    <a:pt x="140494" y="66675"/>
                  </a:lnTo>
                  <a:lnTo>
                    <a:pt x="109538" y="61913"/>
                  </a:lnTo>
                  <a:lnTo>
                    <a:pt x="90488" y="0"/>
                  </a:lnTo>
                  <a:lnTo>
                    <a:pt x="71438" y="0"/>
                  </a:lnTo>
                  <a:lnTo>
                    <a:pt x="11907" y="42863"/>
                  </a:lnTo>
                  <a:lnTo>
                    <a:pt x="11907" y="90488"/>
                  </a:lnTo>
                  <a:lnTo>
                    <a:pt x="4763" y="111919"/>
                  </a:lnTo>
                  <a:lnTo>
                    <a:pt x="9525" y="150019"/>
                  </a:lnTo>
                  <a:cubicBezTo>
                    <a:pt x="8731" y="169863"/>
                    <a:pt x="7938" y="189706"/>
                    <a:pt x="0" y="211931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1" name="Freeform: Shape 88"/>
            <p:cNvSpPr/>
            <p:nvPr/>
          </p:nvSpPr>
          <p:spPr bwMode="auto">
            <a:xfrm>
              <a:off x="2440781" y="5141118"/>
              <a:ext cx="178594" cy="1095375"/>
            </a:xfrm>
            <a:custGeom>
              <a:avLst/>
              <a:gdLst>
                <a:gd name="connsiteX0" fmla="*/ 104775 w 178594"/>
                <a:gd name="connsiteY0" fmla="*/ 0 h 1092994"/>
                <a:gd name="connsiteX1" fmla="*/ 107157 w 178594"/>
                <a:gd name="connsiteY1" fmla="*/ 121444 h 1092994"/>
                <a:gd name="connsiteX2" fmla="*/ 97632 w 178594"/>
                <a:gd name="connsiteY2" fmla="*/ 209550 h 1092994"/>
                <a:gd name="connsiteX3" fmla="*/ 88107 w 178594"/>
                <a:gd name="connsiteY3" fmla="*/ 280988 h 1092994"/>
                <a:gd name="connsiteX4" fmla="*/ 78582 w 178594"/>
                <a:gd name="connsiteY4" fmla="*/ 295275 h 1092994"/>
                <a:gd name="connsiteX5" fmla="*/ 76200 w 178594"/>
                <a:gd name="connsiteY5" fmla="*/ 340519 h 1092994"/>
                <a:gd name="connsiteX6" fmla="*/ 69057 w 178594"/>
                <a:gd name="connsiteY6" fmla="*/ 369094 h 1092994"/>
                <a:gd name="connsiteX7" fmla="*/ 71438 w 178594"/>
                <a:gd name="connsiteY7" fmla="*/ 423863 h 1092994"/>
                <a:gd name="connsiteX8" fmla="*/ 45244 w 178594"/>
                <a:gd name="connsiteY8" fmla="*/ 533400 h 1092994"/>
                <a:gd name="connsiteX9" fmla="*/ 11907 w 178594"/>
                <a:gd name="connsiteY9" fmla="*/ 552450 h 1092994"/>
                <a:gd name="connsiteX10" fmla="*/ 26194 w 178594"/>
                <a:gd name="connsiteY10" fmla="*/ 597694 h 1092994"/>
                <a:gd name="connsiteX11" fmla="*/ 28575 w 178594"/>
                <a:gd name="connsiteY11" fmla="*/ 628650 h 1092994"/>
                <a:gd name="connsiteX12" fmla="*/ 23813 w 178594"/>
                <a:gd name="connsiteY12" fmla="*/ 683419 h 1092994"/>
                <a:gd name="connsiteX13" fmla="*/ 40482 w 178594"/>
                <a:gd name="connsiteY13" fmla="*/ 683419 h 1092994"/>
                <a:gd name="connsiteX14" fmla="*/ 52388 w 178594"/>
                <a:gd name="connsiteY14" fmla="*/ 692944 h 1092994"/>
                <a:gd name="connsiteX15" fmla="*/ 40482 w 178594"/>
                <a:gd name="connsiteY15" fmla="*/ 728663 h 1092994"/>
                <a:gd name="connsiteX16" fmla="*/ 38100 w 178594"/>
                <a:gd name="connsiteY16" fmla="*/ 769144 h 1092994"/>
                <a:gd name="connsiteX17" fmla="*/ 35719 w 178594"/>
                <a:gd name="connsiteY17" fmla="*/ 812006 h 1092994"/>
                <a:gd name="connsiteX18" fmla="*/ 23813 w 178594"/>
                <a:gd name="connsiteY18" fmla="*/ 850106 h 1092994"/>
                <a:gd name="connsiteX19" fmla="*/ 23813 w 178594"/>
                <a:gd name="connsiteY19" fmla="*/ 850106 h 1092994"/>
                <a:gd name="connsiteX20" fmla="*/ 14288 w 178594"/>
                <a:gd name="connsiteY20" fmla="*/ 885825 h 1092994"/>
                <a:gd name="connsiteX21" fmla="*/ 23813 w 178594"/>
                <a:gd name="connsiteY21" fmla="*/ 909638 h 1092994"/>
                <a:gd name="connsiteX22" fmla="*/ 9525 w 178594"/>
                <a:gd name="connsiteY22" fmla="*/ 912019 h 1092994"/>
                <a:gd name="connsiteX23" fmla="*/ 16669 w 178594"/>
                <a:gd name="connsiteY23" fmla="*/ 926306 h 1092994"/>
                <a:gd name="connsiteX24" fmla="*/ 0 w 178594"/>
                <a:gd name="connsiteY24" fmla="*/ 947738 h 1092994"/>
                <a:gd name="connsiteX25" fmla="*/ 19050 w 178594"/>
                <a:gd name="connsiteY25" fmla="*/ 950119 h 1092994"/>
                <a:gd name="connsiteX26" fmla="*/ 7144 w 178594"/>
                <a:gd name="connsiteY26" fmla="*/ 990600 h 1092994"/>
                <a:gd name="connsiteX27" fmla="*/ 16669 w 178594"/>
                <a:gd name="connsiteY27" fmla="*/ 1000125 h 1092994"/>
                <a:gd name="connsiteX28" fmla="*/ 23813 w 178594"/>
                <a:gd name="connsiteY28" fmla="*/ 1021556 h 1092994"/>
                <a:gd name="connsiteX29" fmla="*/ 16669 w 178594"/>
                <a:gd name="connsiteY29" fmla="*/ 1042988 h 1092994"/>
                <a:gd name="connsiteX30" fmla="*/ 33338 w 178594"/>
                <a:gd name="connsiteY30" fmla="*/ 1042988 h 1092994"/>
                <a:gd name="connsiteX31" fmla="*/ 47625 w 178594"/>
                <a:gd name="connsiteY31" fmla="*/ 1042988 h 1092994"/>
                <a:gd name="connsiteX32" fmla="*/ 57150 w 178594"/>
                <a:gd name="connsiteY32" fmla="*/ 1073944 h 1092994"/>
                <a:gd name="connsiteX33" fmla="*/ 85725 w 178594"/>
                <a:gd name="connsiteY33" fmla="*/ 1085850 h 1092994"/>
                <a:gd name="connsiteX34" fmla="*/ 102394 w 178594"/>
                <a:gd name="connsiteY34" fmla="*/ 1092994 h 1092994"/>
                <a:gd name="connsiteX35" fmla="*/ 123825 w 178594"/>
                <a:gd name="connsiteY35" fmla="*/ 1066800 h 1092994"/>
                <a:gd name="connsiteX36" fmla="*/ 92869 w 178594"/>
                <a:gd name="connsiteY36" fmla="*/ 1059656 h 1092994"/>
                <a:gd name="connsiteX37" fmla="*/ 76200 w 178594"/>
                <a:gd name="connsiteY37" fmla="*/ 1059656 h 1092994"/>
                <a:gd name="connsiteX38" fmla="*/ 57150 w 178594"/>
                <a:gd name="connsiteY38" fmla="*/ 1035844 h 1092994"/>
                <a:gd name="connsiteX39" fmla="*/ 57150 w 178594"/>
                <a:gd name="connsiteY39" fmla="*/ 1014413 h 1092994"/>
                <a:gd name="connsiteX40" fmla="*/ 38100 w 178594"/>
                <a:gd name="connsiteY40" fmla="*/ 1004888 h 1092994"/>
                <a:gd name="connsiteX41" fmla="*/ 26194 w 178594"/>
                <a:gd name="connsiteY41" fmla="*/ 995363 h 1092994"/>
                <a:gd name="connsiteX42" fmla="*/ 33338 w 178594"/>
                <a:gd name="connsiteY42" fmla="*/ 959644 h 1092994"/>
                <a:gd name="connsiteX43" fmla="*/ 45244 w 178594"/>
                <a:gd name="connsiteY43" fmla="*/ 900113 h 1092994"/>
                <a:gd name="connsiteX44" fmla="*/ 57150 w 178594"/>
                <a:gd name="connsiteY44" fmla="*/ 871538 h 1092994"/>
                <a:gd name="connsiteX45" fmla="*/ 76200 w 178594"/>
                <a:gd name="connsiteY45" fmla="*/ 802481 h 1092994"/>
                <a:gd name="connsiteX46" fmla="*/ 66675 w 178594"/>
                <a:gd name="connsiteY46" fmla="*/ 790575 h 1092994"/>
                <a:gd name="connsiteX47" fmla="*/ 69057 w 178594"/>
                <a:gd name="connsiteY47" fmla="*/ 776288 h 1092994"/>
                <a:gd name="connsiteX48" fmla="*/ 61913 w 178594"/>
                <a:gd name="connsiteY48" fmla="*/ 754856 h 1092994"/>
                <a:gd name="connsiteX49" fmla="*/ 57150 w 178594"/>
                <a:gd name="connsiteY49" fmla="*/ 714375 h 1092994"/>
                <a:gd name="connsiteX50" fmla="*/ 64294 w 178594"/>
                <a:gd name="connsiteY50" fmla="*/ 683419 h 1092994"/>
                <a:gd name="connsiteX51" fmla="*/ 64294 w 178594"/>
                <a:gd name="connsiteY51" fmla="*/ 647700 h 1092994"/>
                <a:gd name="connsiteX52" fmla="*/ 69057 w 178594"/>
                <a:gd name="connsiteY52" fmla="*/ 614363 h 1092994"/>
                <a:gd name="connsiteX53" fmla="*/ 80963 w 178594"/>
                <a:gd name="connsiteY53" fmla="*/ 583406 h 1092994"/>
                <a:gd name="connsiteX54" fmla="*/ 80963 w 178594"/>
                <a:gd name="connsiteY54" fmla="*/ 526256 h 1092994"/>
                <a:gd name="connsiteX55" fmla="*/ 95250 w 178594"/>
                <a:gd name="connsiteY55" fmla="*/ 500063 h 1092994"/>
                <a:gd name="connsiteX56" fmla="*/ 102394 w 178594"/>
                <a:gd name="connsiteY56" fmla="*/ 476250 h 1092994"/>
                <a:gd name="connsiteX57" fmla="*/ 111919 w 178594"/>
                <a:gd name="connsiteY57" fmla="*/ 435769 h 1092994"/>
                <a:gd name="connsiteX58" fmla="*/ 111919 w 178594"/>
                <a:gd name="connsiteY58" fmla="*/ 404813 h 1092994"/>
                <a:gd name="connsiteX59" fmla="*/ 97632 w 178594"/>
                <a:gd name="connsiteY59" fmla="*/ 383381 h 1092994"/>
                <a:gd name="connsiteX60" fmla="*/ 107157 w 178594"/>
                <a:gd name="connsiteY60" fmla="*/ 350044 h 1092994"/>
                <a:gd name="connsiteX61" fmla="*/ 121444 w 178594"/>
                <a:gd name="connsiteY61" fmla="*/ 285750 h 1092994"/>
                <a:gd name="connsiteX62" fmla="*/ 140494 w 178594"/>
                <a:gd name="connsiteY62" fmla="*/ 252413 h 1092994"/>
                <a:gd name="connsiteX63" fmla="*/ 152400 w 178594"/>
                <a:gd name="connsiteY63" fmla="*/ 223838 h 1092994"/>
                <a:gd name="connsiteX64" fmla="*/ 152400 w 178594"/>
                <a:gd name="connsiteY64" fmla="*/ 178594 h 1092994"/>
                <a:gd name="connsiteX65" fmla="*/ 173832 w 178594"/>
                <a:gd name="connsiteY65" fmla="*/ 154781 h 1092994"/>
                <a:gd name="connsiteX66" fmla="*/ 178594 w 178594"/>
                <a:gd name="connsiteY66" fmla="*/ 130969 h 1092994"/>
                <a:gd name="connsiteX67" fmla="*/ 166688 w 178594"/>
                <a:gd name="connsiteY67" fmla="*/ 126206 h 1092994"/>
                <a:gd name="connsiteX68" fmla="*/ 145257 w 178594"/>
                <a:gd name="connsiteY68" fmla="*/ 66675 h 1092994"/>
                <a:gd name="connsiteX69" fmla="*/ 147638 w 178594"/>
                <a:gd name="connsiteY69" fmla="*/ 38100 h 1092994"/>
                <a:gd name="connsiteX70" fmla="*/ 104775 w 178594"/>
                <a:gd name="connsiteY70" fmla="*/ 0 h 1092994"/>
                <a:gd name="connsiteX0" fmla="*/ 104775 w 178594"/>
                <a:gd name="connsiteY0" fmla="*/ 0 h 1092994"/>
                <a:gd name="connsiteX1" fmla="*/ 107157 w 178594"/>
                <a:gd name="connsiteY1" fmla="*/ 121444 h 1092994"/>
                <a:gd name="connsiteX2" fmla="*/ 97632 w 178594"/>
                <a:gd name="connsiteY2" fmla="*/ 209550 h 1092994"/>
                <a:gd name="connsiteX3" fmla="*/ 88107 w 178594"/>
                <a:gd name="connsiteY3" fmla="*/ 280988 h 1092994"/>
                <a:gd name="connsiteX4" fmla="*/ 78582 w 178594"/>
                <a:gd name="connsiteY4" fmla="*/ 295275 h 1092994"/>
                <a:gd name="connsiteX5" fmla="*/ 76200 w 178594"/>
                <a:gd name="connsiteY5" fmla="*/ 340519 h 1092994"/>
                <a:gd name="connsiteX6" fmla="*/ 69057 w 178594"/>
                <a:gd name="connsiteY6" fmla="*/ 369094 h 1092994"/>
                <a:gd name="connsiteX7" fmla="*/ 71438 w 178594"/>
                <a:gd name="connsiteY7" fmla="*/ 423863 h 1092994"/>
                <a:gd name="connsiteX8" fmla="*/ 45244 w 178594"/>
                <a:gd name="connsiteY8" fmla="*/ 533400 h 1092994"/>
                <a:gd name="connsiteX9" fmla="*/ 11907 w 178594"/>
                <a:gd name="connsiteY9" fmla="*/ 552450 h 1092994"/>
                <a:gd name="connsiteX10" fmla="*/ 26194 w 178594"/>
                <a:gd name="connsiteY10" fmla="*/ 597694 h 1092994"/>
                <a:gd name="connsiteX11" fmla="*/ 28575 w 178594"/>
                <a:gd name="connsiteY11" fmla="*/ 628650 h 1092994"/>
                <a:gd name="connsiteX12" fmla="*/ 23813 w 178594"/>
                <a:gd name="connsiteY12" fmla="*/ 683419 h 1092994"/>
                <a:gd name="connsiteX13" fmla="*/ 40482 w 178594"/>
                <a:gd name="connsiteY13" fmla="*/ 683419 h 1092994"/>
                <a:gd name="connsiteX14" fmla="*/ 52388 w 178594"/>
                <a:gd name="connsiteY14" fmla="*/ 692944 h 1092994"/>
                <a:gd name="connsiteX15" fmla="*/ 40482 w 178594"/>
                <a:gd name="connsiteY15" fmla="*/ 728663 h 1092994"/>
                <a:gd name="connsiteX16" fmla="*/ 38100 w 178594"/>
                <a:gd name="connsiteY16" fmla="*/ 769144 h 1092994"/>
                <a:gd name="connsiteX17" fmla="*/ 35719 w 178594"/>
                <a:gd name="connsiteY17" fmla="*/ 812006 h 1092994"/>
                <a:gd name="connsiteX18" fmla="*/ 23813 w 178594"/>
                <a:gd name="connsiteY18" fmla="*/ 850106 h 1092994"/>
                <a:gd name="connsiteX19" fmla="*/ 23813 w 178594"/>
                <a:gd name="connsiteY19" fmla="*/ 850106 h 1092994"/>
                <a:gd name="connsiteX20" fmla="*/ 14288 w 178594"/>
                <a:gd name="connsiteY20" fmla="*/ 885825 h 1092994"/>
                <a:gd name="connsiteX21" fmla="*/ 23813 w 178594"/>
                <a:gd name="connsiteY21" fmla="*/ 909638 h 1092994"/>
                <a:gd name="connsiteX22" fmla="*/ 9525 w 178594"/>
                <a:gd name="connsiteY22" fmla="*/ 912019 h 1092994"/>
                <a:gd name="connsiteX23" fmla="*/ 16669 w 178594"/>
                <a:gd name="connsiteY23" fmla="*/ 926306 h 1092994"/>
                <a:gd name="connsiteX24" fmla="*/ 0 w 178594"/>
                <a:gd name="connsiteY24" fmla="*/ 947738 h 1092994"/>
                <a:gd name="connsiteX25" fmla="*/ 19050 w 178594"/>
                <a:gd name="connsiteY25" fmla="*/ 950119 h 1092994"/>
                <a:gd name="connsiteX26" fmla="*/ 7144 w 178594"/>
                <a:gd name="connsiteY26" fmla="*/ 990600 h 1092994"/>
                <a:gd name="connsiteX27" fmla="*/ 16669 w 178594"/>
                <a:gd name="connsiteY27" fmla="*/ 1000125 h 1092994"/>
                <a:gd name="connsiteX28" fmla="*/ 23813 w 178594"/>
                <a:gd name="connsiteY28" fmla="*/ 1021556 h 1092994"/>
                <a:gd name="connsiteX29" fmla="*/ 16669 w 178594"/>
                <a:gd name="connsiteY29" fmla="*/ 1042988 h 1092994"/>
                <a:gd name="connsiteX30" fmla="*/ 33338 w 178594"/>
                <a:gd name="connsiteY30" fmla="*/ 1042988 h 1092994"/>
                <a:gd name="connsiteX31" fmla="*/ 47625 w 178594"/>
                <a:gd name="connsiteY31" fmla="*/ 1042988 h 1092994"/>
                <a:gd name="connsiteX32" fmla="*/ 57150 w 178594"/>
                <a:gd name="connsiteY32" fmla="*/ 1073944 h 1092994"/>
                <a:gd name="connsiteX33" fmla="*/ 85725 w 178594"/>
                <a:gd name="connsiteY33" fmla="*/ 1085850 h 1092994"/>
                <a:gd name="connsiteX34" fmla="*/ 102394 w 178594"/>
                <a:gd name="connsiteY34" fmla="*/ 1092994 h 1092994"/>
                <a:gd name="connsiteX35" fmla="*/ 123825 w 178594"/>
                <a:gd name="connsiteY35" fmla="*/ 1066800 h 1092994"/>
                <a:gd name="connsiteX36" fmla="*/ 92869 w 178594"/>
                <a:gd name="connsiteY36" fmla="*/ 1059656 h 1092994"/>
                <a:gd name="connsiteX37" fmla="*/ 76200 w 178594"/>
                <a:gd name="connsiteY37" fmla="*/ 1059656 h 1092994"/>
                <a:gd name="connsiteX38" fmla="*/ 57150 w 178594"/>
                <a:gd name="connsiteY38" fmla="*/ 1035844 h 1092994"/>
                <a:gd name="connsiteX39" fmla="*/ 57150 w 178594"/>
                <a:gd name="connsiteY39" fmla="*/ 1014413 h 1092994"/>
                <a:gd name="connsiteX40" fmla="*/ 38100 w 178594"/>
                <a:gd name="connsiteY40" fmla="*/ 1004888 h 1092994"/>
                <a:gd name="connsiteX41" fmla="*/ 26194 w 178594"/>
                <a:gd name="connsiteY41" fmla="*/ 995363 h 1092994"/>
                <a:gd name="connsiteX42" fmla="*/ 33338 w 178594"/>
                <a:gd name="connsiteY42" fmla="*/ 959644 h 1092994"/>
                <a:gd name="connsiteX43" fmla="*/ 45244 w 178594"/>
                <a:gd name="connsiteY43" fmla="*/ 900113 h 1092994"/>
                <a:gd name="connsiteX44" fmla="*/ 57150 w 178594"/>
                <a:gd name="connsiteY44" fmla="*/ 871538 h 1092994"/>
                <a:gd name="connsiteX45" fmla="*/ 76200 w 178594"/>
                <a:gd name="connsiteY45" fmla="*/ 802481 h 1092994"/>
                <a:gd name="connsiteX46" fmla="*/ 66675 w 178594"/>
                <a:gd name="connsiteY46" fmla="*/ 790575 h 1092994"/>
                <a:gd name="connsiteX47" fmla="*/ 69057 w 178594"/>
                <a:gd name="connsiteY47" fmla="*/ 776288 h 1092994"/>
                <a:gd name="connsiteX48" fmla="*/ 61913 w 178594"/>
                <a:gd name="connsiteY48" fmla="*/ 754856 h 1092994"/>
                <a:gd name="connsiteX49" fmla="*/ 57150 w 178594"/>
                <a:gd name="connsiteY49" fmla="*/ 714375 h 1092994"/>
                <a:gd name="connsiteX50" fmla="*/ 64294 w 178594"/>
                <a:gd name="connsiteY50" fmla="*/ 683419 h 1092994"/>
                <a:gd name="connsiteX51" fmla="*/ 64294 w 178594"/>
                <a:gd name="connsiteY51" fmla="*/ 647700 h 1092994"/>
                <a:gd name="connsiteX52" fmla="*/ 69057 w 178594"/>
                <a:gd name="connsiteY52" fmla="*/ 614363 h 1092994"/>
                <a:gd name="connsiteX53" fmla="*/ 80963 w 178594"/>
                <a:gd name="connsiteY53" fmla="*/ 583406 h 1092994"/>
                <a:gd name="connsiteX54" fmla="*/ 80963 w 178594"/>
                <a:gd name="connsiteY54" fmla="*/ 526256 h 1092994"/>
                <a:gd name="connsiteX55" fmla="*/ 95250 w 178594"/>
                <a:gd name="connsiteY55" fmla="*/ 500063 h 1092994"/>
                <a:gd name="connsiteX56" fmla="*/ 102394 w 178594"/>
                <a:gd name="connsiteY56" fmla="*/ 476250 h 1092994"/>
                <a:gd name="connsiteX57" fmla="*/ 111919 w 178594"/>
                <a:gd name="connsiteY57" fmla="*/ 435769 h 1092994"/>
                <a:gd name="connsiteX58" fmla="*/ 111919 w 178594"/>
                <a:gd name="connsiteY58" fmla="*/ 404813 h 1092994"/>
                <a:gd name="connsiteX59" fmla="*/ 97632 w 178594"/>
                <a:gd name="connsiteY59" fmla="*/ 383381 h 1092994"/>
                <a:gd name="connsiteX60" fmla="*/ 107157 w 178594"/>
                <a:gd name="connsiteY60" fmla="*/ 350044 h 1092994"/>
                <a:gd name="connsiteX61" fmla="*/ 121444 w 178594"/>
                <a:gd name="connsiteY61" fmla="*/ 285750 h 1092994"/>
                <a:gd name="connsiteX62" fmla="*/ 140494 w 178594"/>
                <a:gd name="connsiteY62" fmla="*/ 252413 h 1092994"/>
                <a:gd name="connsiteX63" fmla="*/ 152400 w 178594"/>
                <a:gd name="connsiteY63" fmla="*/ 223838 h 1092994"/>
                <a:gd name="connsiteX64" fmla="*/ 152400 w 178594"/>
                <a:gd name="connsiteY64" fmla="*/ 178594 h 1092994"/>
                <a:gd name="connsiteX65" fmla="*/ 173832 w 178594"/>
                <a:gd name="connsiteY65" fmla="*/ 154781 h 1092994"/>
                <a:gd name="connsiteX66" fmla="*/ 178594 w 178594"/>
                <a:gd name="connsiteY66" fmla="*/ 130969 h 1092994"/>
                <a:gd name="connsiteX67" fmla="*/ 166688 w 178594"/>
                <a:gd name="connsiteY67" fmla="*/ 126206 h 1092994"/>
                <a:gd name="connsiteX68" fmla="*/ 145257 w 178594"/>
                <a:gd name="connsiteY68" fmla="*/ 66675 h 1092994"/>
                <a:gd name="connsiteX69" fmla="*/ 147638 w 178594"/>
                <a:gd name="connsiteY69" fmla="*/ 38100 h 1092994"/>
                <a:gd name="connsiteX70" fmla="*/ 126207 w 178594"/>
                <a:gd name="connsiteY70" fmla="*/ 16669 h 1092994"/>
                <a:gd name="connsiteX71" fmla="*/ 104775 w 178594"/>
                <a:gd name="connsiteY71" fmla="*/ 0 h 1092994"/>
                <a:gd name="connsiteX0" fmla="*/ 104775 w 178594"/>
                <a:gd name="connsiteY0" fmla="*/ 2381 h 1095375"/>
                <a:gd name="connsiteX1" fmla="*/ 107157 w 178594"/>
                <a:gd name="connsiteY1" fmla="*/ 123825 h 1095375"/>
                <a:gd name="connsiteX2" fmla="*/ 97632 w 178594"/>
                <a:gd name="connsiteY2" fmla="*/ 211931 h 1095375"/>
                <a:gd name="connsiteX3" fmla="*/ 88107 w 178594"/>
                <a:gd name="connsiteY3" fmla="*/ 283369 h 1095375"/>
                <a:gd name="connsiteX4" fmla="*/ 78582 w 178594"/>
                <a:gd name="connsiteY4" fmla="*/ 297656 h 1095375"/>
                <a:gd name="connsiteX5" fmla="*/ 76200 w 178594"/>
                <a:gd name="connsiteY5" fmla="*/ 342900 h 1095375"/>
                <a:gd name="connsiteX6" fmla="*/ 69057 w 178594"/>
                <a:gd name="connsiteY6" fmla="*/ 371475 h 1095375"/>
                <a:gd name="connsiteX7" fmla="*/ 71438 w 178594"/>
                <a:gd name="connsiteY7" fmla="*/ 426244 h 1095375"/>
                <a:gd name="connsiteX8" fmla="*/ 45244 w 178594"/>
                <a:gd name="connsiteY8" fmla="*/ 535781 h 1095375"/>
                <a:gd name="connsiteX9" fmla="*/ 11907 w 178594"/>
                <a:gd name="connsiteY9" fmla="*/ 554831 h 1095375"/>
                <a:gd name="connsiteX10" fmla="*/ 26194 w 178594"/>
                <a:gd name="connsiteY10" fmla="*/ 600075 h 1095375"/>
                <a:gd name="connsiteX11" fmla="*/ 28575 w 178594"/>
                <a:gd name="connsiteY11" fmla="*/ 631031 h 1095375"/>
                <a:gd name="connsiteX12" fmla="*/ 23813 w 178594"/>
                <a:gd name="connsiteY12" fmla="*/ 685800 h 1095375"/>
                <a:gd name="connsiteX13" fmla="*/ 40482 w 178594"/>
                <a:gd name="connsiteY13" fmla="*/ 685800 h 1095375"/>
                <a:gd name="connsiteX14" fmla="*/ 52388 w 178594"/>
                <a:gd name="connsiteY14" fmla="*/ 695325 h 1095375"/>
                <a:gd name="connsiteX15" fmla="*/ 40482 w 178594"/>
                <a:gd name="connsiteY15" fmla="*/ 731044 h 1095375"/>
                <a:gd name="connsiteX16" fmla="*/ 38100 w 178594"/>
                <a:gd name="connsiteY16" fmla="*/ 771525 h 1095375"/>
                <a:gd name="connsiteX17" fmla="*/ 35719 w 178594"/>
                <a:gd name="connsiteY17" fmla="*/ 814387 h 1095375"/>
                <a:gd name="connsiteX18" fmla="*/ 23813 w 178594"/>
                <a:gd name="connsiteY18" fmla="*/ 852487 h 1095375"/>
                <a:gd name="connsiteX19" fmla="*/ 23813 w 178594"/>
                <a:gd name="connsiteY19" fmla="*/ 852487 h 1095375"/>
                <a:gd name="connsiteX20" fmla="*/ 14288 w 178594"/>
                <a:gd name="connsiteY20" fmla="*/ 888206 h 1095375"/>
                <a:gd name="connsiteX21" fmla="*/ 23813 w 178594"/>
                <a:gd name="connsiteY21" fmla="*/ 912019 h 1095375"/>
                <a:gd name="connsiteX22" fmla="*/ 9525 w 178594"/>
                <a:gd name="connsiteY22" fmla="*/ 914400 h 1095375"/>
                <a:gd name="connsiteX23" fmla="*/ 16669 w 178594"/>
                <a:gd name="connsiteY23" fmla="*/ 928687 h 1095375"/>
                <a:gd name="connsiteX24" fmla="*/ 0 w 178594"/>
                <a:gd name="connsiteY24" fmla="*/ 950119 h 1095375"/>
                <a:gd name="connsiteX25" fmla="*/ 19050 w 178594"/>
                <a:gd name="connsiteY25" fmla="*/ 952500 h 1095375"/>
                <a:gd name="connsiteX26" fmla="*/ 7144 w 178594"/>
                <a:gd name="connsiteY26" fmla="*/ 992981 h 1095375"/>
                <a:gd name="connsiteX27" fmla="*/ 16669 w 178594"/>
                <a:gd name="connsiteY27" fmla="*/ 1002506 h 1095375"/>
                <a:gd name="connsiteX28" fmla="*/ 23813 w 178594"/>
                <a:gd name="connsiteY28" fmla="*/ 1023937 h 1095375"/>
                <a:gd name="connsiteX29" fmla="*/ 16669 w 178594"/>
                <a:gd name="connsiteY29" fmla="*/ 1045369 h 1095375"/>
                <a:gd name="connsiteX30" fmla="*/ 33338 w 178594"/>
                <a:gd name="connsiteY30" fmla="*/ 1045369 h 1095375"/>
                <a:gd name="connsiteX31" fmla="*/ 47625 w 178594"/>
                <a:gd name="connsiteY31" fmla="*/ 1045369 h 1095375"/>
                <a:gd name="connsiteX32" fmla="*/ 57150 w 178594"/>
                <a:gd name="connsiteY32" fmla="*/ 1076325 h 1095375"/>
                <a:gd name="connsiteX33" fmla="*/ 85725 w 178594"/>
                <a:gd name="connsiteY33" fmla="*/ 1088231 h 1095375"/>
                <a:gd name="connsiteX34" fmla="*/ 102394 w 178594"/>
                <a:gd name="connsiteY34" fmla="*/ 1095375 h 1095375"/>
                <a:gd name="connsiteX35" fmla="*/ 123825 w 178594"/>
                <a:gd name="connsiteY35" fmla="*/ 1069181 h 1095375"/>
                <a:gd name="connsiteX36" fmla="*/ 92869 w 178594"/>
                <a:gd name="connsiteY36" fmla="*/ 1062037 h 1095375"/>
                <a:gd name="connsiteX37" fmla="*/ 76200 w 178594"/>
                <a:gd name="connsiteY37" fmla="*/ 1062037 h 1095375"/>
                <a:gd name="connsiteX38" fmla="*/ 57150 w 178594"/>
                <a:gd name="connsiteY38" fmla="*/ 1038225 h 1095375"/>
                <a:gd name="connsiteX39" fmla="*/ 57150 w 178594"/>
                <a:gd name="connsiteY39" fmla="*/ 1016794 h 1095375"/>
                <a:gd name="connsiteX40" fmla="*/ 38100 w 178594"/>
                <a:gd name="connsiteY40" fmla="*/ 1007269 h 1095375"/>
                <a:gd name="connsiteX41" fmla="*/ 26194 w 178594"/>
                <a:gd name="connsiteY41" fmla="*/ 997744 h 1095375"/>
                <a:gd name="connsiteX42" fmla="*/ 33338 w 178594"/>
                <a:gd name="connsiteY42" fmla="*/ 962025 h 1095375"/>
                <a:gd name="connsiteX43" fmla="*/ 45244 w 178594"/>
                <a:gd name="connsiteY43" fmla="*/ 902494 h 1095375"/>
                <a:gd name="connsiteX44" fmla="*/ 57150 w 178594"/>
                <a:gd name="connsiteY44" fmla="*/ 873919 h 1095375"/>
                <a:gd name="connsiteX45" fmla="*/ 76200 w 178594"/>
                <a:gd name="connsiteY45" fmla="*/ 804862 h 1095375"/>
                <a:gd name="connsiteX46" fmla="*/ 66675 w 178594"/>
                <a:gd name="connsiteY46" fmla="*/ 792956 h 1095375"/>
                <a:gd name="connsiteX47" fmla="*/ 69057 w 178594"/>
                <a:gd name="connsiteY47" fmla="*/ 778669 h 1095375"/>
                <a:gd name="connsiteX48" fmla="*/ 61913 w 178594"/>
                <a:gd name="connsiteY48" fmla="*/ 757237 h 1095375"/>
                <a:gd name="connsiteX49" fmla="*/ 57150 w 178594"/>
                <a:gd name="connsiteY49" fmla="*/ 716756 h 1095375"/>
                <a:gd name="connsiteX50" fmla="*/ 64294 w 178594"/>
                <a:gd name="connsiteY50" fmla="*/ 685800 h 1095375"/>
                <a:gd name="connsiteX51" fmla="*/ 64294 w 178594"/>
                <a:gd name="connsiteY51" fmla="*/ 650081 h 1095375"/>
                <a:gd name="connsiteX52" fmla="*/ 69057 w 178594"/>
                <a:gd name="connsiteY52" fmla="*/ 616744 h 1095375"/>
                <a:gd name="connsiteX53" fmla="*/ 80963 w 178594"/>
                <a:gd name="connsiteY53" fmla="*/ 585787 h 1095375"/>
                <a:gd name="connsiteX54" fmla="*/ 80963 w 178594"/>
                <a:gd name="connsiteY54" fmla="*/ 528637 h 1095375"/>
                <a:gd name="connsiteX55" fmla="*/ 95250 w 178594"/>
                <a:gd name="connsiteY55" fmla="*/ 502444 h 1095375"/>
                <a:gd name="connsiteX56" fmla="*/ 102394 w 178594"/>
                <a:gd name="connsiteY56" fmla="*/ 478631 h 1095375"/>
                <a:gd name="connsiteX57" fmla="*/ 111919 w 178594"/>
                <a:gd name="connsiteY57" fmla="*/ 438150 h 1095375"/>
                <a:gd name="connsiteX58" fmla="*/ 111919 w 178594"/>
                <a:gd name="connsiteY58" fmla="*/ 407194 h 1095375"/>
                <a:gd name="connsiteX59" fmla="*/ 97632 w 178594"/>
                <a:gd name="connsiteY59" fmla="*/ 385762 h 1095375"/>
                <a:gd name="connsiteX60" fmla="*/ 107157 w 178594"/>
                <a:gd name="connsiteY60" fmla="*/ 352425 h 1095375"/>
                <a:gd name="connsiteX61" fmla="*/ 121444 w 178594"/>
                <a:gd name="connsiteY61" fmla="*/ 288131 h 1095375"/>
                <a:gd name="connsiteX62" fmla="*/ 140494 w 178594"/>
                <a:gd name="connsiteY62" fmla="*/ 254794 h 1095375"/>
                <a:gd name="connsiteX63" fmla="*/ 152400 w 178594"/>
                <a:gd name="connsiteY63" fmla="*/ 226219 h 1095375"/>
                <a:gd name="connsiteX64" fmla="*/ 152400 w 178594"/>
                <a:gd name="connsiteY64" fmla="*/ 180975 h 1095375"/>
                <a:gd name="connsiteX65" fmla="*/ 173832 w 178594"/>
                <a:gd name="connsiteY65" fmla="*/ 157162 h 1095375"/>
                <a:gd name="connsiteX66" fmla="*/ 178594 w 178594"/>
                <a:gd name="connsiteY66" fmla="*/ 133350 h 1095375"/>
                <a:gd name="connsiteX67" fmla="*/ 166688 w 178594"/>
                <a:gd name="connsiteY67" fmla="*/ 128587 h 1095375"/>
                <a:gd name="connsiteX68" fmla="*/ 145257 w 178594"/>
                <a:gd name="connsiteY68" fmla="*/ 69056 h 1095375"/>
                <a:gd name="connsiteX69" fmla="*/ 147638 w 178594"/>
                <a:gd name="connsiteY69" fmla="*/ 40481 h 1095375"/>
                <a:gd name="connsiteX70" fmla="*/ 130969 w 178594"/>
                <a:gd name="connsiteY70" fmla="*/ 0 h 1095375"/>
                <a:gd name="connsiteX71" fmla="*/ 104775 w 178594"/>
                <a:gd name="connsiteY71" fmla="*/ 2381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78594" h="1095375">
                  <a:moveTo>
                    <a:pt x="104775" y="2381"/>
                  </a:moveTo>
                  <a:lnTo>
                    <a:pt x="107157" y="123825"/>
                  </a:lnTo>
                  <a:lnTo>
                    <a:pt x="97632" y="211931"/>
                  </a:lnTo>
                  <a:lnTo>
                    <a:pt x="88107" y="283369"/>
                  </a:lnTo>
                  <a:lnTo>
                    <a:pt x="78582" y="297656"/>
                  </a:lnTo>
                  <a:lnTo>
                    <a:pt x="76200" y="342900"/>
                  </a:lnTo>
                  <a:lnTo>
                    <a:pt x="69057" y="371475"/>
                  </a:lnTo>
                  <a:cubicBezTo>
                    <a:pt x="69851" y="389731"/>
                    <a:pt x="70644" y="407988"/>
                    <a:pt x="71438" y="426244"/>
                  </a:cubicBezTo>
                  <a:lnTo>
                    <a:pt x="45244" y="535781"/>
                  </a:lnTo>
                  <a:lnTo>
                    <a:pt x="11907" y="554831"/>
                  </a:lnTo>
                  <a:lnTo>
                    <a:pt x="26194" y="600075"/>
                  </a:lnTo>
                  <a:lnTo>
                    <a:pt x="28575" y="631031"/>
                  </a:lnTo>
                  <a:lnTo>
                    <a:pt x="23813" y="685800"/>
                  </a:lnTo>
                  <a:lnTo>
                    <a:pt x="40482" y="685800"/>
                  </a:lnTo>
                  <a:lnTo>
                    <a:pt x="52388" y="695325"/>
                  </a:lnTo>
                  <a:lnTo>
                    <a:pt x="40482" y="731044"/>
                  </a:lnTo>
                  <a:lnTo>
                    <a:pt x="38100" y="771525"/>
                  </a:lnTo>
                  <a:lnTo>
                    <a:pt x="35719" y="814387"/>
                  </a:lnTo>
                  <a:lnTo>
                    <a:pt x="23813" y="852487"/>
                  </a:lnTo>
                  <a:lnTo>
                    <a:pt x="23813" y="852487"/>
                  </a:lnTo>
                  <a:lnTo>
                    <a:pt x="14288" y="888206"/>
                  </a:lnTo>
                  <a:lnTo>
                    <a:pt x="23813" y="912019"/>
                  </a:lnTo>
                  <a:lnTo>
                    <a:pt x="9525" y="914400"/>
                  </a:lnTo>
                  <a:lnTo>
                    <a:pt x="16669" y="928687"/>
                  </a:lnTo>
                  <a:lnTo>
                    <a:pt x="0" y="950119"/>
                  </a:lnTo>
                  <a:lnTo>
                    <a:pt x="19050" y="952500"/>
                  </a:lnTo>
                  <a:lnTo>
                    <a:pt x="7144" y="992981"/>
                  </a:lnTo>
                  <a:lnTo>
                    <a:pt x="16669" y="1002506"/>
                  </a:lnTo>
                  <a:lnTo>
                    <a:pt x="23813" y="1023937"/>
                  </a:lnTo>
                  <a:lnTo>
                    <a:pt x="16669" y="1045369"/>
                  </a:lnTo>
                  <a:lnTo>
                    <a:pt x="33338" y="1045369"/>
                  </a:lnTo>
                  <a:lnTo>
                    <a:pt x="47625" y="1045369"/>
                  </a:lnTo>
                  <a:lnTo>
                    <a:pt x="57150" y="1076325"/>
                  </a:lnTo>
                  <a:lnTo>
                    <a:pt x="85725" y="1088231"/>
                  </a:lnTo>
                  <a:lnTo>
                    <a:pt x="102394" y="1095375"/>
                  </a:lnTo>
                  <a:lnTo>
                    <a:pt x="123825" y="1069181"/>
                  </a:lnTo>
                  <a:lnTo>
                    <a:pt x="92869" y="1062037"/>
                  </a:lnTo>
                  <a:lnTo>
                    <a:pt x="76200" y="1062037"/>
                  </a:lnTo>
                  <a:lnTo>
                    <a:pt x="57150" y="1038225"/>
                  </a:lnTo>
                  <a:lnTo>
                    <a:pt x="57150" y="1016794"/>
                  </a:lnTo>
                  <a:lnTo>
                    <a:pt x="38100" y="1007269"/>
                  </a:lnTo>
                  <a:lnTo>
                    <a:pt x="26194" y="997744"/>
                  </a:lnTo>
                  <a:lnTo>
                    <a:pt x="33338" y="962025"/>
                  </a:lnTo>
                  <a:lnTo>
                    <a:pt x="45244" y="902494"/>
                  </a:lnTo>
                  <a:lnTo>
                    <a:pt x="57150" y="873919"/>
                  </a:lnTo>
                  <a:lnTo>
                    <a:pt x="76200" y="804862"/>
                  </a:lnTo>
                  <a:lnTo>
                    <a:pt x="66675" y="792956"/>
                  </a:lnTo>
                  <a:lnTo>
                    <a:pt x="69057" y="778669"/>
                  </a:lnTo>
                  <a:lnTo>
                    <a:pt x="61913" y="757237"/>
                  </a:lnTo>
                  <a:lnTo>
                    <a:pt x="57150" y="716756"/>
                  </a:lnTo>
                  <a:lnTo>
                    <a:pt x="64294" y="685800"/>
                  </a:lnTo>
                  <a:lnTo>
                    <a:pt x="64294" y="650081"/>
                  </a:lnTo>
                  <a:lnTo>
                    <a:pt x="69057" y="616744"/>
                  </a:lnTo>
                  <a:lnTo>
                    <a:pt x="80963" y="585787"/>
                  </a:lnTo>
                  <a:lnTo>
                    <a:pt x="80963" y="528637"/>
                  </a:lnTo>
                  <a:lnTo>
                    <a:pt x="95250" y="502444"/>
                  </a:lnTo>
                  <a:lnTo>
                    <a:pt x="102394" y="478631"/>
                  </a:lnTo>
                  <a:lnTo>
                    <a:pt x="111919" y="438150"/>
                  </a:lnTo>
                  <a:lnTo>
                    <a:pt x="111919" y="407194"/>
                  </a:lnTo>
                  <a:lnTo>
                    <a:pt x="97632" y="385762"/>
                  </a:lnTo>
                  <a:lnTo>
                    <a:pt x="107157" y="352425"/>
                  </a:lnTo>
                  <a:lnTo>
                    <a:pt x="121444" y="288131"/>
                  </a:lnTo>
                  <a:lnTo>
                    <a:pt x="140494" y="254794"/>
                  </a:lnTo>
                  <a:lnTo>
                    <a:pt x="152400" y="226219"/>
                  </a:lnTo>
                  <a:lnTo>
                    <a:pt x="152400" y="180975"/>
                  </a:lnTo>
                  <a:lnTo>
                    <a:pt x="173832" y="157162"/>
                  </a:lnTo>
                  <a:lnTo>
                    <a:pt x="178594" y="133350"/>
                  </a:lnTo>
                  <a:lnTo>
                    <a:pt x="166688" y="128587"/>
                  </a:lnTo>
                  <a:lnTo>
                    <a:pt x="145257" y="69056"/>
                  </a:lnTo>
                  <a:lnTo>
                    <a:pt x="147638" y="40481"/>
                  </a:lnTo>
                  <a:lnTo>
                    <a:pt x="130969" y="0"/>
                  </a:lnTo>
                  <a:lnTo>
                    <a:pt x="104775" y="238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2" name="Freeform: Shape 89"/>
            <p:cNvSpPr/>
            <p:nvPr/>
          </p:nvSpPr>
          <p:spPr bwMode="auto">
            <a:xfrm>
              <a:off x="2724150" y="5176838"/>
              <a:ext cx="226219" cy="219075"/>
            </a:xfrm>
            <a:custGeom>
              <a:avLst/>
              <a:gdLst>
                <a:gd name="connsiteX0" fmla="*/ 0 w 226219"/>
                <a:gd name="connsiteY0" fmla="*/ 78581 h 219075"/>
                <a:gd name="connsiteX1" fmla="*/ 50006 w 226219"/>
                <a:gd name="connsiteY1" fmla="*/ 116681 h 219075"/>
                <a:gd name="connsiteX2" fmla="*/ 52388 w 226219"/>
                <a:gd name="connsiteY2" fmla="*/ 135731 h 219075"/>
                <a:gd name="connsiteX3" fmla="*/ 78581 w 226219"/>
                <a:gd name="connsiteY3" fmla="*/ 140493 h 219075"/>
                <a:gd name="connsiteX4" fmla="*/ 126206 w 226219"/>
                <a:gd name="connsiteY4" fmla="*/ 166687 h 219075"/>
                <a:gd name="connsiteX5" fmla="*/ 116681 w 226219"/>
                <a:gd name="connsiteY5" fmla="*/ 214312 h 219075"/>
                <a:gd name="connsiteX6" fmla="*/ 159544 w 226219"/>
                <a:gd name="connsiteY6" fmla="*/ 219075 h 219075"/>
                <a:gd name="connsiteX7" fmla="*/ 185738 w 226219"/>
                <a:gd name="connsiteY7" fmla="*/ 219075 h 219075"/>
                <a:gd name="connsiteX8" fmla="*/ 214313 w 226219"/>
                <a:gd name="connsiteY8" fmla="*/ 185737 h 219075"/>
                <a:gd name="connsiteX9" fmla="*/ 226219 w 226219"/>
                <a:gd name="connsiteY9" fmla="*/ 164306 h 219075"/>
                <a:gd name="connsiteX10" fmla="*/ 204788 w 226219"/>
                <a:gd name="connsiteY10" fmla="*/ 126206 h 219075"/>
                <a:gd name="connsiteX11" fmla="*/ 171450 w 226219"/>
                <a:gd name="connsiteY11" fmla="*/ 76200 h 219075"/>
                <a:gd name="connsiteX12" fmla="*/ 147638 w 226219"/>
                <a:gd name="connsiteY12" fmla="*/ 76200 h 219075"/>
                <a:gd name="connsiteX13" fmla="*/ 138113 w 226219"/>
                <a:gd name="connsiteY13" fmla="*/ 66675 h 219075"/>
                <a:gd name="connsiteX14" fmla="*/ 126206 w 226219"/>
                <a:gd name="connsiteY14" fmla="*/ 16668 h 219075"/>
                <a:gd name="connsiteX15" fmla="*/ 88106 w 226219"/>
                <a:gd name="connsiteY15" fmla="*/ 0 h 219075"/>
                <a:gd name="connsiteX16" fmla="*/ 40481 w 226219"/>
                <a:gd name="connsiteY16" fmla="*/ 0 h 219075"/>
                <a:gd name="connsiteX17" fmla="*/ 28575 w 226219"/>
                <a:gd name="connsiteY17" fmla="*/ 19050 h 219075"/>
                <a:gd name="connsiteX18" fmla="*/ 0 w 226219"/>
                <a:gd name="connsiteY18" fmla="*/ 78581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6219" h="219075">
                  <a:moveTo>
                    <a:pt x="0" y="78581"/>
                  </a:moveTo>
                  <a:lnTo>
                    <a:pt x="50006" y="116681"/>
                  </a:lnTo>
                  <a:lnTo>
                    <a:pt x="52388" y="135731"/>
                  </a:lnTo>
                  <a:lnTo>
                    <a:pt x="78581" y="140493"/>
                  </a:lnTo>
                  <a:lnTo>
                    <a:pt x="126206" y="166687"/>
                  </a:lnTo>
                  <a:lnTo>
                    <a:pt x="116681" y="214312"/>
                  </a:lnTo>
                  <a:lnTo>
                    <a:pt x="159544" y="219075"/>
                  </a:lnTo>
                  <a:lnTo>
                    <a:pt x="185738" y="219075"/>
                  </a:lnTo>
                  <a:lnTo>
                    <a:pt x="214313" y="185737"/>
                  </a:lnTo>
                  <a:lnTo>
                    <a:pt x="226219" y="164306"/>
                  </a:lnTo>
                  <a:lnTo>
                    <a:pt x="204788" y="126206"/>
                  </a:lnTo>
                  <a:lnTo>
                    <a:pt x="171450" y="76200"/>
                  </a:lnTo>
                  <a:lnTo>
                    <a:pt x="147638" y="76200"/>
                  </a:lnTo>
                  <a:lnTo>
                    <a:pt x="138113" y="66675"/>
                  </a:lnTo>
                  <a:lnTo>
                    <a:pt x="126206" y="16668"/>
                  </a:lnTo>
                  <a:lnTo>
                    <a:pt x="88106" y="0"/>
                  </a:lnTo>
                  <a:lnTo>
                    <a:pt x="40481" y="0"/>
                  </a:lnTo>
                  <a:lnTo>
                    <a:pt x="28575" y="19050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3" name="Freeform: Shape 90"/>
            <p:cNvSpPr/>
            <p:nvPr/>
          </p:nvSpPr>
          <p:spPr bwMode="auto">
            <a:xfrm>
              <a:off x="2847975" y="5472113"/>
              <a:ext cx="109538" cy="135731"/>
            </a:xfrm>
            <a:custGeom>
              <a:avLst/>
              <a:gdLst>
                <a:gd name="connsiteX0" fmla="*/ 23813 w 109538"/>
                <a:gd name="connsiteY0" fmla="*/ 0 h 135731"/>
                <a:gd name="connsiteX1" fmla="*/ 0 w 109538"/>
                <a:gd name="connsiteY1" fmla="*/ 100012 h 135731"/>
                <a:gd name="connsiteX2" fmla="*/ 0 w 109538"/>
                <a:gd name="connsiteY2" fmla="*/ 123825 h 135731"/>
                <a:gd name="connsiteX3" fmla="*/ 35719 w 109538"/>
                <a:gd name="connsiteY3" fmla="*/ 135731 h 135731"/>
                <a:gd name="connsiteX4" fmla="*/ 85725 w 109538"/>
                <a:gd name="connsiteY4" fmla="*/ 135731 h 135731"/>
                <a:gd name="connsiteX5" fmla="*/ 100013 w 109538"/>
                <a:gd name="connsiteY5" fmla="*/ 119062 h 135731"/>
                <a:gd name="connsiteX6" fmla="*/ 109538 w 109538"/>
                <a:gd name="connsiteY6" fmla="*/ 73818 h 135731"/>
                <a:gd name="connsiteX7" fmla="*/ 85725 w 109538"/>
                <a:gd name="connsiteY7" fmla="*/ 21431 h 135731"/>
                <a:gd name="connsiteX8" fmla="*/ 23813 w 109538"/>
                <a:gd name="connsiteY8" fmla="*/ 0 h 135731"/>
                <a:gd name="connsiteX0" fmla="*/ 23813 w 109538"/>
                <a:gd name="connsiteY0" fmla="*/ 0 h 135731"/>
                <a:gd name="connsiteX1" fmla="*/ 0 w 109538"/>
                <a:gd name="connsiteY1" fmla="*/ 100012 h 135731"/>
                <a:gd name="connsiteX2" fmla="*/ 0 w 109538"/>
                <a:gd name="connsiteY2" fmla="*/ 123825 h 135731"/>
                <a:gd name="connsiteX3" fmla="*/ 35719 w 109538"/>
                <a:gd name="connsiteY3" fmla="*/ 135731 h 135731"/>
                <a:gd name="connsiteX4" fmla="*/ 85725 w 109538"/>
                <a:gd name="connsiteY4" fmla="*/ 135731 h 135731"/>
                <a:gd name="connsiteX5" fmla="*/ 100013 w 109538"/>
                <a:gd name="connsiteY5" fmla="*/ 119062 h 135731"/>
                <a:gd name="connsiteX6" fmla="*/ 109538 w 109538"/>
                <a:gd name="connsiteY6" fmla="*/ 73818 h 135731"/>
                <a:gd name="connsiteX7" fmla="*/ 85725 w 109538"/>
                <a:gd name="connsiteY7" fmla="*/ 21431 h 135731"/>
                <a:gd name="connsiteX8" fmla="*/ 54769 w 109538"/>
                <a:gd name="connsiteY8" fmla="*/ 7143 h 135731"/>
                <a:gd name="connsiteX9" fmla="*/ 23813 w 109538"/>
                <a:gd name="connsiteY9" fmla="*/ 0 h 135731"/>
                <a:gd name="connsiteX0" fmla="*/ 23813 w 109538"/>
                <a:gd name="connsiteY0" fmla="*/ 0 h 135731"/>
                <a:gd name="connsiteX1" fmla="*/ 0 w 109538"/>
                <a:gd name="connsiteY1" fmla="*/ 100012 h 135731"/>
                <a:gd name="connsiteX2" fmla="*/ 0 w 109538"/>
                <a:gd name="connsiteY2" fmla="*/ 123825 h 135731"/>
                <a:gd name="connsiteX3" fmla="*/ 35719 w 109538"/>
                <a:gd name="connsiteY3" fmla="*/ 135731 h 135731"/>
                <a:gd name="connsiteX4" fmla="*/ 85725 w 109538"/>
                <a:gd name="connsiteY4" fmla="*/ 135731 h 135731"/>
                <a:gd name="connsiteX5" fmla="*/ 100013 w 109538"/>
                <a:gd name="connsiteY5" fmla="*/ 119062 h 135731"/>
                <a:gd name="connsiteX6" fmla="*/ 109538 w 109538"/>
                <a:gd name="connsiteY6" fmla="*/ 73818 h 135731"/>
                <a:gd name="connsiteX7" fmla="*/ 85725 w 109538"/>
                <a:gd name="connsiteY7" fmla="*/ 21431 h 135731"/>
                <a:gd name="connsiteX8" fmla="*/ 54769 w 109538"/>
                <a:gd name="connsiteY8" fmla="*/ 21430 h 135731"/>
                <a:gd name="connsiteX9" fmla="*/ 23813 w 109538"/>
                <a:gd name="connsiteY9" fmla="*/ 0 h 135731"/>
                <a:gd name="connsiteX0" fmla="*/ 23813 w 109538"/>
                <a:gd name="connsiteY0" fmla="*/ 0 h 135731"/>
                <a:gd name="connsiteX1" fmla="*/ 14288 w 109538"/>
                <a:gd name="connsiteY1" fmla="*/ 28575 h 135731"/>
                <a:gd name="connsiteX2" fmla="*/ 0 w 109538"/>
                <a:gd name="connsiteY2" fmla="*/ 100012 h 135731"/>
                <a:gd name="connsiteX3" fmla="*/ 0 w 109538"/>
                <a:gd name="connsiteY3" fmla="*/ 123825 h 135731"/>
                <a:gd name="connsiteX4" fmla="*/ 35719 w 109538"/>
                <a:gd name="connsiteY4" fmla="*/ 135731 h 135731"/>
                <a:gd name="connsiteX5" fmla="*/ 85725 w 109538"/>
                <a:gd name="connsiteY5" fmla="*/ 135731 h 135731"/>
                <a:gd name="connsiteX6" fmla="*/ 100013 w 109538"/>
                <a:gd name="connsiteY6" fmla="*/ 119062 h 135731"/>
                <a:gd name="connsiteX7" fmla="*/ 109538 w 109538"/>
                <a:gd name="connsiteY7" fmla="*/ 73818 h 135731"/>
                <a:gd name="connsiteX8" fmla="*/ 85725 w 109538"/>
                <a:gd name="connsiteY8" fmla="*/ 21431 h 135731"/>
                <a:gd name="connsiteX9" fmla="*/ 54769 w 109538"/>
                <a:gd name="connsiteY9" fmla="*/ 21430 h 135731"/>
                <a:gd name="connsiteX10" fmla="*/ 23813 w 109538"/>
                <a:gd name="connsiteY10" fmla="*/ 0 h 135731"/>
                <a:gd name="connsiteX0" fmla="*/ 23813 w 109538"/>
                <a:gd name="connsiteY0" fmla="*/ 0 h 135731"/>
                <a:gd name="connsiteX1" fmla="*/ 4763 w 109538"/>
                <a:gd name="connsiteY1" fmla="*/ 26194 h 135731"/>
                <a:gd name="connsiteX2" fmla="*/ 0 w 109538"/>
                <a:gd name="connsiteY2" fmla="*/ 100012 h 135731"/>
                <a:gd name="connsiteX3" fmla="*/ 0 w 109538"/>
                <a:gd name="connsiteY3" fmla="*/ 123825 h 135731"/>
                <a:gd name="connsiteX4" fmla="*/ 35719 w 109538"/>
                <a:gd name="connsiteY4" fmla="*/ 135731 h 135731"/>
                <a:gd name="connsiteX5" fmla="*/ 85725 w 109538"/>
                <a:gd name="connsiteY5" fmla="*/ 135731 h 135731"/>
                <a:gd name="connsiteX6" fmla="*/ 100013 w 109538"/>
                <a:gd name="connsiteY6" fmla="*/ 119062 h 135731"/>
                <a:gd name="connsiteX7" fmla="*/ 109538 w 109538"/>
                <a:gd name="connsiteY7" fmla="*/ 73818 h 135731"/>
                <a:gd name="connsiteX8" fmla="*/ 85725 w 109538"/>
                <a:gd name="connsiteY8" fmla="*/ 21431 h 135731"/>
                <a:gd name="connsiteX9" fmla="*/ 54769 w 109538"/>
                <a:gd name="connsiteY9" fmla="*/ 21430 h 135731"/>
                <a:gd name="connsiteX10" fmla="*/ 23813 w 109538"/>
                <a:gd name="connsiteY10" fmla="*/ 0 h 13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538" h="135731">
                  <a:moveTo>
                    <a:pt x="23813" y="0"/>
                  </a:moveTo>
                  <a:lnTo>
                    <a:pt x="4763" y="26194"/>
                  </a:lnTo>
                  <a:lnTo>
                    <a:pt x="0" y="100012"/>
                  </a:lnTo>
                  <a:lnTo>
                    <a:pt x="0" y="123825"/>
                  </a:lnTo>
                  <a:lnTo>
                    <a:pt x="35719" y="135731"/>
                  </a:lnTo>
                  <a:lnTo>
                    <a:pt x="85725" y="135731"/>
                  </a:lnTo>
                  <a:lnTo>
                    <a:pt x="100013" y="119062"/>
                  </a:lnTo>
                  <a:lnTo>
                    <a:pt x="109538" y="73818"/>
                  </a:lnTo>
                  <a:lnTo>
                    <a:pt x="85725" y="21431"/>
                  </a:lnTo>
                  <a:lnTo>
                    <a:pt x="54769" y="21430"/>
                  </a:lnTo>
                  <a:lnTo>
                    <a:pt x="23813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4" name="Freeform: Shape 91"/>
            <p:cNvSpPr/>
            <p:nvPr/>
          </p:nvSpPr>
          <p:spPr bwMode="auto">
            <a:xfrm>
              <a:off x="2471738" y="5250656"/>
              <a:ext cx="481012" cy="957263"/>
            </a:xfrm>
            <a:custGeom>
              <a:avLst/>
              <a:gdLst>
                <a:gd name="connsiteX0" fmla="*/ 395287 w 481012"/>
                <a:gd name="connsiteY0" fmla="*/ 214313 h 957263"/>
                <a:gd name="connsiteX1" fmla="*/ 481012 w 481012"/>
                <a:gd name="connsiteY1" fmla="*/ 140494 h 957263"/>
                <a:gd name="connsiteX2" fmla="*/ 481012 w 481012"/>
                <a:gd name="connsiteY2" fmla="*/ 100013 h 957263"/>
                <a:gd name="connsiteX3" fmla="*/ 435768 w 481012"/>
                <a:gd name="connsiteY3" fmla="*/ 140494 h 957263"/>
                <a:gd name="connsiteX4" fmla="*/ 364331 w 481012"/>
                <a:gd name="connsiteY4" fmla="*/ 140494 h 957263"/>
                <a:gd name="connsiteX5" fmla="*/ 385762 w 481012"/>
                <a:gd name="connsiteY5" fmla="*/ 92869 h 957263"/>
                <a:gd name="connsiteX6" fmla="*/ 328612 w 481012"/>
                <a:gd name="connsiteY6" fmla="*/ 71438 h 957263"/>
                <a:gd name="connsiteX7" fmla="*/ 304800 w 481012"/>
                <a:gd name="connsiteY7" fmla="*/ 61913 h 957263"/>
                <a:gd name="connsiteX8" fmla="*/ 304800 w 481012"/>
                <a:gd name="connsiteY8" fmla="*/ 42863 h 957263"/>
                <a:gd name="connsiteX9" fmla="*/ 247650 w 481012"/>
                <a:gd name="connsiteY9" fmla="*/ 2382 h 957263"/>
                <a:gd name="connsiteX10" fmla="*/ 195262 w 481012"/>
                <a:gd name="connsiteY10" fmla="*/ 16669 h 957263"/>
                <a:gd name="connsiteX11" fmla="*/ 178593 w 481012"/>
                <a:gd name="connsiteY11" fmla="*/ 0 h 957263"/>
                <a:gd name="connsiteX12" fmla="*/ 145256 w 481012"/>
                <a:gd name="connsiteY12" fmla="*/ 23813 h 957263"/>
                <a:gd name="connsiteX13" fmla="*/ 145256 w 481012"/>
                <a:gd name="connsiteY13" fmla="*/ 47625 h 957263"/>
                <a:gd name="connsiteX14" fmla="*/ 119062 w 481012"/>
                <a:gd name="connsiteY14" fmla="*/ 69057 h 957263"/>
                <a:gd name="connsiteX15" fmla="*/ 126206 w 481012"/>
                <a:gd name="connsiteY15" fmla="*/ 123825 h 957263"/>
                <a:gd name="connsiteX16" fmla="*/ 85725 w 481012"/>
                <a:gd name="connsiteY16" fmla="*/ 202407 h 957263"/>
                <a:gd name="connsiteX17" fmla="*/ 69056 w 481012"/>
                <a:gd name="connsiteY17" fmla="*/ 278607 h 957263"/>
                <a:gd name="connsiteX18" fmla="*/ 78581 w 481012"/>
                <a:gd name="connsiteY18" fmla="*/ 304800 h 957263"/>
                <a:gd name="connsiteX19" fmla="*/ 83343 w 481012"/>
                <a:gd name="connsiteY19" fmla="*/ 347663 h 957263"/>
                <a:gd name="connsiteX20" fmla="*/ 66675 w 481012"/>
                <a:gd name="connsiteY20" fmla="*/ 383382 h 957263"/>
                <a:gd name="connsiteX21" fmla="*/ 50006 w 481012"/>
                <a:gd name="connsiteY21" fmla="*/ 423863 h 957263"/>
                <a:gd name="connsiteX22" fmla="*/ 50006 w 481012"/>
                <a:gd name="connsiteY22" fmla="*/ 471488 h 957263"/>
                <a:gd name="connsiteX23" fmla="*/ 40481 w 481012"/>
                <a:gd name="connsiteY23" fmla="*/ 504825 h 957263"/>
                <a:gd name="connsiteX24" fmla="*/ 33337 w 481012"/>
                <a:gd name="connsiteY24" fmla="*/ 542925 h 957263"/>
                <a:gd name="connsiteX25" fmla="*/ 33337 w 481012"/>
                <a:gd name="connsiteY25" fmla="*/ 590550 h 957263"/>
                <a:gd name="connsiteX26" fmla="*/ 26193 w 481012"/>
                <a:gd name="connsiteY26" fmla="*/ 626269 h 957263"/>
                <a:gd name="connsiteX27" fmla="*/ 40481 w 481012"/>
                <a:gd name="connsiteY27" fmla="*/ 671513 h 957263"/>
                <a:gd name="connsiteX28" fmla="*/ 40481 w 481012"/>
                <a:gd name="connsiteY28" fmla="*/ 683419 h 957263"/>
                <a:gd name="connsiteX29" fmla="*/ 45243 w 481012"/>
                <a:gd name="connsiteY29" fmla="*/ 704850 h 957263"/>
                <a:gd name="connsiteX30" fmla="*/ 11906 w 481012"/>
                <a:gd name="connsiteY30" fmla="*/ 795338 h 957263"/>
                <a:gd name="connsiteX31" fmla="*/ 0 w 481012"/>
                <a:gd name="connsiteY31" fmla="*/ 895350 h 957263"/>
                <a:gd name="connsiteX32" fmla="*/ 23812 w 481012"/>
                <a:gd name="connsiteY32" fmla="*/ 912019 h 957263"/>
                <a:gd name="connsiteX33" fmla="*/ 28575 w 481012"/>
                <a:gd name="connsiteY33" fmla="*/ 933450 h 957263"/>
                <a:gd name="connsiteX34" fmla="*/ 45243 w 481012"/>
                <a:gd name="connsiteY34" fmla="*/ 947738 h 957263"/>
                <a:gd name="connsiteX35" fmla="*/ 95250 w 481012"/>
                <a:gd name="connsiteY35" fmla="*/ 957263 h 957263"/>
                <a:gd name="connsiteX36" fmla="*/ 104775 w 481012"/>
                <a:gd name="connsiteY36" fmla="*/ 954882 h 957263"/>
                <a:gd name="connsiteX37" fmla="*/ 95250 w 481012"/>
                <a:gd name="connsiteY37" fmla="*/ 926307 h 957263"/>
                <a:gd name="connsiteX38" fmla="*/ 92868 w 481012"/>
                <a:gd name="connsiteY38" fmla="*/ 904875 h 957263"/>
                <a:gd name="connsiteX39" fmla="*/ 111918 w 481012"/>
                <a:gd name="connsiteY39" fmla="*/ 878682 h 957263"/>
                <a:gd name="connsiteX40" fmla="*/ 176212 w 481012"/>
                <a:gd name="connsiteY40" fmla="*/ 800100 h 957263"/>
                <a:gd name="connsiteX41" fmla="*/ 178593 w 481012"/>
                <a:gd name="connsiteY41" fmla="*/ 776288 h 957263"/>
                <a:gd name="connsiteX42" fmla="*/ 159543 w 481012"/>
                <a:gd name="connsiteY42" fmla="*/ 762000 h 957263"/>
                <a:gd name="connsiteX43" fmla="*/ 147637 w 481012"/>
                <a:gd name="connsiteY43" fmla="*/ 750094 h 957263"/>
                <a:gd name="connsiteX44" fmla="*/ 135731 w 481012"/>
                <a:gd name="connsiteY44" fmla="*/ 738188 h 957263"/>
                <a:gd name="connsiteX45" fmla="*/ 140493 w 481012"/>
                <a:gd name="connsiteY45" fmla="*/ 709613 h 957263"/>
                <a:gd name="connsiteX46" fmla="*/ 157162 w 481012"/>
                <a:gd name="connsiteY46" fmla="*/ 692944 h 957263"/>
                <a:gd name="connsiteX47" fmla="*/ 180975 w 481012"/>
                <a:gd name="connsiteY47" fmla="*/ 690563 h 957263"/>
                <a:gd name="connsiteX48" fmla="*/ 197643 w 481012"/>
                <a:gd name="connsiteY48" fmla="*/ 642938 h 957263"/>
                <a:gd name="connsiteX49" fmla="*/ 207168 w 481012"/>
                <a:gd name="connsiteY49" fmla="*/ 616744 h 957263"/>
                <a:gd name="connsiteX50" fmla="*/ 207168 w 481012"/>
                <a:gd name="connsiteY50" fmla="*/ 590550 h 957263"/>
                <a:gd name="connsiteX51" fmla="*/ 192881 w 481012"/>
                <a:gd name="connsiteY51" fmla="*/ 573882 h 957263"/>
                <a:gd name="connsiteX52" fmla="*/ 192881 w 481012"/>
                <a:gd name="connsiteY52" fmla="*/ 547688 h 957263"/>
                <a:gd name="connsiteX53" fmla="*/ 202406 w 481012"/>
                <a:gd name="connsiteY53" fmla="*/ 540544 h 957263"/>
                <a:gd name="connsiteX54" fmla="*/ 240506 w 481012"/>
                <a:gd name="connsiteY54" fmla="*/ 557213 h 957263"/>
                <a:gd name="connsiteX55" fmla="*/ 254793 w 481012"/>
                <a:gd name="connsiteY55" fmla="*/ 552450 h 957263"/>
                <a:gd name="connsiteX56" fmla="*/ 261937 w 481012"/>
                <a:gd name="connsiteY56" fmla="*/ 538163 h 957263"/>
                <a:gd name="connsiteX57" fmla="*/ 266700 w 481012"/>
                <a:gd name="connsiteY57" fmla="*/ 511969 h 957263"/>
                <a:gd name="connsiteX58" fmla="*/ 266700 w 481012"/>
                <a:gd name="connsiteY58" fmla="*/ 490538 h 957263"/>
                <a:gd name="connsiteX59" fmla="*/ 292893 w 481012"/>
                <a:gd name="connsiteY59" fmla="*/ 488157 h 957263"/>
                <a:gd name="connsiteX60" fmla="*/ 350043 w 481012"/>
                <a:gd name="connsiteY60" fmla="*/ 483394 h 957263"/>
                <a:gd name="connsiteX61" fmla="*/ 390525 w 481012"/>
                <a:gd name="connsiteY61" fmla="*/ 450057 h 957263"/>
                <a:gd name="connsiteX62" fmla="*/ 400050 w 481012"/>
                <a:gd name="connsiteY62" fmla="*/ 431007 h 957263"/>
                <a:gd name="connsiteX63" fmla="*/ 397668 w 481012"/>
                <a:gd name="connsiteY63" fmla="*/ 409575 h 957263"/>
                <a:gd name="connsiteX64" fmla="*/ 390525 w 481012"/>
                <a:gd name="connsiteY64" fmla="*/ 388144 h 957263"/>
                <a:gd name="connsiteX65" fmla="*/ 390525 w 481012"/>
                <a:gd name="connsiteY65" fmla="*/ 371475 h 957263"/>
                <a:gd name="connsiteX66" fmla="*/ 371475 w 481012"/>
                <a:gd name="connsiteY66" fmla="*/ 359569 h 957263"/>
                <a:gd name="connsiteX67" fmla="*/ 357187 w 481012"/>
                <a:gd name="connsiteY67" fmla="*/ 340519 h 957263"/>
                <a:gd name="connsiteX68" fmla="*/ 371475 w 481012"/>
                <a:gd name="connsiteY68" fmla="*/ 328613 h 957263"/>
                <a:gd name="connsiteX69" fmla="*/ 395287 w 481012"/>
                <a:gd name="connsiteY69" fmla="*/ 214313 h 95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481012" h="957263">
                  <a:moveTo>
                    <a:pt x="395287" y="214313"/>
                  </a:moveTo>
                  <a:lnTo>
                    <a:pt x="481012" y="140494"/>
                  </a:lnTo>
                  <a:lnTo>
                    <a:pt x="481012" y="100013"/>
                  </a:lnTo>
                  <a:lnTo>
                    <a:pt x="435768" y="140494"/>
                  </a:lnTo>
                  <a:lnTo>
                    <a:pt x="364331" y="140494"/>
                  </a:lnTo>
                  <a:lnTo>
                    <a:pt x="385762" y="92869"/>
                  </a:lnTo>
                  <a:lnTo>
                    <a:pt x="328612" y="71438"/>
                  </a:lnTo>
                  <a:lnTo>
                    <a:pt x="304800" y="61913"/>
                  </a:lnTo>
                  <a:lnTo>
                    <a:pt x="304800" y="42863"/>
                  </a:lnTo>
                  <a:lnTo>
                    <a:pt x="247650" y="2382"/>
                  </a:lnTo>
                  <a:lnTo>
                    <a:pt x="195262" y="16669"/>
                  </a:lnTo>
                  <a:lnTo>
                    <a:pt x="178593" y="0"/>
                  </a:lnTo>
                  <a:lnTo>
                    <a:pt x="145256" y="23813"/>
                  </a:lnTo>
                  <a:lnTo>
                    <a:pt x="145256" y="47625"/>
                  </a:lnTo>
                  <a:lnTo>
                    <a:pt x="119062" y="69057"/>
                  </a:lnTo>
                  <a:lnTo>
                    <a:pt x="126206" y="123825"/>
                  </a:lnTo>
                  <a:lnTo>
                    <a:pt x="85725" y="202407"/>
                  </a:lnTo>
                  <a:lnTo>
                    <a:pt x="69056" y="278607"/>
                  </a:lnTo>
                  <a:lnTo>
                    <a:pt x="78581" y="304800"/>
                  </a:lnTo>
                  <a:lnTo>
                    <a:pt x="83343" y="347663"/>
                  </a:lnTo>
                  <a:lnTo>
                    <a:pt x="66675" y="383382"/>
                  </a:lnTo>
                  <a:lnTo>
                    <a:pt x="50006" y="423863"/>
                  </a:lnTo>
                  <a:lnTo>
                    <a:pt x="50006" y="471488"/>
                  </a:lnTo>
                  <a:lnTo>
                    <a:pt x="40481" y="504825"/>
                  </a:lnTo>
                  <a:lnTo>
                    <a:pt x="33337" y="542925"/>
                  </a:lnTo>
                  <a:lnTo>
                    <a:pt x="33337" y="590550"/>
                  </a:lnTo>
                  <a:lnTo>
                    <a:pt x="26193" y="626269"/>
                  </a:lnTo>
                  <a:lnTo>
                    <a:pt x="40481" y="671513"/>
                  </a:lnTo>
                  <a:lnTo>
                    <a:pt x="40481" y="683419"/>
                  </a:lnTo>
                  <a:lnTo>
                    <a:pt x="45243" y="704850"/>
                  </a:lnTo>
                  <a:lnTo>
                    <a:pt x="11906" y="795338"/>
                  </a:lnTo>
                  <a:lnTo>
                    <a:pt x="0" y="895350"/>
                  </a:lnTo>
                  <a:lnTo>
                    <a:pt x="23812" y="912019"/>
                  </a:lnTo>
                  <a:lnTo>
                    <a:pt x="28575" y="933450"/>
                  </a:lnTo>
                  <a:lnTo>
                    <a:pt x="45243" y="947738"/>
                  </a:lnTo>
                  <a:lnTo>
                    <a:pt x="95250" y="957263"/>
                  </a:lnTo>
                  <a:lnTo>
                    <a:pt x="104775" y="954882"/>
                  </a:lnTo>
                  <a:lnTo>
                    <a:pt x="95250" y="926307"/>
                  </a:lnTo>
                  <a:lnTo>
                    <a:pt x="92868" y="904875"/>
                  </a:lnTo>
                  <a:lnTo>
                    <a:pt x="111918" y="878682"/>
                  </a:lnTo>
                  <a:lnTo>
                    <a:pt x="176212" y="800100"/>
                  </a:lnTo>
                  <a:lnTo>
                    <a:pt x="178593" y="776288"/>
                  </a:lnTo>
                  <a:lnTo>
                    <a:pt x="159543" y="762000"/>
                  </a:lnTo>
                  <a:lnTo>
                    <a:pt x="147637" y="750094"/>
                  </a:lnTo>
                  <a:lnTo>
                    <a:pt x="135731" y="738188"/>
                  </a:lnTo>
                  <a:lnTo>
                    <a:pt x="140493" y="709613"/>
                  </a:lnTo>
                  <a:lnTo>
                    <a:pt x="157162" y="692944"/>
                  </a:lnTo>
                  <a:lnTo>
                    <a:pt x="180975" y="690563"/>
                  </a:lnTo>
                  <a:lnTo>
                    <a:pt x="197643" y="642938"/>
                  </a:lnTo>
                  <a:lnTo>
                    <a:pt x="207168" y="616744"/>
                  </a:lnTo>
                  <a:lnTo>
                    <a:pt x="207168" y="590550"/>
                  </a:lnTo>
                  <a:lnTo>
                    <a:pt x="192881" y="573882"/>
                  </a:lnTo>
                  <a:lnTo>
                    <a:pt x="192881" y="547688"/>
                  </a:lnTo>
                  <a:lnTo>
                    <a:pt x="202406" y="540544"/>
                  </a:lnTo>
                  <a:lnTo>
                    <a:pt x="240506" y="557213"/>
                  </a:lnTo>
                  <a:lnTo>
                    <a:pt x="254793" y="552450"/>
                  </a:lnTo>
                  <a:lnTo>
                    <a:pt x="261937" y="538163"/>
                  </a:lnTo>
                  <a:lnTo>
                    <a:pt x="266700" y="511969"/>
                  </a:lnTo>
                  <a:lnTo>
                    <a:pt x="266700" y="490538"/>
                  </a:lnTo>
                  <a:lnTo>
                    <a:pt x="292893" y="488157"/>
                  </a:lnTo>
                  <a:lnTo>
                    <a:pt x="350043" y="483394"/>
                  </a:lnTo>
                  <a:lnTo>
                    <a:pt x="390525" y="450057"/>
                  </a:lnTo>
                  <a:lnTo>
                    <a:pt x="400050" y="431007"/>
                  </a:lnTo>
                  <a:lnTo>
                    <a:pt x="397668" y="409575"/>
                  </a:lnTo>
                  <a:lnTo>
                    <a:pt x="390525" y="388144"/>
                  </a:lnTo>
                  <a:lnTo>
                    <a:pt x="390525" y="371475"/>
                  </a:lnTo>
                  <a:lnTo>
                    <a:pt x="371475" y="359569"/>
                  </a:lnTo>
                  <a:lnTo>
                    <a:pt x="357187" y="340519"/>
                  </a:lnTo>
                  <a:lnTo>
                    <a:pt x="371475" y="328613"/>
                  </a:lnTo>
                  <a:lnTo>
                    <a:pt x="395287" y="21431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5" name="Freeform: Shape 92"/>
            <p:cNvSpPr/>
            <p:nvPr/>
          </p:nvSpPr>
          <p:spPr bwMode="auto">
            <a:xfrm>
              <a:off x="2576513" y="6236494"/>
              <a:ext cx="95250" cy="88106"/>
            </a:xfrm>
            <a:custGeom>
              <a:avLst/>
              <a:gdLst>
                <a:gd name="connsiteX0" fmla="*/ 0 w 95250"/>
                <a:gd name="connsiteY0" fmla="*/ 0 h 88106"/>
                <a:gd name="connsiteX1" fmla="*/ 16668 w 95250"/>
                <a:gd name="connsiteY1" fmla="*/ 88106 h 88106"/>
                <a:gd name="connsiteX2" fmla="*/ 45243 w 95250"/>
                <a:gd name="connsiteY2" fmla="*/ 85725 h 88106"/>
                <a:gd name="connsiteX3" fmla="*/ 95250 w 95250"/>
                <a:gd name="connsiteY3" fmla="*/ 88106 h 88106"/>
                <a:gd name="connsiteX4" fmla="*/ 50006 w 95250"/>
                <a:gd name="connsiteY4" fmla="*/ 54769 h 88106"/>
                <a:gd name="connsiteX5" fmla="*/ 0 w 95250"/>
                <a:gd name="connsiteY5" fmla="*/ 0 h 8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88106">
                  <a:moveTo>
                    <a:pt x="0" y="0"/>
                  </a:moveTo>
                  <a:lnTo>
                    <a:pt x="16668" y="88106"/>
                  </a:lnTo>
                  <a:lnTo>
                    <a:pt x="45243" y="85725"/>
                  </a:lnTo>
                  <a:lnTo>
                    <a:pt x="95250" y="88106"/>
                  </a:lnTo>
                  <a:lnTo>
                    <a:pt x="50006" y="5476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: Shape 93"/>
            <p:cNvSpPr/>
            <p:nvPr/>
          </p:nvSpPr>
          <p:spPr bwMode="auto">
            <a:xfrm>
              <a:off x="2519363" y="6238875"/>
              <a:ext cx="71437" cy="95250"/>
            </a:xfrm>
            <a:custGeom>
              <a:avLst/>
              <a:gdLst>
                <a:gd name="connsiteX0" fmla="*/ 61912 w 71437"/>
                <a:gd name="connsiteY0" fmla="*/ 0 h 95250"/>
                <a:gd name="connsiteX1" fmla="*/ 71437 w 71437"/>
                <a:gd name="connsiteY1" fmla="*/ 92869 h 95250"/>
                <a:gd name="connsiteX2" fmla="*/ 47625 w 71437"/>
                <a:gd name="connsiteY2" fmla="*/ 95250 h 95250"/>
                <a:gd name="connsiteX3" fmla="*/ 0 w 71437"/>
                <a:gd name="connsiteY3" fmla="*/ 71438 h 95250"/>
                <a:gd name="connsiteX4" fmla="*/ 38100 w 71437"/>
                <a:gd name="connsiteY4" fmla="*/ 64294 h 95250"/>
                <a:gd name="connsiteX5" fmla="*/ 50006 w 71437"/>
                <a:gd name="connsiteY5" fmla="*/ 50006 h 95250"/>
                <a:gd name="connsiteX6" fmla="*/ 61912 w 71437"/>
                <a:gd name="connsiteY6" fmla="*/ 0 h 95250"/>
                <a:gd name="connsiteX0" fmla="*/ 61912 w 71437"/>
                <a:gd name="connsiteY0" fmla="*/ 0 h 95250"/>
                <a:gd name="connsiteX1" fmla="*/ 71437 w 71437"/>
                <a:gd name="connsiteY1" fmla="*/ 92869 h 95250"/>
                <a:gd name="connsiteX2" fmla="*/ 47625 w 71437"/>
                <a:gd name="connsiteY2" fmla="*/ 95250 h 95250"/>
                <a:gd name="connsiteX3" fmla="*/ 0 w 71437"/>
                <a:gd name="connsiteY3" fmla="*/ 71438 h 95250"/>
                <a:gd name="connsiteX4" fmla="*/ 38100 w 71437"/>
                <a:gd name="connsiteY4" fmla="*/ 64294 h 95250"/>
                <a:gd name="connsiteX5" fmla="*/ 38100 w 71437"/>
                <a:gd name="connsiteY5" fmla="*/ 35719 h 95250"/>
                <a:gd name="connsiteX6" fmla="*/ 61912 w 71437"/>
                <a:gd name="connsiteY6" fmla="*/ 0 h 95250"/>
                <a:gd name="connsiteX0" fmla="*/ 61912 w 71437"/>
                <a:gd name="connsiteY0" fmla="*/ 0 h 95250"/>
                <a:gd name="connsiteX1" fmla="*/ 47625 w 71437"/>
                <a:gd name="connsiteY1" fmla="*/ 14288 h 95250"/>
                <a:gd name="connsiteX2" fmla="*/ 71437 w 71437"/>
                <a:gd name="connsiteY2" fmla="*/ 92869 h 95250"/>
                <a:gd name="connsiteX3" fmla="*/ 47625 w 71437"/>
                <a:gd name="connsiteY3" fmla="*/ 95250 h 95250"/>
                <a:gd name="connsiteX4" fmla="*/ 0 w 71437"/>
                <a:gd name="connsiteY4" fmla="*/ 71438 h 95250"/>
                <a:gd name="connsiteX5" fmla="*/ 38100 w 71437"/>
                <a:gd name="connsiteY5" fmla="*/ 64294 h 95250"/>
                <a:gd name="connsiteX6" fmla="*/ 38100 w 71437"/>
                <a:gd name="connsiteY6" fmla="*/ 35719 h 95250"/>
                <a:gd name="connsiteX7" fmla="*/ 61912 w 71437"/>
                <a:gd name="connsiteY7" fmla="*/ 0 h 95250"/>
                <a:gd name="connsiteX0" fmla="*/ 61912 w 71437"/>
                <a:gd name="connsiteY0" fmla="*/ 0 h 95250"/>
                <a:gd name="connsiteX1" fmla="*/ 47625 w 71437"/>
                <a:gd name="connsiteY1" fmla="*/ 14288 h 95250"/>
                <a:gd name="connsiteX2" fmla="*/ 71437 w 71437"/>
                <a:gd name="connsiteY2" fmla="*/ 92869 h 95250"/>
                <a:gd name="connsiteX3" fmla="*/ 47625 w 71437"/>
                <a:gd name="connsiteY3" fmla="*/ 95250 h 95250"/>
                <a:gd name="connsiteX4" fmla="*/ 0 w 71437"/>
                <a:gd name="connsiteY4" fmla="*/ 71438 h 95250"/>
                <a:gd name="connsiteX5" fmla="*/ 38100 w 71437"/>
                <a:gd name="connsiteY5" fmla="*/ 64294 h 95250"/>
                <a:gd name="connsiteX6" fmla="*/ 16669 w 71437"/>
                <a:gd name="connsiteY6" fmla="*/ 11907 h 95250"/>
                <a:gd name="connsiteX7" fmla="*/ 61912 w 71437"/>
                <a:gd name="connsiteY7" fmla="*/ 0 h 95250"/>
                <a:gd name="connsiteX0" fmla="*/ 61912 w 71437"/>
                <a:gd name="connsiteY0" fmla="*/ 0 h 95250"/>
                <a:gd name="connsiteX1" fmla="*/ 59531 w 71437"/>
                <a:gd name="connsiteY1" fmla="*/ 30956 h 95250"/>
                <a:gd name="connsiteX2" fmla="*/ 71437 w 71437"/>
                <a:gd name="connsiteY2" fmla="*/ 92869 h 95250"/>
                <a:gd name="connsiteX3" fmla="*/ 47625 w 71437"/>
                <a:gd name="connsiteY3" fmla="*/ 95250 h 95250"/>
                <a:gd name="connsiteX4" fmla="*/ 0 w 71437"/>
                <a:gd name="connsiteY4" fmla="*/ 71438 h 95250"/>
                <a:gd name="connsiteX5" fmla="*/ 38100 w 71437"/>
                <a:gd name="connsiteY5" fmla="*/ 64294 h 95250"/>
                <a:gd name="connsiteX6" fmla="*/ 16669 w 71437"/>
                <a:gd name="connsiteY6" fmla="*/ 11907 h 95250"/>
                <a:gd name="connsiteX7" fmla="*/ 61912 w 71437"/>
                <a:gd name="connsiteY7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7" h="95250">
                  <a:moveTo>
                    <a:pt x="61912" y="0"/>
                  </a:moveTo>
                  <a:lnTo>
                    <a:pt x="59531" y="30956"/>
                  </a:lnTo>
                  <a:lnTo>
                    <a:pt x="71437" y="92869"/>
                  </a:lnTo>
                  <a:lnTo>
                    <a:pt x="47625" y="95250"/>
                  </a:lnTo>
                  <a:lnTo>
                    <a:pt x="0" y="71438"/>
                  </a:lnTo>
                  <a:lnTo>
                    <a:pt x="38100" y="64294"/>
                  </a:lnTo>
                  <a:lnTo>
                    <a:pt x="16669" y="11907"/>
                  </a:lnTo>
                  <a:lnTo>
                    <a:pt x="61912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7" name="Freeform: Shape 94"/>
            <p:cNvSpPr/>
            <p:nvPr/>
          </p:nvSpPr>
          <p:spPr bwMode="auto">
            <a:xfrm>
              <a:off x="3688556" y="2474119"/>
              <a:ext cx="257175" cy="178594"/>
            </a:xfrm>
            <a:custGeom>
              <a:avLst/>
              <a:gdLst>
                <a:gd name="connsiteX0" fmla="*/ 76200 w 257175"/>
                <a:gd name="connsiteY0" fmla="*/ 150019 h 178594"/>
                <a:gd name="connsiteX1" fmla="*/ 140494 w 257175"/>
                <a:gd name="connsiteY1" fmla="*/ 178594 h 178594"/>
                <a:gd name="connsiteX2" fmla="*/ 164307 w 257175"/>
                <a:gd name="connsiteY2" fmla="*/ 154781 h 178594"/>
                <a:gd name="connsiteX3" fmla="*/ 204788 w 257175"/>
                <a:gd name="connsiteY3" fmla="*/ 130969 h 178594"/>
                <a:gd name="connsiteX4" fmla="*/ 242888 w 257175"/>
                <a:gd name="connsiteY4" fmla="*/ 121444 h 178594"/>
                <a:gd name="connsiteX5" fmla="*/ 247650 w 257175"/>
                <a:gd name="connsiteY5" fmla="*/ 95250 h 178594"/>
                <a:gd name="connsiteX6" fmla="*/ 257175 w 257175"/>
                <a:gd name="connsiteY6" fmla="*/ 71437 h 178594"/>
                <a:gd name="connsiteX7" fmla="*/ 252413 w 257175"/>
                <a:gd name="connsiteY7" fmla="*/ 57150 h 178594"/>
                <a:gd name="connsiteX8" fmla="*/ 235744 w 257175"/>
                <a:gd name="connsiteY8" fmla="*/ 54769 h 178594"/>
                <a:gd name="connsiteX9" fmla="*/ 221457 w 257175"/>
                <a:gd name="connsiteY9" fmla="*/ 33337 h 178594"/>
                <a:gd name="connsiteX10" fmla="*/ 197644 w 257175"/>
                <a:gd name="connsiteY10" fmla="*/ 0 h 178594"/>
                <a:gd name="connsiteX11" fmla="*/ 192882 w 257175"/>
                <a:gd name="connsiteY11" fmla="*/ 26194 h 178594"/>
                <a:gd name="connsiteX12" fmla="*/ 178594 w 257175"/>
                <a:gd name="connsiteY12" fmla="*/ 26194 h 178594"/>
                <a:gd name="connsiteX13" fmla="*/ 166688 w 257175"/>
                <a:gd name="connsiteY13" fmla="*/ 35719 h 178594"/>
                <a:gd name="connsiteX14" fmla="*/ 147638 w 257175"/>
                <a:gd name="connsiteY14" fmla="*/ 26194 h 178594"/>
                <a:gd name="connsiteX15" fmla="*/ 157163 w 257175"/>
                <a:gd name="connsiteY15" fmla="*/ 57150 h 178594"/>
                <a:gd name="connsiteX16" fmla="*/ 133350 w 257175"/>
                <a:gd name="connsiteY16" fmla="*/ 30956 h 178594"/>
                <a:gd name="connsiteX17" fmla="*/ 126207 w 257175"/>
                <a:gd name="connsiteY17" fmla="*/ 50006 h 178594"/>
                <a:gd name="connsiteX18" fmla="*/ 100013 w 257175"/>
                <a:gd name="connsiteY18" fmla="*/ 28575 h 178594"/>
                <a:gd name="connsiteX19" fmla="*/ 90488 w 257175"/>
                <a:gd name="connsiteY19" fmla="*/ 61912 h 178594"/>
                <a:gd name="connsiteX20" fmla="*/ 78582 w 257175"/>
                <a:gd name="connsiteY20" fmla="*/ 83344 h 178594"/>
                <a:gd name="connsiteX21" fmla="*/ 64294 w 257175"/>
                <a:gd name="connsiteY21" fmla="*/ 57150 h 178594"/>
                <a:gd name="connsiteX22" fmla="*/ 66675 w 257175"/>
                <a:gd name="connsiteY22" fmla="*/ 35719 h 178594"/>
                <a:gd name="connsiteX23" fmla="*/ 47625 w 257175"/>
                <a:gd name="connsiteY23" fmla="*/ 16669 h 178594"/>
                <a:gd name="connsiteX24" fmla="*/ 40482 w 257175"/>
                <a:gd name="connsiteY24" fmla="*/ 35719 h 178594"/>
                <a:gd name="connsiteX25" fmla="*/ 19050 w 257175"/>
                <a:gd name="connsiteY25" fmla="*/ 30956 h 178594"/>
                <a:gd name="connsiteX26" fmla="*/ 0 w 257175"/>
                <a:gd name="connsiteY26" fmla="*/ 57150 h 178594"/>
                <a:gd name="connsiteX27" fmla="*/ 38100 w 257175"/>
                <a:gd name="connsiteY27" fmla="*/ 59531 h 178594"/>
                <a:gd name="connsiteX28" fmla="*/ 61913 w 257175"/>
                <a:gd name="connsiteY28" fmla="*/ 78581 h 178594"/>
                <a:gd name="connsiteX29" fmla="*/ 54769 w 257175"/>
                <a:gd name="connsiteY29" fmla="*/ 92869 h 178594"/>
                <a:gd name="connsiteX30" fmla="*/ 9525 w 257175"/>
                <a:gd name="connsiteY30" fmla="*/ 102394 h 178594"/>
                <a:gd name="connsiteX31" fmla="*/ 76200 w 257175"/>
                <a:gd name="connsiteY31" fmla="*/ 150019 h 178594"/>
                <a:gd name="connsiteX0" fmla="*/ 76200 w 257175"/>
                <a:gd name="connsiteY0" fmla="*/ 150019 h 178594"/>
                <a:gd name="connsiteX1" fmla="*/ 69057 w 257175"/>
                <a:gd name="connsiteY1" fmla="*/ 145256 h 178594"/>
                <a:gd name="connsiteX2" fmla="*/ 140494 w 257175"/>
                <a:gd name="connsiteY2" fmla="*/ 178594 h 178594"/>
                <a:gd name="connsiteX3" fmla="*/ 164307 w 257175"/>
                <a:gd name="connsiteY3" fmla="*/ 154781 h 178594"/>
                <a:gd name="connsiteX4" fmla="*/ 204788 w 257175"/>
                <a:gd name="connsiteY4" fmla="*/ 130969 h 178594"/>
                <a:gd name="connsiteX5" fmla="*/ 242888 w 257175"/>
                <a:gd name="connsiteY5" fmla="*/ 121444 h 178594"/>
                <a:gd name="connsiteX6" fmla="*/ 247650 w 257175"/>
                <a:gd name="connsiteY6" fmla="*/ 95250 h 178594"/>
                <a:gd name="connsiteX7" fmla="*/ 257175 w 257175"/>
                <a:gd name="connsiteY7" fmla="*/ 71437 h 178594"/>
                <a:gd name="connsiteX8" fmla="*/ 252413 w 257175"/>
                <a:gd name="connsiteY8" fmla="*/ 57150 h 178594"/>
                <a:gd name="connsiteX9" fmla="*/ 235744 w 257175"/>
                <a:gd name="connsiteY9" fmla="*/ 54769 h 178594"/>
                <a:gd name="connsiteX10" fmla="*/ 221457 w 257175"/>
                <a:gd name="connsiteY10" fmla="*/ 33337 h 178594"/>
                <a:gd name="connsiteX11" fmla="*/ 197644 w 257175"/>
                <a:gd name="connsiteY11" fmla="*/ 0 h 178594"/>
                <a:gd name="connsiteX12" fmla="*/ 192882 w 257175"/>
                <a:gd name="connsiteY12" fmla="*/ 26194 h 178594"/>
                <a:gd name="connsiteX13" fmla="*/ 178594 w 257175"/>
                <a:gd name="connsiteY13" fmla="*/ 26194 h 178594"/>
                <a:gd name="connsiteX14" fmla="*/ 166688 w 257175"/>
                <a:gd name="connsiteY14" fmla="*/ 35719 h 178594"/>
                <a:gd name="connsiteX15" fmla="*/ 147638 w 257175"/>
                <a:gd name="connsiteY15" fmla="*/ 26194 h 178594"/>
                <a:gd name="connsiteX16" fmla="*/ 157163 w 257175"/>
                <a:gd name="connsiteY16" fmla="*/ 57150 h 178594"/>
                <a:gd name="connsiteX17" fmla="*/ 133350 w 257175"/>
                <a:gd name="connsiteY17" fmla="*/ 30956 h 178594"/>
                <a:gd name="connsiteX18" fmla="*/ 126207 w 257175"/>
                <a:gd name="connsiteY18" fmla="*/ 50006 h 178594"/>
                <a:gd name="connsiteX19" fmla="*/ 100013 w 257175"/>
                <a:gd name="connsiteY19" fmla="*/ 28575 h 178594"/>
                <a:gd name="connsiteX20" fmla="*/ 90488 w 257175"/>
                <a:gd name="connsiteY20" fmla="*/ 61912 h 178594"/>
                <a:gd name="connsiteX21" fmla="*/ 78582 w 257175"/>
                <a:gd name="connsiteY21" fmla="*/ 83344 h 178594"/>
                <a:gd name="connsiteX22" fmla="*/ 64294 w 257175"/>
                <a:gd name="connsiteY22" fmla="*/ 57150 h 178594"/>
                <a:gd name="connsiteX23" fmla="*/ 66675 w 257175"/>
                <a:gd name="connsiteY23" fmla="*/ 35719 h 178594"/>
                <a:gd name="connsiteX24" fmla="*/ 47625 w 257175"/>
                <a:gd name="connsiteY24" fmla="*/ 16669 h 178594"/>
                <a:gd name="connsiteX25" fmla="*/ 40482 w 257175"/>
                <a:gd name="connsiteY25" fmla="*/ 35719 h 178594"/>
                <a:gd name="connsiteX26" fmla="*/ 19050 w 257175"/>
                <a:gd name="connsiteY26" fmla="*/ 30956 h 178594"/>
                <a:gd name="connsiteX27" fmla="*/ 0 w 257175"/>
                <a:gd name="connsiteY27" fmla="*/ 57150 h 178594"/>
                <a:gd name="connsiteX28" fmla="*/ 38100 w 257175"/>
                <a:gd name="connsiteY28" fmla="*/ 59531 h 178594"/>
                <a:gd name="connsiteX29" fmla="*/ 61913 w 257175"/>
                <a:gd name="connsiteY29" fmla="*/ 78581 h 178594"/>
                <a:gd name="connsiteX30" fmla="*/ 54769 w 257175"/>
                <a:gd name="connsiteY30" fmla="*/ 92869 h 178594"/>
                <a:gd name="connsiteX31" fmla="*/ 9525 w 257175"/>
                <a:gd name="connsiteY31" fmla="*/ 102394 h 178594"/>
                <a:gd name="connsiteX32" fmla="*/ 76200 w 257175"/>
                <a:gd name="connsiteY32" fmla="*/ 150019 h 178594"/>
                <a:gd name="connsiteX0" fmla="*/ 57150 w 257175"/>
                <a:gd name="connsiteY0" fmla="*/ 161925 h 178594"/>
                <a:gd name="connsiteX1" fmla="*/ 69057 w 257175"/>
                <a:gd name="connsiteY1" fmla="*/ 145256 h 178594"/>
                <a:gd name="connsiteX2" fmla="*/ 140494 w 257175"/>
                <a:gd name="connsiteY2" fmla="*/ 178594 h 178594"/>
                <a:gd name="connsiteX3" fmla="*/ 164307 w 257175"/>
                <a:gd name="connsiteY3" fmla="*/ 154781 h 178594"/>
                <a:gd name="connsiteX4" fmla="*/ 204788 w 257175"/>
                <a:gd name="connsiteY4" fmla="*/ 130969 h 178594"/>
                <a:gd name="connsiteX5" fmla="*/ 242888 w 257175"/>
                <a:gd name="connsiteY5" fmla="*/ 121444 h 178594"/>
                <a:gd name="connsiteX6" fmla="*/ 247650 w 257175"/>
                <a:gd name="connsiteY6" fmla="*/ 95250 h 178594"/>
                <a:gd name="connsiteX7" fmla="*/ 257175 w 257175"/>
                <a:gd name="connsiteY7" fmla="*/ 71437 h 178594"/>
                <a:gd name="connsiteX8" fmla="*/ 252413 w 257175"/>
                <a:gd name="connsiteY8" fmla="*/ 57150 h 178594"/>
                <a:gd name="connsiteX9" fmla="*/ 235744 w 257175"/>
                <a:gd name="connsiteY9" fmla="*/ 54769 h 178594"/>
                <a:gd name="connsiteX10" fmla="*/ 221457 w 257175"/>
                <a:gd name="connsiteY10" fmla="*/ 33337 h 178594"/>
                <a:gd name="connsiteX11" fmla="*/ 197644 w 257175"/>
                <a:gd name="connsiteY11" fmla="*/ 0 h 178594"/>
                <a:gd name="connsiteX12" fmla="*/ 192882 w 257175"/>
                <a:gd name="connsiteY12" fmla="*/ 26194 h 178594"/>
                <a:gd name="connsiteX13" fmla="*/ 178594 w 257175"/>
                <a:gd name="connsiteY13" fmla="*/ 26194 h 178594"/>
                <a:gd name="connsiteX14" fmla="*/ 166688 w 257175"/>
                <a:gd name="connsiteY14" fmla="*/ 35719 h 178594"/>
                <a:gd name="connsiteX15" fmla="*/ 147638 w 257175"/>
                <a:gd name="connsiteY15" fmla="*/ 26194 h 178594"/>
                <a:gd name="connsiteX16" fmla="*/ 157163 w 257175"/>
                <a:gd name="connsiteY16" fmla="*/ 57150 h 178594"/>
                <a:gd name="connsiteX17" fmla="*/ 133350 w 257175"/>
                <a:gd name="connsiteY17" fmla="*/ 30956 h 178594"/>
                <a:gd name="connsiteX18" fmla="*/ 126207 w 257175"/>
                <a:gd name="connsiteY18" fmla="*/ 50006 h 178594"/>
                <a:gd name="connsiteX19" fmla="*/ 100013 w 257175"/>
                <a:gd name="connsiteY19" fmla="*/ 28575 h 178594"/>
                <a:gd name="connsiteX20" fmla="*/ 90488 w 257175"/>
                <a:gd name="connsiteY20" fmla="*/ 61912 h 178594"/>
                <a:gd name="connsiteX21" fmla="*/ 78582 w 257175"/>
                <a:gd name="connsiteY21" fmla="*/ 83344 h 178594"/>
                <a:gd name="connsiteX22" fmla="*/ 64294 w 257175"/>
                <a:gd name="connsiteY22" fmla="*/ 57150 h 178594"/>
                <a:gd name="connsiteX23" fmla="*/ 66675 w 257175"/>
                <a:gd name="connsiteY23" fmla="*/ 35719 h 178594"/>
                <a:gd name="connsiteX24" fmla="*/ 47625 w 257175"/>
                <a:gd name="connsiteY24" fmla="*/ 16669 h 178594"/>
                <a:gd name="connsiteX25" fmla="*/ 40482 w 257175"/>
                <a:gd name="connsiteY25" fmla="*/ 35719 h 178594"/>
                <a:gd name="connsiteX26" fmla="*/ 19050 w 257175"/>
                <a:gd name="connsiteY26" fmla="*/ 30956 h 178594"/>
                <a:gd name="connsiteX27" fmla="*/ 0 w 257175"/>
                <a:gd name="connsiteY27" fmla="*/ 57150 h 178594"/>
                <a:gd name="connsiteX28" fmla="*/ 38100 w 257175"/>
                <a:gd name="connsiteY28" fmla="*/ 59531 h 178594"/>
                <a:gd name="connsiteX29" fmla="*/ 61913 w 257175"/>
                <a:gd name="connsiteY29" fmla="*/ 78581 h 178594"/>
                <a:gd name="connsiteX30" fmla="*/ 54769 w 257175"/>
                <a:gd name="connsiteY30" fmla="*/ 92869 h 178594"/>
                <a:gd name="connsiteX31" fmla="*/ 9525 w 257175"/>
                <a:gd name="connsiteY31" fmla="*/ 102394 h 178594"/>
                <a:gd name="connsiteX32" fmla="*/ 57150 w 257175"/>
                <a:gd name="connsiteY32" fmla="*/ 161925 h 17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57175" h="178594">
                  <a:moveTo>
                    <a:pt x="57150" y="161925"/>
                  </a:moveTo>
                  <a:lnTo>
                    <a:pt x="69057" y="145256"/>
                  </a:lnTo>
                  <a:lnTo>
                    <a:pt x="140494" y="178594"/>
                  </a:lnTo>
                  <a:lnTo>
                    <a:pt x="164307" y="154781"/>
                  </a:lnTo>
                  <a:lnTo>
                    <a:pt x="204788" y="130969"/>
                  </a:lnTo>
                  <a:lnTo>
                    <a:pt x="242888" y="121444"/>
                  </a:lnTo>
                  <a:lnTo>
                    <a:pt x="247650" y="95250"/>
                  </a:lnTo>
                  <a:lnTo>
                    <a:pt x="257175" y="71437"/>
                  </a:lnTo>
                  <a:lnTo>
                    <a:pt x="252413" y="57150"/>
                  </a:lnTo>
                  <a:lnTo>
                    <a:pt x="235744" y="54769"/>
                  </a:lnTo>
                  <a:lnTo>
                    <a:pt x="221457" y="33337"/>
                  </a:lnTo>
                  <a:lnTo>
                    <a:pt x="197644" y="0"/>
                  </a:lnTo>
                  <a:lnTo>
                    <a:pt x="192882" y="26194"/>
                  </a:lnTo>
                  <a:lnTo>
                    <a:pt x="178594" y="26194"/>
                  </a:lnTo>
                  <a:lnTo>
                    <a:pt x="166688" y="35719"/>
                  </a:lnTo>
                  <a:lnTo>
                    <a:pt x="147638" y="26194"/>
                  </a:lnTo>
                  <a:lnTo>
                    <a:pt x="157163" y="57150"/>
                  </a:lnTo>
                  <a:lnTo>
                    <a:pt x="133350" y="30956"/>
                  </a:lnTo>
                  <a:lnTo>
                    <a:pt x="126207" y="50006"/>
                  </a:lnTo>
                  <a:lnTo>
                    <a:pt x="100013" y="28575"/>
                  </a:lnTo>
                  <a:lnTo>
                    <a:pt x="90488" y="61912"/>
                  </a:lnTo>
                  <a:lnTo>
                    <a:pt x="78582" y="83344"/>
                  </a:lnTo>
                  <a:lnTo>
                    <a:pt x="64294" y="57150"/>
                  </a:lnTo>
                  <a:lnTo>
                    <a:pt x="66675" y="35719"/>
                  </a:lnTo>
                  <a:lnTo>
                    <a:pt x="47625" y="16669"/>
                  </a:lnTo>
                  <a:lnTo>
                    <a:pt x="40482" y="35719"/>
                  </a:lnTo>
                  <a:lnTo>
                    <a:pt x="19050" y="30956"/>
                  </a:lnTo>
                  <a:lnTo>
                    <a:pt x="0" y="57150"/>
                  </a:lnTo>
                  <a:lnTo>
                    <a:pt x="38100" y="59531"/>
                  </a:lnTo>
                  <a:lnTo>
                    <a:pt x="61913" y="78581"/>
                  </a:lnTo>
                  <a:lnTo>
                    <a:pt x="54769" y="92869"/>
                  </a:lnTo>
                  <a:lnTo>
                    <a:pt x="9525" y="102394"/>
                  </a:lnTo>
                  <a:lnTo>
                    <a:pt x="57150" y="16192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8" name="Freeform: Shape 95"/>
            <p:cNvSpPr/>
            <p:nvPr/>
          </p:nvSpPr>
          <p:spPr bwMode="auto">
            <a:xfrm>
              <a:off x="2005013" y="704850"/>
              <a:ext cx="759618" cy="1012031"/>
            </a:xfrm>
            <a:custGeom>
              <a:avLst/>
              <a:gdLst>
                <a:gd name="connsiteX0" fmla="*/ 550068 w 759618"/>
                <a:gd name="connsiteY0" fmla="*/ 478631 h 1012031"/>
                <a:gd name="connsiteX1" fmla="*/ 616743 w 759618"/>
                <a:gd name="connsiteY1" fmla="*/ 383381 h 1012031"/>
                <a:gd name="connsiteX2" fmla="*/ 626268 w 759618"/>
                <a:gd name="connsiteY2" fmla="*/ 357188 h 1012031"/>
                <a:gd name="connsiteX3" fmla="*/ 678656 w 759618"/>
                <a:gd name="connsiteY3" fmla="*/ 307181 h 1012031"/>
                <a:gd name="connsiteX4" fmla="*/ 600075 w 759618"/>
                <a:gd name="connsiteY4" fmla="*/ 335756 h 1012031"/>
                <a:gd name="connsiteX5" fmla="*/ 554831 w 759618"/>
                <a:gd name="connsiteY5" fmla="*/ 373856 h 1012031"/>
                <a:gd name="connsiteX6" fmla="*/ 535781 w 759618"/>
                <a:gd name="connsiteY6" fmla="*/ 369094 h 1012031"/>
                <a:gd name="connsiteX7" fmla="*/ 597693 w 759618"/>
                <a:gd name="connsiteY7" fmla="*/ 309563 h 1012031"/>
                <a:gd name="connsiteX8" fmla="*/ 573881 w 759618"/>
                <a:gd name="connsiteY8" fmla="*/ 288131 h 1012031"/>
                <a:gd name="connsiteX9" fmla="*/ 561975 w 759618"/>
                <a:gd name="connsiteY9" fmla="*/ 261938 h 1012031"/>
                <a:gd name="connsiteX10" fmla="*/ 614362 w 759618"/>
                <a:gd name="connsiteY10" fmla="*/ 292894 h 1012031"/>
                <a:gd name="connsiteX11" fmla="*/ 650081 w 759618"/>
                <a:gd name="connsiteY11" fmla="*/ 290513 h 1012031"/>
                <a:gd name="connsiteX12" fmla="*/ 650081 w 759618"/>
                <a:gd name="connsiteY12" fmla="*/ 273844 h 1012031"/>
                <a:gd name="connsiteX13" fmla="*/ 678656 w 759618"/>
                <a:gd name="connsiteY13" fmla="*/ 271463 h 1012031"/>
                <a:gd name="connsiteX14" fmla="*/ 721518 w 759618"/>
                <a:gd name="connsiteY14" fmla="*/ 221456 h 1012031"/>
                <a:gd name="connsiteX15" fmla="*/ 759618 w 759618"/>
                <a:gd name="connsiteY15" fmla="*/ 150019 h 1012031"/>
                <a:gd name="connsiteX16" fmla="*/ 738187 w 759618"/>
                <a:gd name="connsiteY16" fmla="*/ 126206 h 1012031"/>
                <a:gd name="connsiteX17" fmla="*/ 704850 w 759618"/>
                <a:gd name="connsiteY17" fmla="*/ 121444 h 1012031"/>
                <a:gd name="connsiteX18" fmla="*/ 692943 w 759618"/>
                <a:gd name="connsiteY18" fmla="*/ 73819 h 1012031"/>
                <a:gd name="connsiteX19" fmla="*/ 669131 w 759618"/>
                <a:gd name="connsiteY19" fmla="*/ 59531 h 1012031"/>
                <a:gd name="connsiteX20" fmla="*/ 628650 w 759618"/>
                <a:gd name="connsiteY20" fmla="*/ 78581 h 1012031"/>
                <a:gd name="connsiteX21" fmla="*/ 614362 w 759618"/>
                <a:gd name="connsiteY21" fmla="*/ 102394 h 1012031"/>
                <a:gd name="connsiteX22" fmla="*/ 588168 w 759618"/>
                <a:gd name="connsiteY22" fmla="*/ 114300 h 1012031"/>
                <a:gd name="connsiteX23" fmla="*/ 576262 w 759618"/>
                <a:gd name="connsiteY23" fmla="*/ 107156 h 1012031"/>
                <a:gd name="connsiteX24" fmla="*/ 592931 w 759618"/>
                <a:gd name="connsiteY24" fmla="*/ 85725 h 1012031"/>
                <a:gd name="connsiteX25" fmla="*/ 621506 w 759618"/>
                <a:gd name="connsiteY25" fmla="*/ 50006 h 1012031"/>
                <a:gd name="connsiteX26" fmla="*/ 585787 w 759618"/>
                <a:gd name="connsiteY26" fmla="*/ 33338 h 1012031"/>
                <a:gd name="connsiteX27" fmla="*/ 557212 w 759618"/>
                <a:gd name="connsiteY27" fmla="*/ 38100 h 1012031"/>
                <a:gd name="connsiteX28" fmla="*/ 540543 w 759618"/>
                <a:gd name="connsiteY28" fmla="*/ 16669 h 1012031"/>
                <a:gd name="connsiteX29" fmla="*/ 526256 w 759618"/>
                <a:gd name="connsiteY29" fmla="*/ 16669 h 1012031"/>
                <a:gd name="connsiteX30" fmla="*/ 519112 w 759618"/>
                <a:gd name="connsiteY30" fmla="*/ 28575 h 1012031"/>
                <a:gd name="connsiteX31" fmla="*/ 533400 w 759618"/>
                <a:gd name="connsiteY31" fmla="*/ 61913 h 1012031"/>
                <a:gd name="connsiteX32" fmla="*/ 519112 w 759618"/>
                <a:gd name="connsiteY32" fmla="*/ 69056 h 1012031"/>
                <a:gd name="connsiteX33" fmla="*/ 500062 w 759618"/>
                <a:gd name="connsiteY33" fmla="*/ 33338 h 1012031"/>
                <a:gd name="connsiteX34" fmla="*/ 495300 w 759618"/>
                <a:gd name="connsiteY34" fmla="*/ 0 h 1012031"/>
                <a:gd name="connsiteX35" fmla="*/ 466725 w 759618"/>
                <a:gd name="connsiteY35" fmla="*/ 40481 h 1012031"/>
                <a:gd name="connsiteX36" fmla="*/ 466725 w 759618"/>
                <a:gd name="connsiteY36" fmla="*/ 61913 h 1012031"/>
                <a:gd name="connsiteX37" fmla="*/ 490537 w 759618"/>
                <a:gd name="connsiteY37" fmla="*/ 80963 h 1012031"/>
                <a:gd name="connsiteX38" fmla="*/ 490537 w 759618"/>
                <a:gd name="connsiteY38" fmla="*/ 100013 h 1012031"/>
                <a:gd name="connsiteX39" fmla="*/ 464343 w 759618"/>
                <a:gd name="connsiteY39" fmla="*/ 95250 h 1012031"/>
                <a:gd name="connsiteX40" fmla="*/ 442912 w 759618"/>
                <a:gd name="connsiteY40" fmla="*/ 64294 h 1012031"/>
                <a:gd name="connsiteX41" fmla="*/ 433387 w 759618"/>
                <a:gd name="connsiteY41" fmla="*/ 40481 h 1012031"/>
                <a:gd name="connsiteX42" fmla="*/ 414337 w 759618"/>
                <a:gd name="connsiteY42" fmla="*/ 33338 h 1012031"/>
                <a:gd name="connsiteX43" fmla="*/ 383381 w 759618"/>
                <a:gd name="connsiteY43" fmla="*/ 38100 h 1012031"/>
                <a:gd name="connsiteX44" fmla="*/ 376237 w 759618"/>
                <a:gd name="connsiteY44" fmla="*/ 42863 h 1012031"/>
                <a:gd name="connsiteX45" fmla="*/ 378618 w 759618"/>
                <a:gd name="connsiteY45" fmla="*/ 69056 h 1012031"/>
                <a:gd name="connsiteX46" fmla="*/ 402431 w 759618"/>
                <a:gd name="connsiteY46" fmla="*/ 88106 h 1012031"/>
                <a:gd name="connsiteX47" fmla="*/ 416718 w 759618"/>
                <a:gd name="connsiteY47" fmla="*/ 109538 h 1012031"/>
                <a:gd name="connsiteX48" fmla="*/ 402431 w 759618"/>
                <a:gd name="connsiteY48" fmla="*/ 145256 h 1012031"/>
                <a:gd name="connsiteX49" fmla="*/ 385762 w 759618"/>
                <a:gd name="connsiteY49" fmla="*/ 135731 h 1012031"/>
                <a:gd name="connsiteX50" fmla="*/ 381000 w 759618"/>
                <a:gd name="connsiteY50" fmla="*/ 104775 h 1012031"/>
                <a:gd name="connsiteX51" fmla="*/ 352425 w 759618"/>
                <a:gd name="connsiteY51" fmla="*/ 59531 h 1012031"/>
                <a:gd name="connsiteX52" fmla="*/ 333375 w 759618"/>
                <a:gd name="connsiteY52" fmla="*/ 69056 h 1012031"/>
                <a:gd name="connsiteX53" fmla="*/ 323850 w 759618"/>
                <a:gd name="connsiteY53" fmla="*/ 50006 h 1012031"/>
                <a:gd name="connsiteX54" fmla="*/ 302418 w 759618"/>
                <a:gd name="connsiteY54" fmla="*/ 42863 h 1012031"/>
                <a:gd name="connsiteX55" fmla="*/ 290512 w 759618"/>
                <a:gd name="connsiteY55" fmla="*/ 64294 h 1012031"/>
                <a:gd name="connsiteX56" fmla="*/ 304800 w 759618"/>
                <a:gd name="connsiteY56" fmla="*/ 76200 h 1012031"/>
                <a:gd name="connsiteX57" fmla="*/ 323850 w 759618"/>
                <a:gd name="connsiteY57" fmla="*/ 92869 h 1012031"/>
                <a:gd name="connsiteX58" fmla="*/ 335756 w 759618"/>
                <a:gd name="connsiteY58" fmla="*/ 100013 h 1012031"/>
                <a:gd name="connsiteX59" fmla="*/ 328612 w 759618"/>
                <a:gd name="connsiteY59" fmla="*/ 111919 h 1012031"/>
                <a:gd name="connsiteX60" fmla="*/ 307181 w 759618"/>
                <a:gd name="connsiteY60" fmla="*/ 100013 h 1012031"/>
                <a:gd name="connsiteX61" fmla="*/ 264318 w 759618"/>
                <a:gd name="connsiteY61" fmla="*/ 76200 h 1012031"/>
                <a:gd name="connsiteX62" fmla="*/ 280987 w 759618"/>
                <a:gd name="connsiteY62" fmla="*/ 114300 h 1012031"/>
                <a:gd name="connsiteX63" fmla="*/ 292893 w 759618"/>
                <a:gd name="connsiteY63" fmla="*/ 130969 h 1012031"/>
                <a:gd name="connsiteX64" fmla="*/ 280987 w 759618"/>
                <a:gd name="connsiteY64" fmla="*/ 140494 h 1012031"/>
                <a:gd name="connsiteX65" fmla="*/ 247650 w 759618"/>
                <a:gd name="connsiteY65" fmla="*/ 100013 h 1012031"/>
                <a:gd name="connsiteX66" fmla="*/ 261937 w 759618"/>
                <a:gd name="connsiteY66" fmla="*/ 142875 h 1012031"/>
                <a:gd name="connsiteX67" fmla="*/ 242887 w 759618"/>
                <a:gd name="connsiteY67" fmla="*/ 150019 h 1012031"/>
                <a:gd name="connsiteX68" fmla="*/ 257175 w 759618"/>
                <a:gd name="connsiteY68" fmla="*/ 178594 h 1012031"/>
                <a:gd name="connsiteX69" fmla="*/ 278606 w 759618"/>
                <a:gd name="connsiteY69" fmla="*/ 195263 h 1012031"/>
                <a:gd name="connsiteX70" fmla="*/ 307181 w 759618"/>
                <a:gd name="connsiteY70" fmla="*/ 228600 h 1012031"/>
                <a:gd name="connsiteX71" fmla="*/ 316706 w 759618"/>
                <a:gd name="connsiteY71" fmla="*/ 254794 h 1012031"/>
                <a:gd name="connsiteX72" fmla="*/ 316706 w 759618"/>
                <a:gd name="connsiteY72" fmla="*/ 254794 h 1012031"/>
                <a:gd name="connsiteX73" fmla="*/ 285750 w 759618"/>
                <a:gd name="connsiteY73" fmla="*/ 235744 h 1012031"/>
                <a:gd name="connsiteX74" fmla="*/ 238125 w 759618"/>
                <a:gd name="connsiteY74" fmla="*/ 221456 h 1012031"/>
                <a:gd name="connsiteX75" fmla="*/ 223837 w 759618"/>
                <a:gd name="connsiteY75" fmla="*/ 195263 h 1012031"/>
                <a:gd name="connsiteX76" fmla="*/ 204787 w 759618"/>
                <a:gd name="connsiteY76" fmla="*/ 166688 h 1012031"/>
                <a:gd name="connsiteX77" fmla="*/ 166687 w 759618"/>
                <a:gd name="connsiteY77" fmla="*/ 130969 h 1012031"/>
                <a:gd name="connsiteX78" fmla="*/ 166687 w 759618"/>
                <a:gd name="connsiteY78" fmla="*/ 157163 h 1012031"/>
                <a:gd name="connsiteX79" fmla="*/ 173831 w 759618"/>
                <a:gd name="connsiteY79" fmla="*/ 176213 h 1012031"/>
                <a:gd name="connsiteX80" fmla="*/ 171450 w 759618"/>
                <a:gd name="connsiteY80" fmla="*/ 188119 h 1012031"/>
                <a:gd name="connsiteX81" fmla="*/ 152400 w 759618"/>
                <a:gd name="connsiteY81" fmla="*/ 195263 h 1012031"/>
                <a:gd name="connsiteX82" fmla="*/ 128587 w 759618"/>
                <a:gd name="connsiteY82" fmla="*/ 190500 h 1012031"/>
                <a:gd name="connsiteX83" fmla="*/ 178593 w 759618"/>
                <a:gd name="connsiteY83" fmla="*/ 214313 h 1012031"/>
                <a:gd name="connsiteX84" fmla="*/ 188118 w 759618"/>
                <a:gd name="connsiteY84" fmla="*/ 228600 h 1012031"/>
                <a:gd name="connsiteX85" fmla="*/ 185737 w 759618"/>
                <a:gd name="connsiteY85" fmla="*/ 250031 h 1012031"/>
                <a:gd name="connsiteX86" fmla="*/ 157162 w 759618"/>
                <a:gd name="connsiteY86" fmla="*/ 228600 h 1012031"/>
                <a:gd name="connsiteX87" fmla="*/ 121443 w 759618"/>
                <a:gd name="connsiteY87" fmla="*/ 223838 h 1012031"/>
                <a:gd name="connsiteX88" fmla="*/ 97631 w 759618"/>
                <a:gd name="connsiteY88" fmla="*/ 211931 h 1012031"/>
                <a:gd name="connsiteX89" fmla="*/ 73818 w 759618"/>
                <a:gd name="connsiteY89" fmla="*/ 235744 h 1012031"/>
                <a:gd name="connsiteX90" fmla="*/ 73818 w 759618"/>
                <a:gd name="connsiteY90" fmla="*/ 257175 h 1012031"/>
                <a:gd name="connsiteX91" fmla="*/ 52387 w 759618"/>
                <a:gd name="connsiteY91" fmla="*/ 273844 h 1012031"/>
                <a:gd name="connsiteX92" fmla="*/ 35718 w 759618"/>
                <a:gd name="connsiteY92" fmla="*/ 254794 h 1012031"/>
                <a:gd name="connsiteX93" fmla="*/ 19050 w 759618"/>
                <a:gd name="connsiteY93" fmla="*/ 264319 h 1012031"/>
                <a:gd name="connsiteX94" fmla="*/ 0 w 759618"/>
                <a:gd name="connsiteY94" fmla="*/ 297656 h 1012031"/>
                <a:gd name="connsiteX95" fmla="*/ 26193 w 759618"/>
                <a:gd name="connsiteY95" fmla="*/ 283369 h 1012031"/>
                <a:gd name="connsiteX96" fmla="*/ 38100 w 759618"/>
                <a:gd name="connsiteY96" fmla="*/ 273844 h 1012031"/>
                <a:gd name="connsiteX97" fmla="*/ 52387 w 759618"/>
                <a:gd name="connsiteY97" fmla="*/ 288131 h 1012031"/>
                <a:gd name="connsiteX98" fmla="*/ 30956 w 759618"/>
                <a:gd name="connsiteY98" fmla="*/ 323850 h 1012031"/>
                <a:gd name="connsiteX99" fmla="*/ 69056 w 759618"/>
                <a:gd name="connsiteY99" fmla="*/ 300038 h 1012031"/>
                <a:gd name="connsiteX100" fmla="*/ 92868 w 759618"/>
                <a:gd name="connsiteY100" fmla="*/ 295275 h 1012031"/>
                <a:gd name="connsiteX101" fmla="*/ 114300 w 759618"/>
                <a:gd name="connsiteY101" fmla="*/ 300038 h 1012031"/>
                <a:gd name="connsiteX102" fmla="*/ 111918 w 759618"/>
                <a:gd name="connsiteY102" fmla="*/ 316706 h 1012031"/>
                <a:gd name="connsiteX103" fmla="*/ 92868 w 759618"/>
                <a:gd name="connsiteY103" fmla="*/ 311944 h 1012031"/>
                <a:gd name="connsiteX104" fmla="*/ 66675 w 759618"/>
                <a:gd name="connsiteY104" fmla="*/ 338138 h 1012031"/>
                <a:gd name="connsiteX105" fmla="*/ 69056 w 759618"/>
                <a:gd name="connsiteY105" fmla="*/ 359569 h 1012031"/>
                <a:gd name="connsiteX106" fmla="*/ 50006 w 759618"/>
                <a:gd name="connsiteY106" fmla="*/ 369094 h 1012031"/>
                <a:gd name="connsiteX107" fmla="*/ 59531 w 759618"/>
                <a:gd name="connsiteY107" fmla="*/ 385763 h 1012031"/>
                <a:gd name="connsiteX108" fmla="*/ 88106 w 759618"/>
                <a:gd name="connsiteY108" fmla="*/ 376238 h 1012031"/>
                <a:gd name="connsiteX109" fmla="*/ 116681 w 759618"/>
                <a:gd name="connsiteY109" fmla="*/ 378619 h 1012031"/>
                <a:gd name="connsiteX110" fmla="*/ 138112 w 759618"/>
                <a:gd name="connsiteY110" fmla="*/ 354806 h 1012031"/>
                <a:gd name="connsiteX111" fmla="*/ 164306 w 759618"/>
                <a:gd name="connsiteY111" fmla="*/ 335756 h 1012031"/>
                <a:gd name="connsiteX112" fmla="*/ 178593 w 759618"/>
                <a:gd name="connsiteY112" fmla="*/ 340519 h 1012031"/>
                <a:gd name="connsiteX113" fmla="*/ 157162 w 759618"/>
                <a:gd name="connsiteY113" fmla="*/ 366713 h 1012031"/>
                <a:gd name="connsiteX114" fmla="*/ 114300 w 759618"/>
                <a:gd name="connsiteY114" fmla="*/ 407194 h 1012031"/>
                <a:gd name="connsiteX115" fmla="*/ 73818 w 759618"/>
                <a:gd name="connsiteY115" fmla="*/ 411956 h 1012031"/>
                <a:gd name="connsiteX116" fmla="*/ 102393 w 759618"/>
                <a:gd name="connsiteY116" fmla="*/ 447675 h 1012031"/>
                <a:gd name="connsiteX117" fmla="*/ 133350 w 759618"/>
                <a:gd name="connsiteY117" fmla="*/ 419100 h 1012031"/>
                <a:gd name="connsiteX118" fmla="*/ 169068 w 759618"/>
                <a:gd name="connsiteY118" fmla="*/ 378619 h 1012031"/>
                <a:gd name="connsiteX119" fmla="*/ 209550 w 759618"/>
                <a:gd name="connsiteY119" fmla="*/ 371475 h 1012031"/>
                <a:gd name="connsiteX120" fmla="*/ 223837 w 759618"/>
                <a:gd name="connsiteY120" fmla="*/ 373856 h 1012031"/>
                <a:gd name="connsiteX121" fmla="*/ 183356 w 759618"/>
                <a:gd name="connsiteY121" fmla="*/ 402431 h 1012031"/>
                <a:gd name="connsiteX122" fmla="*/ 154781 w 759618"/>
                <a:gd name="connsiteY122" fmla="*/ 428625 h 1012031"/>
                <a:gd name="connsiteX123" fmla="*/ 147637 w 759618"/>
                <a:gd name="connsiteY123" fmla="*/ 454819 h 1012031"/>
                <a:gd name="connsiteX124" fmla="*/ 169068 w 759618"/>
                <a:gd name="connsiteY124" fmla="*/ 466725 h 1012031"/>
                <a:gd name="connsiteX125" fmla="*/ 197643 w 759618"/>
                <a:gd name="connsiteY125" fmla="*/ 454819 h 1012031"/>
                <a:gd name="connsiteX126" fmla="*/ 197643 w 759618"/>
                <a:gd name="connsiteY126" fmla="*/ 423863 h 1012031"/>
                <a:gd name="connsiteX127" fmla="*/ 211931 w 759618"/>
                <a:gd name="connsiteY127" fmla="*/ 411956 h 1012031"/>
                <a:gd name="connsiteX128" fmla="*/ 228600 w 759618"/>
                <a:gd name="connsiteY128" fmla="*/ 428625 h 1012031"/>
                <a:gd name="connsiteX129" fmla="*/ 254793 w 759618"/>
                <a:gd name="connsiteY129" fmla="*/ 423863 h 1012031"/>
                <a:gd name="connsiteX130" fmla="*/ 240506 w 759618"/>
                <a:gd name="connsiteY130" fmla="*/ 445294 h 1012031"/>
                <a:gd name="connsiteX131" fmla="*/ 216693 w 759618"/>
                <a:gd name="connsiteY131" fmla="*/ 452438 h 1012031"/>
                <a:gd name="connsiteX132" fmla="*/ 242887 w 759618"/>
                <a:gd name="connsiteY132" fmla="*/ 464344 h 1012031"/>
                <a:gd name="connsiteX133" fmla="*/ 304800 w 759618"/>
                <a:gd name="connsiteY133" fmla="*/ 411956 h 1012031"/>
                <a:gd name="connsiteX134" fmla="*/ 307181 w 759618"/>
                <a:gd name="connsiteY134" fmla="*/ 364331 h 1012031"/>
                <a:gd name="connsiteX135" fmla="*/ 378618 w 759618"/>
                <a:gd name="connsiteY135" fmla="*/ 311944 h 1012031"/>
                <a:gd name="connsiteX136" fmla="*/ 385762 w 759618"/>
                <a:gd name="connsiteY136" fmla="*/ 335756 h 1012031"/>
                <a:gd name="connsiteX137" fmla="*/ 357187 w 759618"/>
                <a:gd name="connsiteY137" fmla="*/ 359569 h 1012031"/>
                <a:gd name="connsiteX138" fmla="*/ 333375 w 759618"/>
                <a:gd name="connsiteY138" fmla="*/ 400050 h 1012031"/>
                <a:gd name="connsiteX139" fmla="*/ 333375 w 759618"/>
                <a:gd name="connsiteY139" fmla="*/ 414338 h 1012031"/>
                <a:gd name="connsiteX140" fmla="*/ 359568 w 759618"/>
                <a:gd name="connsiteY140" fmla="*/ 407194 h 1012031"/>
                <a:gd name="connsiteX141" fmla="*/ 381000 w 759618"/>
                <a:gd name="connsiteY141" fmla="*/ 414338 h 1012031"/>
                <a:gd name="connsiteX142" fmla="*/ 369093 w 759618"/>
                <a:gd name="connsiteY142" fmla="*/ 419100 h 1012031"/>
                <a:gd name="connsiteX143" fmla="*/ 338137 w 759618"/>
                <a:gd name="connsiteY143" fmla="*/ 428625 h 1012031"/>
                <a:gd name="connsiteX144" fmla="*/ 300037 w 759618"/>
                <a:gd name="connsiteY144" fmla="*/ 454819 h 1012031"/>
                <a:gd name="connsiteX145" fmla="*/ 345281 w 759618"/>
                <a:gd name="connsiteY145" fmla="*/ 461963 h 1012031"/>
                <a:gd name="connsiteX146" fmla="*/ 342900 w 759618"/>
                <a:gd name="connsiteY146" fmla="*/ 476250 h 1012031"/>
                <a:gd name="connsiteX147" fmla="*/ 292893 w 759618"/>
                <a:gd name="connsiteY147" fmla="*/ 478631 h 1012031"/>
                <a:gd name="connsiteX148" fmla="*/ 261937 w 759618"/>
                <a:gd name="connsiteY148" fmla="*/ 495300 h 1012031"/>
                <a:gd name="connsiteX149" fmla="*/ 228600 w 759618"/>
                <a:gd name="connsiteY149" fmla="*/ 504825 h 1012031"/>
                <a:gd name="connsiteX150" fmla="*/ 240506 w 759618"/>
                <a:gd name="connsiteY150" fmla="*/ 540544 h 1012031"/>
                <a:gd name="connsiteX151" fmla="*/ 257175 w 759618"/>
                <a:gd name="connsiteY151" fmla="*/ 557213 h 1012031"/>
                <a:gd name="connsiteX152" fmla="*/ 259556 w 759618"/>
                <a:gd name="connsiteY152" fmla="*/ 578644 h 1012031"/>
                <a:gd name="connsiteX153" fmla="*/ 290512 w 759618"/>
                <a:gd name="connsiteY153" fmla="*/ 585788 h 1012031"/>
                <a:gd name="connsiteX154" fmla="*/ 292893 w 759618"/>
                <a:gd name="connsiteY154" fmla="*/ 597694 h 1012031"/>
                <a:gd name="connsiteX155" fmla="*/ 273843 w 759618"/>
                <a:gd name="connsiteY155" fmla="*/ 616744 h 1012031"/>
                <a:gd name="connsiteX156" fmla="*/ 252412 w 759618"/>
                <a:gd name="connsiteY156" fmla="*/ 609600 h 1012031"/>
                <a:gd name="connsiteX157" fmla="*/ 235743 w 759618"/>
                <a:gd name="connsiteY157" fmla="*/ 607219 h 1012031"/>
                <a:gd name="connsiteX158" fmla="*/ 228600 w 759618"/>
                <a:gd name="connsiteY158" fmla="*/ 581025 h 1012031"/>
                <a:gd name="connsiteX159" fmla="*/ 204787 w 759618"/>
                <a:gd name="connsiteY159" fmla="*/ 547688 h 1012031"/>
                <a:gd name="connsiteX160" fmla="*/ 192881 w 759618"/>
                <a:gd name="connsiteY160" fmla="*/ 519113 h 1012031"/>
                <a:gd name="connsiteX161" fmla="*/ 166687 w 759618"/>
                <a:gd name="connsiteY161" fmla="*/ 507206 h 1012031"/>
                <a:gd name="connsiteX162" fmla="*/ 130968 w 759618"/>
                <a:gd name="connsiteY162" fmla="*/ 495300 h 1012031"/>
                <a:gd name="connsiteX163" fmla="*/ 135731 w 759618"/>
                <a:gd name="connsiteY163" fmla="*/ 535781 h 1012031"/>
                <a:gd name="connsiteX164" fmla="*/ 171450 w 759618"/>
                <a:gd name="connsiteY164" fmla="*/ 554831 h 1012031"/>
                <a:gd name="connsiteX165" fmla="*/ 164306 w 759618"/>
                <a:gd name="connsiteY165" fmla="*/ 569119 h 1012031"/>
                <a:gd name="connsiteX166" fmla="*/ 138112 w 759618"/>
                <a:gd name="connsiteY166" fmla="*/ 554831 h 1012031"/>
                <a:gd name="connsiteX167" fmla="*/ 173831 w 759618"/>
                <a:gd name="connsiteY167" fmla="*/ 595313 h 1012031"/>
                <a:gd name="connsiteX168" fmla="*/ 188118 w 759618"/>
                <a:gd name="connsiteY168" fmla="*/ 621506 h 1012031"/>
                <a:gd name="connsiteX169" fmla="*/ 197643 w 759618"/>
                <a:gd name="connsiteY169" fmla="*/ 642938 h 1012031"/>
                <a:gd name="connsiteX170" fmla="*/ 207168 w 759618"/>
                <a:gd name="connsiteY170" fmla="*/ 659606 h 1012031"/>
                <a:gd name="connsiteX171" fmla="*/ 207168 w 759618"/>
                <a:gd name="connsiteY171" fmla="*/ 659606 h 1012031"/>
                <a:gd name="connsiteX172" fmla="*/ 176212 w 759618"/>
                <a:gd name="connsiteY172" fmla="*/ 664369 h 1012031"/>
                <a:gd name="connsiteX173" fmla="*/ 200025 w 759618"/>
                <a:gd name="connsiteY173" fmla="*/ 681038 h 1012031"/>
                <a:gd name="connsiteX174" fmla="*/ 228600 w 759618"/>
                <a:gd name="connsiteY174" fmla="*/ 690563 h 1012031"/>
                <a:gd name="connsiteX175" fmla="*/ 242887 w 759618"/>
                <a:gd name="connsiteY175" fmla="*/ 685800 h 1012031"/>
                <a:gd name="connsiteX176" fmla="*/ 252412 w 759618"/>
                <a:gd name="connsiteY176" fmla="*/ 678656 h 1012031"/>
                <a:gd name="connsiteX177" fmla="*/ 264318 w 759618"/>
                <a:gd name="connsiteY177" fmla="*/ 704850 h 1012031"/>
                <a:gd name="connsiteX178" fmla="*/ 252412 w 759618"/>
                <a:gd name="connsiteY178" fmla="*/ 719138 h 1012031"/>
                <a:gd name="connsiteX179" fmla="*/ 235743 w 759618"/>
                <a:gd name="connsiteY179" fmla="*/ 745331 h 1012031"/>
                <a:gd name="connsiteX180" fmla="*/ 209550 w 759618"/>
                <a:gd name="connsiteY180" fmla="*/ 716756 h 1012031"/>
                <a:gd name="connsiteX181" fmla="*/ 185737 w 759618"/>
                <a:gd name="connsiteY181" fmla="*/ 704850 h 1012031"/>
                <a:gd name="connsiteX182" fmla="*/ 147637 w 759618"/>
                <a:gd name="connsiteY182" fmla="*/ 707231 h 1012031"/>
                <a:gd name="connsiteX183" fmla="*/ 135731 w 759618"/>
                <a:gd name="connsiteY183" fmla="*/ 716756 h 1012031"/>
                <a:gd name="connsiteX184" fmla="*/ 123825 w 759618"/>
                <a:gd name="connsiteY184" fmla="*/ 735806 h 1012031"/>
                <a:gd name="connsiteX185" fmla="*/ 114300 w 759618"/>
                <a:gd name="connsiteY185" fmla="*/ 766763 h 1012031"/>
                <a:gd name="connsiteX186" fmla="*/ 126206 w 759618"/>
                <a:gd name="connsiteY186" fmla="*/ 781050 h 1012031"/>
                <a:gd name="connsiteX187" fmla="*/ 145256 w 759618"/>
                <a:gd name="connsiteY187" fmla="*/ 757238 h 1012031"/>
                <a:gd name="connsiteX188" fmla="*/ 145256 w 759618"/>
                <a:gd name="connsiteY188" fmla="*/ 757238 h 1012031"/>
                <a:gd name="connsiteX189" fmla="*/ 152400 w 759618"/>
                <a:gd name="connsiteY189" fmla="*/ 778669 h 1012031"/>
                <a:gd name="connsiteX190" fmla="*/ 142875 w 759618"/>
                <a:gd name="connsiteY190" fmla="*/ 790575 h 1012031"/>
                <a:gd name="connsiteX191" fmla="*/ 173831 w 759618"/>
                <a:gd name="connsiteY191" fmla="*/ 776288 h 1012031"/>
                <a:gd name="connsiteX192" fmla="*/ 169068 w 759618"/>
                <a:gd name="connsiteY192" fmla="*/ 752475 h 1012031"/>
                <a:gd name="connsiteX193" fmla="*/ 183356 w 759618"/>
                <a:gd name="connsiteY193" fmla="*/ 747713 h 1012031"/>
                <a:gd name="connsiteX194" fmla="*/ 183356 w 759618"/>
                <a:gd name="connsiteY194" fmla="*/ 766763 h 1012031"/>
                <a:gd name="connsiteX195" fmla="*/ 188118 w 759618"/>
                <a:gd name="connsiteY195" fmla="*/ 778669 h 1012031"/>
                <a:gd name="connsiteX196" fmla="*/ 200025 w 759618"/>
                <a:gd name="connsiteY196" fmla="*/ 783431 h 1012031"/>
                <a:gd name="connsiteX197" fmla="*/ 197643 w 759618"/>
                <a:gd name="connsiteY197" fmla="*/ 797719 h 1012031"/>
                <a:gd name="connsiteX198" fmla="*/ 178593 w 759618"/>
                <a:gd name="connsiteY198" fmla="*/ 802481 h 1012031"/>
                <a:gd name="connsiteX199" fmla="*/ 166687 w 759618"/>
                <a:gd name="connsiteY199" fmla="*/ 812006 h 1012031"/>
                <a:gd name="connsiteX200" fmla="*/ 180975 w 759618"/>
                <a:gd name="connsiteY200" fmla="*/ 816769 h 1012031"/>
                <a:gd name="connsiteX201" fmla="*/ 173831 w 759618"/>
                <a:gd name="connsiteY201" fmla="*/ 838200 h 1012031"/>
                <a:gd name="connsiteX202" fmla="*/ 190500 w 759618"/>
                <a:gd name="connsiteY202" fmla="*/ 842963 h 1012031"/>
                <a:gd name="connsiteX203" fmla="*/ 190500 w 759618"/>
                <a:gd name="connsiteY203" fmla="*/ 842963 h 1012031"/>
                <a:gd name="connsiteX204" fmla="*/ 226218 w 759618"/>
                <a:gd name="connsiteY204" fmla="*/ 814388 h 1012031"/>
                <a:gd name="connsiteX205" fmla="*/ 230981 w 759618"/>
                <a:gd name="connsiteY205" fmla="*/ 795338 h 1012031"/>
                <a:gd name="connsiteX206" fmla="*/ 247650 w 759618"/>
                <a:gd name="connsiteY206" fmla="*/ 804863 h 1012031"/>
                <a:gd name="connsiteX207" fmla="*/ 228600 w 759618"/>
                <a:gd name="connsiteY207" fmla="*/ 842963 h 1012031"/>
                <a:gd name="connsiteX208" fmla="*/ 204787 w 759618"/>
                <a:gd name="connsiteY208" fmla="*/ 869156 h 1012031"/>
                <a:gd name="connsiteX209" fmla="*/ 192881 w 759618"/>
                <a:gd name="connsiteY209" fmla="*/ 873919 h 1012031"/>
                <a:gd name="connsiteX210" fmla="*/ 171450 w 759618"/>
                <a:gd name="connsiteY210" fmla="*/ 888206 h 1012031"/>
                <a:gd name="connsiteX211" fmla="*/ 142875 w 759618"/>
                <a:gd name="connsiteY211" fmla="*/ 859631 h 1012031"/>
                <a:gd name="connsiteX212" fmla="*/ 126206 w 759618"/>
                <a:gd name="connsiteY212" fmla="*/ 831056 h 1012031"/>
                <a:gd name="connsiteX213" fmla="*/ 104775 w 759618"/>
                <a:gd name="connsiteY213" fmla="*/ 828675 h 1012031"/>
                <a:gd name="connsiteX214" fmla="*/ 85725 w 759618"/>
                <a:gd name="connsiteY214" fmla="*/ 845344 h 1012031"/>
                <a:gd name="connsiteX215" fmla="*/ 100012 w 759618"/>
                <a:gd name="connsiteY215" fmla="*/ 864394 h 1012031"/>
                <a:gd name="connsiteX216" fmla="*/ 111918 w 759618"/>
                <a:gd name="connsiteY216" fmla="*/ 878681 h 1012031"/>
                <a:gd name="connsiteX217" fmla="*/ 123825 w 759618"/>
                <a:gd name="connsiteY217" fmla="*/ 888206 h 1012031"/>
                <a:gd name="connsiteX218" fmla="*/ 133350 w 759618"/>
                <a:gd name="connsiteY218" fmla="*/ 909638 h 1012031"/>
                <a:gd name="connsiteX219" fmla="*/ 109537 w 759618"/>
                <a:gd name="connsiteY219" fmla="*/ 921544 h 1012031"/>
                <a:gd name="connsiteX220" fmla="*/ 90487 w 759618"/>
                <a:gd name="connsiteY220" fmla="*/ 909638 h 1012031"/>
                <a:gd name="connsiteX221" fmla="*/ 71437 w 759618"/>
                <a:gd name="connsiteY221" fmla="*/ 935831 h 1012031"/>
                <a:gd name="connsiteX222" fmla="*/ 61912 w 759618"/>
                <a:gd name="connsiteY222" fmla="*/ 971550 h 1012031"/>
                <a:gd name="connsiteX223" fmla="*/ 80962 w 759618"/>
                <a:gd name="connsiteY223" fmla="*/ 954881 h 1012031"/>
                <a:gd name="connsiteX224" fmla="*/ 95250 w 759618"/>
                <a:gd name="connsiteY224" fmla="*/ 978694 h 1012031"/>
                <a:gd name="connsiteX225" fmla="*/ 109537 w 759618"/>
                <a:gd name="connsiteY225" fmla="*/ 964406 h 1012031"/>
                <a:gd name="connsiteX226" fmla="*/ 119062 w 759618"/>
                <a:gd name="connsiteY226" fmla="*/ 981075 h 1012031"/>
                <a:gd name="connsiteX227" fmla="*/ 126206 w 759618"/>
                <a:gd name="connsiteY227" fmla="*/ 959644 h 1012031"/>
                <a:gd name="connsiteX228" fmla="*/ 145256 w 759618"/>
                <a:gd name="connsiteY228" fmla="*/ 985838 h 1012031"/>
                <a:gd name="connsiteX229" fmla="*/ 169068 w 759618"/>
                <a:gd name="connsiteY229" fmla="*/ 1004888 h 1012031"/>
                <a:gd name="connsiteX230" fmla="*/ 161925 w 759618"/>
                <a:gd name="connsiteY230" fmla="*/ 978694 h 1012031"/>
                <a:gd name="connsiteX231" fmla="*/ 171450 w 759618"/>
                <a:gd name="connsiteY231" fmla="*/ 964406 h 1012031"/>
                <a:gd name="connsiteX232" fmla="*/ 180975 w 759618"/>
                <a:gd name="connsiteY232" fmla="*/ 973931 h 1012031"/>
                <a:gd name="connsiteX233" fmla="*/ 188118 w 759618"/>
                <a:gd name="connsiteY233" fmla="*/ 962025 h 1012031"/>
                <a:gd name="connsiteX234" fmla="*/ 197643 w 759618"/>
                <a:gd name="connsiteY234" fmla="*/ 981075 h 1012031"/>
                <a:gd name="connsiteX235" fmla="*/ 209550 w 759618"/>
                <a:gd name="connsiteY235" fmla="*/ 962025 h 1012031"/>
                <a:gd name="connsiteX236" fmla="*/ 228600 w 759618"/>
                <a:gd name="connsiteY236" fmla="*/ 983456 h 1012031"/>
                <a:gd name="connsiteX237" fmla="*/ 235743 w 759618"/>
                <a:gd name="connsiteY237" fmla="*/ 959644 h 1012031"/>
                <a:gd name="connsiteX238" fmla="*/ 254793 w 759618"/>
                <a:gd name="connsiteY238" fmla="*/ 973931 h 1012031"/>
                <a:gd name="connsiteX239" fmla="*/ 271462 w 759618"/>
                <a:gd name="connsiteY239" fmla="*/ 983456 h 1012031"/>
                <a:gd name="connsiteX240" fmla="*/ 278606 w 759618"/>
                <a:gd name="connsiteY240" fmla="*/ 1000125 h 1012031"/>
                <a:gd name="connsiteX241" fmla="*/ 269081 w 759618"/>
                <a:gd name="connsiteY241" fmla="*/ 1012031 h 1012031"/>
                <a:gd name="connsiteX242" fmla="*/ 316706 w 759618"/>
                <a:gd name="connsiteY242" fmla="*/ 976313 h 1012031"/>
                <a:gd name="connsiteX243" fmla="*/ 335756 w 759618"/>
                <a:gd name="connsiteY243" fmla="*/ 969169 h 1012031"/>
                <a:gd name="connsiteX244" fmla="*/ 342900 w 759618"/>
                <a:gd name="connsiteY244" fmla="*/ 950119 h 1012031"/>
                <a:gd name="connsiteX245" fmla="*/ 342900 w 759618"/>
                <a:gd name="connsiteY245" fmla="*/ 926306 h 1012031"/>
                <a:gd name="connsiteX246" fmla="*/ 321468 w 759618"/>
                <a:gd name="connsiteY246" fmla="*/ 935831 h 1012031"/>
                <a:gd name="connsiteX247" fmla="*/ 307181 w 759618"/>
                <a:gd name="connsiteY247" fmla="*/ 926306 h 1012031"/>
                <a:gd name="connsiteX248" fmla="*/ 307181 w 759618"/>
                <a:gd name="connsiteY248" fmla="*/ 900113 h 1012031"/>
                <a:gd name="connsiteX249" fmla="*/ 290512 w 759618"/>
                <a:gd name="connsiteY249" fmla="*/ 916781 h 1012031"/>
                <a:gd name="connsiteX250" fmla="*/ 269081 w 759618"/>
                <a:gd name="connsiteY250" fmla="*/ 892969 h 1012031"/>
                <a:gd name="connsiteX251" fmla="*/ 252412 w 759618"/>
                <a:gd name="connsiteY251" fmla="*/ 919163 h 1012031"/>
                <a:gd name="connsiteX252" fmla="*/ 233362 w 759618"/>
                <a:gd name="connsiteY252" fmla="*/ 902494 h 1012031"/>
                <a:gd name="connsiteX253" fmla="*/ 254793 w 759618"/>
                <a:gd name="connsiteY253" fmla="*/ 888206 h 1012031"/>
                <a:gd name="connsiteX254" fmla="*/ 254793 w 759618"/>
                <a:gd name="connsiteY254" fmla="*/ 862013 h 1012031"/>
                <a:gd name="connsiteX255" fmla="*/ 278606 w 759618"/>
                <a:gd name="connsiteY255" fmla="*/ 876300 h 1012031"/>
                <a:gd name="connsiteX256" fmla="*/ 307181 w 759618"/>
                <a:gd name="connsiteY256" fmla="*/ 885825 h 1012031"/>
                <a:gd name="connsiteX257" fmla="*/ 323850 w 759618"/>
                <a:gd name="connsiteY257" fmla="*/ 878681 h 1012031"/>
                <a:gd name="connsiteX258" fmla="*/ 338137 w 759618"/>
                <a:gd name="connsiteY258" fmla="*/ 869156 h 1012031"/>
                <a:gd name="connsiteX259" fmla="*/ 338137 w 759618"/>
                <a:gd name="connsiteY259" fmla="*/ 847725 h 1012031"/>
                <a:gd name="connsiteX260" fmla="*/ 335756 w 759618"/>
                <a:gd name="connsiteY260" fmla="*/ 823913 h 1012031"/>
                <a:gd name="connsiteX261" fmla="*/ 338137 w 759618"/>
                <a:gd name="connsiteY261" fmla="*/ 797719 h 1012031"/>
                <a:gd name="connsiteX262" fmla="*/ 364331 w 759618"/>
                <a:gd name="connsiteY262" fmla="*/ 814388 h 1012031"/>
                <a:gd name="connsiteX263" fmla="*/ 392906 w 759618"/>
                <a:gd name="connsiteY263" fmla="*/ 795338 h 1012031"/>
                <a:gd name="connsiteX264" fmla="*/ 373856 w 759618"/>
                <a:gd name="connsiteY264" fmla="*/ 783431 h 1012031"/>
                <a:gd name="connsiteX265" fmla="*/ 395287 w 759618"/>
                <a:gd name="connsiteY265" fmla="*/ 776288 h 1012031"/>
                <a:gd name="connsiteX266" fmla="*/ 407193 w 759618"/>
                <a:gd name="connsiteY266" fmla="*/ 762000 h 1012031"/>
                <a:gd name="connsiteX267" fmla="*/ 388143 w 759618"/>
                <a:gd name="connsiteY267" fmla="*/ 752475 h 1012031"/>
                <a:gd name="connsiteX268" fmla="*/ 404812 w 759618"/>
                <a:gd name="connsiteY268" fmla="*/ 738188 h 1012031"/>
                <a:gd name="connsiteX269" fmla="*/ 423862 w 759618"/>
                <a:gd name="connsiteY269" fmla="*/ 707231 h 1012031"/>
                <a:gd name="connsiteX270" fmla="*/ 383381 w 759618"/>
                <a:gd name="connsiteY270" fmla="*/ 697706 h 1012031"/>
                <a:gd name="connsiteX271" fmla="*/ 381000 w 759618"/>
                <a:gd name="connsiteY271" fmla="*/ 690563 h 1012031"/>
                <a:gd name="connsiteX272" fmla="*/ 350043 w 759618"/>
                <a:gd name="connsiteY272" fmla="*/ 690563 h 1012031"/>
                <a:gd name="connsiteX273" fmla="*/ 335756 w 759618"/>
                <a:gd name="connsiteY273" fmla="*/ 676275 h 1012031"/>
                <a:gd name="connsiteX274" fmla="*/ 354806 w 759618"/>
                <a:gd name="connsiteY274" fmla="*/ 654844 h 1012031"/>
                <a:gd name="connsiteX275" fmla="*/ 390525 w 759618"/>
                <a:gd name="connsiteY275" fmla="*/ 657225 h 1012031"/>
                <a:gd name="connsiteX276" fmla="*/ 416718 w 759618"/>
                <a:gd name="connsiteY276" fmla="*/ 683419 h 1012031"/>
                <a:gd name="connsiteX277" fmla="*/ 428625 w 759618"/>
                <a:gd name="connsiteY277" fmla="*/ 647700 h 1012031"/>
                <a:gd name="connsiteX278" fmla="*/ 397668 w 759618"/>
                <a:gd name="connsiteY278" fmla="*/ 640556 h 1012031"/>
                <a:gd name="connsiteX279" fmla="*/ 359568 w 759618"/>
                <a:gd name="connsiteY279" fmla="*/ 631031 h 1012031"/>
                <a:gd name="connsiteX280" fmla="*/ 371475 w 759618"/>
                <a:gd name="connsiteY280" fmla="*/ 619125 h 1012031"/>
                <a:gd name="connsiteX281" fmla="*/ 395287 w 759618"/>
                <a:gd name="connsiteY281" fmla="*/ 616744 h 1012031"/>
                <a:gd name="connsiteX282" fmla="*/ 416718 w 759618"/>
                <a:gd name="connsiteY282" fmla="*/ 628650 h 1012031"/>
                <a:gd name="connsiteX283" fmla="*/ 442912 w 759618"/>
                <a:gd name="connsiteY283" fmla="*/ 607219 h 1012031"/>
                <a:gd name="connsiteX284" fmla="*/ 452437 w 759618"/>
                <a:gd name="connsiteY284" fmla="*/ 592931 h 1012031"/>
                <a:gd name="connsiteX285" fmla="*/ 428625 w 759618"/>
                <a:gd name="connsiteY285" fmla="*/ 576263 h 1012031"/>
                <a:gd name="connsiteX286" fmla="*/ 440531 w 759618"/>
                <a:gd name="connsiteY286" fmla="*/ 564356 h 1012031"/>
                <a:gd name="connsiteX287" fmla="*/ 464343 w 759618"/>
                <a:gd name="connsiteY287" fmla="*/ 578644 h 1012031"/>
                <a:gd name="connsiteX288" fmla="*/ 497681 w 759618"/>
                <a:gd name="connsiteY288" fmla="*/ 590550 h 1012031"/>
                <a:gd name="connsiteX289" fmla="*/ 511968 w 759618"/>
                <a:gd name="connsiteY289" fmla="*/ 557213 h 1012031"/>
                <a:gd name="connsiteX290" fmla="*/ 526256 w 759618"/>
                <a:gd name="connsiteY290" fmla="*/ 528638 h 1012031"/>
                <a:gd name="connsiteX291" fmla="*/ 502443 w 759618"/>
                <a:gd name="connsiteY291" fmla="*/ 531019 h 1012031"/>
                <a:gd name="connsiteX292" fmla="*/ 488156 w 759618"/>
                <a:gd name="connsiteY292" fmla="*/ 519113 h 1012031"/>
                <a:gd name="connsiteX293" fmla="*/ 550068 w 759618"/>
                <a:gd name="connsiteY293" fmla="*/ 478631 h 1012031"/>
                <a:gd name="connsiteX0" fmla="*/ 550068 w 759618"/>
                <a:gd name="connsiteY0" fmla="*/ 478631 h 1012031"/>
                <a:gd name="connsiteX1" fmla="*/ 561975 w 759618"/>
                <a:gd name="connsiteY1" fmla="*/ 459581 h 1012031"/>
                <a:gd name="connsiteX2" fmla="*/ 616743 w 759618"/>
                <a:gd name="connsiteY2" fmla="*/ 383381 h 1012031"/>
                <a:gd name="connsiteX3" fmla="*/ 626268 w 759618"/>
                <a:gd name="connsiteY3" fmla="*/ 357188 h 1012031"/>
                <a:gd name="connsiteX4" fmla="*/ 678656 w 759618"/>
                <a:gd name="connsiteY4" fmla="*/ 307181 h 1012031"/>
                <a:gd name="connsiteX5" fmla="*/ 600075 w 759618"/>
                <a:gd name="connsiteY5" fmla="*/ 335756 h 1012031"/>
                <a:gd name="connsiteX6" fmla="*/ 554831 w 759618"/>
                <a:gd name="connsiteY6" fmla="*/ 373856 h 1012031"/>
                <a:gd name="connsiteX7" fmla="*/ 535781 w 759618"/>
                <a:gd name="connsiteY7" fmla="*/ 369094 h 1012031"/>
                <a:gd name="connsiteX8" fmla="*/ 597693 w 759618"/>
                <a:gd name="connsiteY8" fmla="*/ 309563 h 1012031"/>
                <a:gd name="connsiteX9" fmla="*/ 573881 w 759618"/>
                <a:gd name="connsiteY9" fmla="*/ 288131 h 1012031"/>
                <a:gd name="connsiteX10" fmla="*/ 561975 w 759618"/>
                <a:gd name="connsiteY10" fmla="*/ 261938 h 1012031"/>
                <a:gd name="connsiteX11" fmla="*/ 614362 w 759618"/>
                <a:gd name="connsiteY11" fmla="*/ 292894 h 1012031"/>
                <a:gd name="connsiteX12" fmla="*/ 650081 w 759618"/>
                <a:gd name="connsiteY12" fmla="*/ 290513 h 1012031"/>
                <a:gd name="connsiteX13" fmla="*/ 650081 w 759618"/>
                <a:gd name="connsiteY13" fmla="*/ 273844 h 1012031"/>
                <a:gd name="connsiteX14" fmla="*/ 678656 w 759618"/>
                <a:gd name="connsiteY14" fmla="*/ 271463 h 1012031"/>
                <a:gd name="connsiteX15" fmla="*/ 721518 w 759618"/>
                <a:gd name="connsiteY15" fmla="*/ 221456 h 1012031"/>
                <a:gd name="connsiteX16" fmla="*/ 759618 w 759618"/>
                <a:gd name="connsiteY16" fmla="*/ 150019 h 1012031"/>
                <a:gd name="connsiteX17" fmla="*/ 738187 w 759618"/>
                <a:gd name="connsiteY17" fmla="*/ 126206 h 1012031"/>
                <a:gd name="connsiteX18" fmla="*/ 704850 w 759618"/>
                <a:gd name="connsiteY18" fmla="*/ 121444 h 1012031"/>
                <a:gd name="connsiteX19" fmla="*/ 692943 w 759618"/>
                <a:gd name="connsiteY19" fmla="*/ 73819 h 1012031"/>
                <a:gd name="connsiteX20" fmla="*/ 669131 w 759618"/>
                <a:gd name="connsiteY20" fmla="*/ 59531 h 1012031"/>
                <a:gd name="connsiteX21" fmla="*/ 628650 w 759618"/>
                <a:gd name="connsiteY21" fmla="*/ 78581 h 1012031"/>
                <a:gd name="connsiteX22" fmla="*/ 614362 w 759618"/>
                <a:gd name="connsiteY22" fmla="*/ 102394 h 1012031"/>
                <a:gd name="connsiteX23" fmla="*/ 588168 w 759618"/>
                <a:gd name="connsiteY23" fmla="*/ 114300 h 1012031"/>
                <a:gd name="connsiteX24" fmla="*/ 576262 w 759618"/>
                <a:gd name="connsiteY24" fmla="*/ 107156 h 1012031"/>
                <a:gd name="connsiteX25" fmla="*/ 592931 w 759618"/>
                <a:gd name="connsiteY25" fmla="*/ 85725 h 1012031"/>
                <a:gd name="connsiteX26" fmla="*/ 621506 w 759618"/>
                <a:gd name="connsiteY26" fmla="*/ 50006 h 1012031"/>
                <a:gd name="connsiteX27" fmla="*/ 585787 w 759618"/>
                <a:gd name="connsiteY27" fmla="*/ 33338 h 1012031"/>
                <a:gd name="connsiteX28" fmla="*/ 557212 w 759618"/>
                <a:gd name="connsiteY28" fmla="*/ 38100 h 1012031"/>
                <a:gd name="connsiteX29" fmla="*/ 540543 w 759618"/>
                <a:gd name="connsiteY29" fmla="*/ 16669 h 1012031"/>
                <a:gd name="connsiteX30" fmla="*/ 526256 w 759618"/>
                <a:gd name="connsiteY30" fmla="*/ 16669 h 1012031"/>
                <a:gd name="connsiteX31" fmla="*/ 519112 w 759618"/>
                <a:gd name="connsiteY31" fmla="*/ 28575 h 1012031"/>
                <a:gd name="connsiteX32" fmla="*/ 533400 w 759618"/>
                <a:gd name="connsiteY32" fmla="*/ 61913 h 1012031"/>
                <a:gd name="connsiteX33" fmla="*/ 519112 w 759618"/>
                <a:gd name="connsiteY33" fmla="*/ 69056 h 1012031"/>
                <a:gd name="connsiteX34" fmla="*/ 500062 w 759618"/>
                <a:gd name="connsiteY34" fmla="*/ 33338 h 1012031"/>
                <a:gd name="connsiteX35" fmla="*/ 495300 w 759618"/>
                <a:gd name="connsiteY35" fmla="*/ 0 h 1012031"/>
                <a:gd name="connsiteX36" fmla="*/ 466725 w 759618"/>
                <a:gd name="connsiteY36" fmla="*/ 40481 h 1012031"/>
                <a:gd name="connsiteX37" fmla="*/ 466725 w 759618"/>
                <a:gd name="connsiteY37" fmla="*/ 61913 h 1012031"/>
                <a:gd name="connsiteX38" fmla="*/ 490537 w 759618"/>
                <a:gd name="connsiteY38" fmla="*/ 80963 h 1012031"/>
                <a:gd name="connsiteX39" fmla="*/ 490537 w 759618"/>
                <a:gd name="connsiteY39" fmla="*/ 100013 h 1012031"/>
                <a:gd name="connsiteX40" fmla="*/ 464343 w 759618"/>
                <a:gd name="connsiteY40" fmla="*/ 95250 h 1012031"/>
                <a:gd name="connsiteX41" fmla="*/ 442912 w 759618"/>
                <a:gd name="connsiteY41" fmla="*/ 64294 h 1012031"/>
                <a:gd name="connsiteX42" fmla="*/ 433387 w 759618"/>
                <a:gd name="connsiteY42" fmla="*/ 40481 h 1012031"/>
                <a:gd name="connsiteX43" fmla="*/ 414337 w 759618"/>
                <a:gd name="connsiteY43" fmla="*/ 33338 h 1012031"/>
                <a:gd name="connsiteX44" fmla="*/ 383381 w 759618"/>
                <a:gd name="connsiteY44" fmla="*/ 38100 h 1012031"/>
                <a:gd name="connsiteX45" fmla="*/ 376237 w 759618"/>
                <a:gd name="connsiteY45" fmla="*/ 42863 h 1012031"/>
                <a:gd name="connsiteX46" fmla="*/ 378618 w 759618"/>
                <a:gd name="connsiteY46" fmla="*/ 69056 h 1012031"/>
                <a:gd name="connsiteX47" fmla="*/ 402431 w 759618"/>
                <a:gd name="connsiteY47" fmla="*/ 88106 h 1012031"/>
                <a:gd name="connsiteX48" fmla="*/ 416718 w 759618"/>
                <a:gd name="connsiteY48" fmla="*/ 109538 h 1012031"/>
                <a:gd name="connsiteX49" fmla="*/ 402431 w 759618"/>
                <a:gd name="connsiteY49" fmla="*/ 145256 h 1012031"/>
                <a:gd name="connsiteX50" fmla="*/ 385762 w 759618"/>
                <a:gd name="connsiteY50" fmla="*/ 135731 h 1012031"/>
                <a:gd name="connsiteX51" fmla="*/ 381000 w 759618"/>
                <a:gd name="connsiteY51" fmla="*/ 104775 h 1012031"/>
                <a:gd name="connsiteX52" fmla="*/ 352425 w 759618"/>
                <a:gd name="connsiteY52" fmla="*/ 59531 h 1012031"/>
                <a:gd name="connsiteX53" fmla="*/ 333375 w 759618"/>
                <a:gd name="connsiteY53" fmla="*/ 69056 h 1012031"/>
                <a:gd name="connsiteX54" fmla="*/ 323850 w 759618"/>
                <a:gd name="connsiteY54" fmla="*/ 50006 h 1012031"/>
                <a:gd name="connsiteX55" fmla="*/ 302418 w 759618"/>
                <a:gd name="connsiteY55" fmla="*/ 42863 h 1012031"/>
                <a:gd name="connsiteX56" fmla="*/ 290512 w 759618"/>
                <a:gd name="connsiteY56" fmla="*/ 64294 h 1012031"/>
                <a:gd name="connsiteX57" fmla="*/ 304800 w 759618"/>
                <a:gd name="connsiteY57" fmla="*/ 76200 h 1012031"/>
                <a:gd name="connsiteX58" fmla="*/ 323850 w 759618"/>
                <a:gd name="connsiteY58" fmla="*/ 92869 h 1012031"/>
                <a:gd name="connsiteX59" fmla="*/ 335756 w 759618"/>
                <a:gd name="connsiteY59" fmla="*/ 100013 h 1012031"/>
                <a:gd name="connsiteX60" fmla="*/ 328612 w 759618"/>
                <a:gd name="connsiteY60" fmla="*/ 111919 h 1012031"/>
                <a:gd name="connsiteX61" fmla="*/ 307181 w 759618"/>
                <a:gd name="connsiteY61" fmla="*/ 100013 h 1012031"/>
                <a:gd name="connsiteX62" fmla="*/ 264318 w 759618"/>
                <a:gd name="connsiteY62" fmla="*/ 76200 h 1012031"/>
                <a:gd name="connsiteX63" fmla="*/ 280987 w 759618"/>
                <a:gd name="connsiteY63" fmla="*/ 114300 h 1012031"/>
                <a:gd name="connsiteX64" fmla="*/ 292893 w 759618"/>
                <a:gd name="connsiteY64" fmla="*/ 130969 h 1012031"/>
                <a:gd name="connsiteX65" fmla="*/ 280987 w 759618"/>
                <a:gd name="connsiteY65" fmla="*/ 140494 h 1012031"/>
                <a:gd name="connsiteX66" fmla="*/ 247650 w 759618"/>
                <a:gd name="connsiteY66" fmla="*/ 100013 h 1012031"/>
                <a:gd name="connsiteX67" fmla="*/ 261937 w 759618"/>
                <a:gd name="connsiteY67" fmla="*/ 142875 h 1012031"/>
                <a:gd name="connsiteX68" fmla="*/ 242887 w 759618"/>
                <a:gd name="connsiteY68" fmla="*/ 150019 h 1012031"/>
                <a:gd name="connsiteX69" fmla="*/ 257175 w 759618"/>
                <a:gd name="connsiteY69" fmla="*/ 178594 h 1012031"/>
                <a:gd name="connsiteX70" fmla="*/ 278606 w 759618"/>
                <a:gd name="connsiteY70" fmla="*/ 195263 h 1012031"/>
                <a:gd name="connsiteX71" fmla="*/ 307181 w 759618"/>
                <a:gd name="connsiteY71" fmla="*/ 228600 h 1012031"/>
                <a:gd name="connsiteX72" fmla="*/ 316706 w 759618"/>
                <a:gd name="connsiteY72" fmla="*/ 254794 h 1012031"/>
                <a:gd name="connsiteX73" fmla="*/ 316706 w 759618"/>
                <a:gd name="connsiteY73" fmla="*/ 254794 h 1012031"/>
                <a:gd name="connsiteX74" fmla="*/ 285750 w 759618"/>
                <a:gd name="connsiteY74" fmla="*/ 235744 h 1012031"/>
                <a:gd name="connsiteX75" fmla="*/ 238125 w 759618"/>
                <a:gd name="connsiteY75" fmla="*/ 221456 h 1012031"/>
                <a:gd name="connsiteX76" fmla="*/ 223837 w 759618"/>
                <a:gd name="connsiteY76" fmla="*/ 195263 h 1012031"/>
                <a:gd name="connsiteX77" fmla="*/ 204787 w 759618"/>
                <a:gd name="connsiteY77" fmla="*/ 166688 h 1012031"/>
                <a:gd name="connsiteX78" fmla="*/ 166687 w 759618"/>
                <a:gd name="connsiteY78" fmla="*/ 130969 h 1012031"/>
                <a:gd name="connsiteX79" fmla="*/ 166687 w 759618"/>
                <a:gd name="connsiteY79" fmla="*/ 157163 h 1012031"/>
                <a:gd name="connsiteX80" fmla="*/ 173831 w 759618"/>
                <a:gd name="connsiteY80" fmla="*/ 176213 h 1012031"/>
                <a:gd name="connsiteX81" fmla="*/ 171450 w 759618"/>
                <a:gd name="connsiteY81" fmla="*/ 188119 h 1012031"/>
                <a:gd name="connsiteX82" fmla="*/ 152400 w 759618"/>
                <a:gd name="connsiteY82" fmla="*/ 195263 h 1012031"/>
                <a:gd name="connsiteX83" fmla="*/ 128587 w 759618"/>
                <a:gd name="connsiteY83" fmla="*/ 190500 h 1012031"/>
                <a:gd name="connsiteX84" fmla="*/ 178593 w 759618"/>
                <a:gd name="connsiteY84" fmla="*/ 214313 h 1012031"/>
                <a:gd name="connsiteX85" fmla="*/ 188118 w 759618"/>
                <a:gd name="connsiteY85" fmla="*/ 228600 h 1012031"/>
                <a:gd name="connsiteX86" fmla="*/ 185737 w 759618"/>
                <a:gd name="connsiteY86" fmla="*/ 250031 h 1012031"/>
                <a:gd name="connsiteX87" fmla="*/ 157162 w 759618"/>
                <a:gd name="connsiteY87" fmla="*/ 228600 h 1012031"/>
                <a:gd name="connsiteX88" fmla="*/ 121443 w 759618"/>
                <a:gd name="connsiteY88" fmla="*/ 223838 h 1012031"/>
                <a:gd name="connsiteX89" fmla="*/ 97631 w 759618"/>
                <a:gd name="connsiteY89" fmla="*/ 211931 h 1012031"/>
                <a:gd name="connsiteX90" fmla="*/ 73818 w 759618"/>
                <a:gd name="connsiteY90" fmla="*/ 235744 h 1012031"/>
                <a:gd name="connsiteX91" fmla="*/ 73818 w 759618"/>
                <a:gd name="connsiteY91" fmla="*/ 257175 h 1012031"/>
                <a:gd name="connsiteX92" fmla="*/ 52387 w 759618"/>
                <a:gd name="connsiteY92" fmla="*/ 273844 h 1012031"/>
                <a:gd name="connsiteX93" fmla="*/ 35718 w 759618"/>
                <a:gd name="connsiteY93" fmla="*/ 254794 h 1012031"/>
                <a:gd name="connsiteX94" fmla="*/ 19050 w 759618"/>
                <a:gd name="connsiteY94" fmla="*/ 264319 h 1012031"/>
                <a:gd name="connsiteX95" fmla="*/ 0 w 759618"/>
                <a:gd name="connsiteY95" fmla="*/ 297656 h 1012031"/>
                <a:gd name="connsiteX96" fmla="*/ 26193 w 759618"/>
                <a:gd name="connsiteY96" fmla="*/ 283369 h 1012031"/>
                <a:gd name="connsiteX97" fmla="*/ 38100 w 759618"/>
                <a:gd name="connsiteY97" fmla="*/ 273844 h 1012031"/>
                <a:gd name="connsiteX98" fmla="*/ 52387 w 759618"/>
                <a:gd name="connsiteY98" fmla="*/ 288131 h 1012031"/>
                <a:gd name="connsiteX99" fmla="*/ 30956 w 759618"/>
                <a:gd name="connsiteY99" fmla="*/ 323850 h 1012031"/>
                <a:gd name="connsiteX100" fmla="*/ 69056 w 759618"/>
                <a:gd name="connsiteY100" fmla="*/ 300038 h 1012031"/>
                <a:gd name="connsiteX101" fmla="*/ 92868 w 759618"/>
                <a:gd name="connsiteY101" fmla="*/ 295275 h 1012031"/>
                <a:gd name="connsiteX102" fmla="*/ 114300 w 759618"/>
                <a:gd name="connsiteY102" fmla="*/ 300038 h 1012031"/>
                <a:gd name="connsiteX103" fmla="*/ 111918 w 759618"/>
                <a:gd name="connsiteY103" fmla="*/ 316706 h 1012031"/>
                <a:gd name="connsiteX104" fmla="*/ 92868 w 759618"/>
                <a:gd name="connsiteY104" fmla="*/ 311944 h 1012031"/>
                <a:gd name="connsiteX105" fmla="*/ 66675 w 759618"/>
                <a:gd name="connsiteY105" fmla="*/ 338138 h 1012031"/>
                <a:gd name="connsiteX106" fmla="*/ 69056 w 759618"/>
                <a:gd name="connsiteY106" fmla="*/ 359569 h 1012031"/>
                <a:gd name="connsiteX107" fmla="*/ 50006 w 759618"/>
                <a:gd name="connsiteY107" fmla="*/ 369094 h 1012031"/>
                <a:gd name="connsiteX108" fmla="*/ 59531 w 759618"/>
                <a:gd name="connsiteY108" fmla="*/ 385763 h 1012031"/>
                <a:gd name="connsiteX109" fmla="*/ 88106 w 759618"/>
                <a:gd name="connsiteY109" fmla="*/ 376238 h 1012031"/>
                <a:gd name="connsiteX110" fmla="*/ 116681 w 759618"/>
                <a:gd name="connsiteY110" fmla="*/ 378619 h 1012031"/>
                <a:gd name="connsiteX111" fmla="*/ 138112 w 759618"/>
                <a:gd name="connsiteY111" fmla="*/ 354806 h 1012031"/>
                <a:gd name="connsiteX112" fmla="*/ 164306 w 759618"/>
                <a:gd name="connsiteY112" fmla="*/ 335756 h 1012031"/>
                <a:gd name="connsiteX113" fmla="*/ 178593 w 759618"/>
                <a:gd name="connsiteY113" fmla="*/ 340519 h 1012031"/>
                <a:gd name="connsiteX114" fmla="*/ 157162 w 759618"/>
                <a:gd name="connsiteY114" fmla="*/ 366713 h 1012031"/>
                <a:gd name="connsiteX115" fmla="*/ 114300 w 759618"/>
                <a:gd name="connsiteY115" fmla="*/ 407194 h 1012031"/>
                <a:gd name="connsiteX116" fmla="*/ 73818 w 759618"/>
                <a:gd name="connsiteY116" fmla="*/ 411956 h 1012031"/>
                <a:gd name="connsiteX117" fmla="*/ 102393 w 759618"/>
                <a:gd name="connsiteY117" fmla="*/ 447675 h 1012031"/>
                <a:gd name="connsiteX118" fmla="*/ 133350 w 759618"/>
                <a:gd name="connsiteY118" fmla="*/ 419100 h 1012031"/>
                <a:gd name="connsiteX119" fmla="*/ 169068 w 759618"/>
                <a:gd name="connsiteY119" fmla="*/ 378619 h 1012031"/>
                <a:gd name="connsiteX120" fmla="*/ 209550 w 759618"/>
                <a:gd name="connsiteY120" fmla="*/ 371475 h 1012031"/>
                <a:gd name="connsiteX121" fmla="*/ 223837 w 759618"/>
                <a:gd name="connsiteY121" fmla="*/ 373856 h 1012031"/>
                <a:gd name="connsiteX122" fmla="*/ 183356 w 759618"/>
                <a:gd name="connsiteY122" fmla="*/ 402431 h 1012031"/>
                <a:gd name="connsiteX123" fmla="*/ 154781 w 759618"/>
                <a:gd name="connsiteY123" fmla="*/ 428625 h 1012031"/>
                <a:gd name="connsiteX124" fmla="*/ 147637 w 759618"/>
                <a:gd name="connsiteY124" fmla="*/ 454819 h 1012031"/>
                <a:gd name="connsiteX125" fmla="*/ 169068 w 759618"/>
                <a:gd name="connsiteY125" fmla="*/ 466725 h 1012031"/>
                <a:gd name="connsiteX126" fmla="*/ 197643 w 759618"/>
                <a:gd name="connsiteY126" fmla="*/ 454819 h 1012031"/>
                <a:gd name="connsiteX127" fmla="*/ 197643 w 759618"/>
                <a:gd name="connsiteY127" fmla="*/ 423863 h 1012031"/>
                <a:gd name="connsiteX128" fmla="*/ 211931 w 759618"/>
                <a:gd name="connsiteY128" fmla="*/ 411956 h 1012031"/>
                <a:gd name="connsiteX129" fmla="*/ 228600 w 759618"/>
                <a:gd name="connsiteY129" fmla="*/ 428625 h 1012031"/>
                <a:gd name="connsiteX130" fmla="*/ 254793 w 759618"/>
                <a:gd name="connsiteY130" fmla="*/ 423863 h 1012031"/>
                <a:gd name="connsiteX131" fmla="*/ 240506 w 759618"/>
                <a:gd name="connsiteY131" fmla="*/ 445294 h 1012031"/>
                <a:gd name="connsiteX132" fmla="*/ 216693 w 759618"/>
                <a:gd name="connsiteY132" fmla="*/ 452438 h 1012031"/>
                <a:gd name="connsiteX133" fmla="*/ 242887 w 759618"/>
                <a:gd name="connsiteY133" fmla="*/ 464344 h 1012031"/>
                <a:gd name="connsiteX134" fmla="*/ 304800 w 759618"/>
                <a:gd name="connsiteY134" fmla="*/ 411956 h 1012031"/>
                <a:gd name="connsiteX135" fmla="*/ 307181 w 759618"/>
                <a:gd name="connsiteY135" fmla="*/ 364331 h 1012031"/>
                <a:gd name="connsiteX136" fmla="*/ 378618 w 759618"/>
                <a:gd name="connsiteY136" fmla="*/ 311944 h 1012031"/>
                <a:gd name="connsiteX137" fmla="*/ 385762 w 759618"/>
                <a:gd name="connsiteY137" fmla="*/ 335756 h 1012031"/>
                <a:gd name="connsiteX138" fmla="*/ 357187 w 759618"/>
                <a:gd name="connsiteY138" fmla="*/ 359569 h 1012031"/>
                <a:gd name="connsiteX139" fmla="*/ 333375 w 759618"/>
                <a:gd name="connsiteY139" fmla="*/ 400050 h 1012031"/>
                <a:gd name="connsiteX140" fmla="*/ 333375 w 759618"/>
                <a:gd name="connsiteY140" fmla="*/ 414338 h 1012031"/>
                <a:gd name="connsiteX141" fmla="*/ 359568 w 759618"/>
                <a:gd name="connsiteY141" fmla="*/ 407194 h 1012031"/>
                <a:gd name="connsiteX142" fmla="*/ 381000 w 759618"/>
                <a:gd name="connsiteY142" fmla="*/ 414338 h 1012031"/>
                <a:gd name="connsiteX143" fmla="*/ 369093 w 759618"/>
                <a:gd name="connsiteY143" fmla="*/ 419100 h 1012031"/>
                <a:gd name="connsiteX144" fmla="*/ 338137 w 759618"/>
                <a:gd name="connsiteY144" fmla="*/ 428625 h 1012031"/>
                <a:gd name="connsiteX145" fmla="*/ 300037 w 759618"/>
                <a:gd name="connsiteY145" fmla="*/ 454819 h 1012031"/>
                <a:gd name="connsiteX146" fmla="*/ 345281 w 759618"/>
                <a:gd name="connsiteY146" fmla="*/ 461963 h 1012031"/>
                <a:gd name="connsiteX147" fmla="*/ 342900 w 759618"/>
                <a:gd name="connsiteY147" fmla="*/ 476250 h 1012031"/>
                <a:gd name="connsiteX148" fmla="*/ 292893 w 759618"/>
                <a:gd name="connsiteY148" fmla="*/ 478631 h 1012031"/>
                <a:gd name="connsiteX149" fmla="*/ 261937 w 759618"/>
                <a:gd name="connsiteY149" fmla="*/ 495300 h 1012031"/>
                <a:gd name="connsiteX150" fmla="*/ 228600 w 759618"/>
                <a:gd name="connsiteY150" fmla="*/ 504825 h 1012031"/>
                <a:gd name="connsiteX151" fmla="*/ 240506 w 759618"/>
                <a:gd name="connsiteY151" fmla="*/ 540544 h 1012031"/>
                <a:gd name="connsiteX152" fmla="*/ 257175 w 759618"/>
                <a:gd name="connsiteY152" fmla="*/ 557213 h 1012031"/>
                <a:gd name="connsiteX153" fmla="*/ 259556 w 759618"/>
                <a:gd name="connsiteY153" fmla="*/ 578644 h 1012031"/>
                <a:gd name="connsiteX154" fmla="*/ 290512 w 759618"/>
                <a:gd name="connsiteY154" fmla="*/ 585788 h 1012031"/>
                <a:gd name="connsiteX155" fmla="*/ 292893 w 759618"/>
                <a:gd name="connsiteY155" fmla="*/ 597694 h 1012031"/>
                <a:gd name="connsiteX156" fmla="*/ 273843 w 759618"/>
                <a:gd name="connsiteY156" fmla="*/ 616744 h 1012031"/>
                <a:gd name="connsiteX157" fmla="*/ 252412 w 759618"/>
                <a:gd name="connsiteY157" fmla="*/ 609600 h 1012031"/>
                <a:gd name="connsiteX158" fmla="*/ 235743 w 759618"/>
                <a:gd name="connsiteY158" fmla="*/ 607219 h 1012031"/>
                <a:gd name="connsiteX159" fmla="*/ 228600 w 759618"/>
                <a:gd name="connsiteY159" fmla="*/ 581025 h 1012031"/>
                <a:gd name="connsiteX160" fmla="*/ 204787 w 759618"/>
                <a:gd name="connsiteY160" fmla="*/ 547688 h 1012031"/>
                <a:gd name="connsiteX161" fmla="*/ 192881 w 759618"/>
                <a:gd name="connsiteY161" fmla="*/ 519113 h 1012031"/>
                <a:gd name="connsiteX162" fmla="*/ 166687 w 759618"/>
                <a:gd name="connsiteY162" fmla="*/ 507206 h 1012031"/>
                <a:gd name="connsiteX163" fmla="*/ 130968 w 759618"/>
                <a:gd name="connsiteY163" fmla="*/ 495300 h 1012031"/>
                <a:gd name="connsiteX164" fmla="*/ 135731 w 759618"/>
                <a:gd name="connsiteY164" fmla="*/ 535781 h 1012031"/>
                <a:gd name="connsiteX165" fmla="*/ 171450 w 759618"/>
                <a:gd name="connsiteY165" fmla="*/ 554831 h 1012031"/>
                <a:gd name="connsiteX166" fmla="*/ 164306 w 759618"/>
                <a:gd name="connsiteY166" fmla="*/ 569119 h 1012031"/>
                <a:gd name="connsiteX167" fmla="*/ 138112 w 759618"/>
                <a:gd name="connsiteY167" fmla="*/ 554831 h 1012031"/>
                <a:gd name="connsiteX168" fmla="*/ 173831 w 759618"/>
                <a:gd name="connsiteY168" fmla="*/ 595313 h 1012031"/>
                <a:gd name="connsiteX169" fmla="*/ 188118 w 759618"/>
                <a:gd name="connsiteY169" fmla="*/ 621506 h 1012031"/>
                <a:gd name="connsiteX170" fmla="*/ 197643 w 759618"/>
                <a:gd name="connsiteY170" fmla="*/ 642938 h 1012031"/>
                <a:gd name="connsiteX171" fmla="*/ 207168 w 759618"/>
                <a:gd name="connsiteY171" fmla="*/ 659606 h 1012031"/>
                <a:gd name="connsiteX172" fmla="*/ 207168 w 759618"/>
                <a:gd name="connsiteY172" fmla="*/ 659606 h 1012031"/>
                <a:gd name="connsiteX173" fmla="*/ 176212 w 759618"/>
                <a:gd name="connsiteY173" fmla="*/ 664369 h 1012031"/>
                <a:gd name="connsiteX174" fmla="*/ 200025 w 759618"/>
                <a:gd name="connsiteY174" fmla="*/ 681038 h 1012031"/>
                <a:gd name="connsiteX175" fmla="*/ 228600 w 759618"/>
                <a:gd name="connsiteY175" fmla="*/ 690563 h 1012031"/>
                <a:gd name="connsiteX176" fmla="*/ 242887 w 759618"/>
                <a:gd name="connsiteY176" fmla="*/ 685800 h 1012031"/>
                <a:gd name="connsiteX177" fmla="*/ 252412 w 759618"/>
                <a:gd name="connsiteY177" fmla="*/ 678656 h 1012031"/>
                <a:gd name="connsiteX178" fmla="*/ 264318 w 759618"/>
                <a:gd name="connsiteY178" fmla="*/ 704850 h 1012031"/>
                <a:gd name="connsiteX179" fmla="*/ 252412 w 759618"/>
                <a:gd name="connsiteY179" fmla="*/ 719138 h 1012031"/>
                <a:gd name="connsiteX180" fmla="*/ 235743 w 759618"/>
                <a:gd name="connsiteY180" fmla="*/ 745331 h 1012031"/>
                <a:gd name="connsiteX181" fmla="*/ 209550 w 759618"/>
                <a:gd name="connsiteY181" fmla="*/ 716756 h 1012031"/>
                <a:gd name="connsiteX182" fmla="*/ 185737 w 759618"/>
                <a:gd name="connsiteY182" fmla="*/ 704850 h 1012031"/>
                <a:gd name="connsiteX183" fmla="*/ 147637 w 759618"/>
                <a:gd name="connsiteY183" fmla="*/ 707231 h 1012031"/>
                <a:gd name="connsiteX184" fmla="*/ 135731 w 759618"/>
                <a:gd name="connsiteY184" fmla="*/ 716756 h 1012031"/>
                <a:gd name="connsiteX185" fmla="*/ 123825 w 759618"/>
                <a:gd name="connsiteY185" fmla="*/ 735806 h 1012031"/>
                <a:gd name="connsiteX186" fmla="*/ 114300 w 759618"/>
                <a:gd name="connsiteY186" fmla="*/ 766763 h 1012031"/>
                <a:gd name="connsiteX187" fmla="*/ 126206 w 759618"/>
                <a:gd name="connsiteY187" fmla="*/ 781050 h 1012031"/>
                <a:gd name="connsiteX188" fmla="*/ 145256 w 759618"/>
                <a:gd name="connsiteY188" fmla="*/ 757238 h 1012031"/>
                <a:gd name="connsiteX189" fmla="*/ 145256 w 759618"/>
                <a:gd name="connsiteY189" fmla="*/ 757238 h 1012031"/>
                <a:gd name="connsiteX190" fmla="*/ 152400 w 759618"/>
                <a:gd name="connsiteY190" fmla="*/ 778669 h 1012031"/>
                <a:gd name="connsiteX191" fmla="*/ 142875 w 759618"/>
                <a:gd name="connsiteY191" fmla="*/ 790575 h 1012031"/>
                <a:gd name="connsiteX192" fmla="*/ 173831 w 759618"/>
                <a:gd name="connsiteY192" fmla="*/ 776288 h 1012031"/>
                <a:gd name="connsiteX193" fmla="*/ 169068 w 759618"/>
                <a:gd name="connsiteY193" fmla="*/ 752475 h 1012031"/>
                <a:gd name="connsiteX194" fmla="*/ 183356 w 759618"/>
                <a:gd name="connsiteY194" fmla="*/ 747713 h 1012031"/>
                <a:gd name="connsiteX195" fmla="*/ 183356 w 759618"/>
                <a:gd name="connsiteY195" fmla="*/ 766763 h 1012031"/>
                <a:gd name="connsiteX196" fmla="*/ 188118 w 759618"/>
                <a:gd name="connsiteY196" fmla="*/ 778669 h 1012031"/>
                <a:gd name="connsiteX197" fmla="*/ 200025 w 759618"/>
                <a:gd name="connsiteY197" fmla="*/ 783431 h 1012031"/>
                <a:gd name="connsiteX198" fmla="*/ 197643 w 759618"/>
                <a:gd name="connsiteY198" fmla="*/ 797719 h 1012031"/>
                <a:gd name="connsiteX199" fmla="*/ 178593 w 759618"/>
                <a:gd name="connsiteY199" fmla="*/ 802481 h 1012031"/>
                <a:gd name="connsiteX200" fmla="*/ 166687 w 759618"/>
                <a:gd name="connsiteY200" fmla="*/ 812006 h 1012031"/>
                <a:gd name="connsiteX201" fmla="*/ 180975 w 759618"/>
                <a:gd name="connsiteY201" fmla="*/ 816769 h 1012031"/>
                <a:gd name="connsiteX202" fmla="*/ 173831 w 759618"/>
                <a:gd name="connsiteY202" fmla="*/ 838200 h 1012031"/>
                <a:gd name="connsiteX203" fmla="*/ 190500 w 759618"/>
                <a:gd name="connsiteY203" fmla="*/ 842963 h 1012031"/>
                <a:gd name="connsiteX204" fmla="*/ 190500 w 759618"/>
                <a:gd name="connsiteY204" fmla="*/ 842963 h 1012031"/>
                <a:gd name="connsiteX205" fmla="*/ 226218 w 759618"/>
                <a:gd name="connsiteY205" fmla="*/ 814388 h 1012031"/>
                <a:gd name="connsiteX206" fmla="*/ 230981 w 759618"/>
                <a:gd name="connsiteY206" fmla="*/ 795338 h 1012031"/>
                <a:gd name="connsiteX207" fmla="*/ 247650 w 759618"/>
                <a:gd name="connsiteY207" fmla="*/ 804863 h 1012031"/>
                <a:gd name="connsiteX208" fmla="*/ 228600 w 759618"/>
                <a:gd name="connsiteY208" fmla="*/ 842963 h 1012031"/>
                <a:gd name="connsiteX209" fmla="*/ 204787 w 759618"/>
                <a:gd name="connsiteY209" fmla="*/ 869156 h 1012031"/>
                <a:gd name="connsiteX210" fmla="*/ 192881 w 759618"/>
                <a:gd name="connsiteY210" fmla="*/ 873919 h 1012031"/>
                <a:gd name="connsiteX211" fmla="*/ 171450 w 759618"/>
                <a:gd name="connsiteY211" fmla="*/ 888206 h 1012031"/>
                <a:gd name="connsiteX212" fmla="*/ 142875 w 759618"/>
                <a:gd name="connsiteY212" fmla="*/ 859631 h 1012031"/>
                <a:gd name="connsiteX213" fmla="*/ 126206 w 759618"/>
                <a:gd name="connsiteY213" fmla="*/ 831056 h 1012031"/>
                <a:gd name="connsiteX214" fmla="*/ 104775 w 759618"/>
                <a:gd name="connsiteY214" fmla="*/ 828675 h 1012031"/>
                <a:gd name="connsiteX215" fmla="*/ 85725 w 759618"/>
                <a:gd name="connsiteY215" fmla="*/ 845344 h 1012031"/>
                <a:gd name="connsiteX216" fmla="*/ 100012 w 759618"/>
                <a:gd name="connsiteY216" fmla="*/ 864394 h 1012031"/>
                <a:gd name="connsiteX217" fmla="*/ 111918 w 759618"/>
                <a:gd name="connsiteY217" fmla="*/ 878681 h 1012031"/>
                <a:gd name="connsiteX218" fmla="*/ 123825 w 759618"/>
                <a:gd name="connsiteY218" fmla="*/ 888206 h 1012031"/>
                <a:gd name="connsiteX219" fmla="*/ 133350 w 759618"/>
                <a:gd name="connsiteY219" fmla="*/ 909638 h 1012031"/>
                <a:gd name="connsiteX220" fmla="*/ 109537 w 759618"/>
                <a:gd name="connsiteY220" fmla="*/ 921544 h 1012031"/>
                <a:gd name="connsiteX221" fmla="*/ 90487 w 759618"/>
                <a:gd name="connsiteY221" fmla="*/ 909638 h 1012031"/>
                <a:gd name="connsiteX222" fmla="*/ 71437 w 759618"/>
                <a:gd name="connsiteY222" fmla="*/ 935831 h 1012031"/>
                <a:gd name="connsiteX223" fmla="*/ 61912 w 759618"/>
                <a:gd name="connsiteY223" fmla="*/ 971550 h 1012031"/>
                <a:gd name="connsiteX224" fmla="*/ 80962 w 759618"/>
                <a:gd name="connsiteY224" fmla="*/ 954881 h 1012031"/>
                <a:gd name="connsiteX225" fmla="*/ 95250 w 759618"/>
                <a:gd name="connsiteY225" fmla="*/ 978694 h 1012031"/>
                <a:gd name="connsiteX226" fmla="*/ 109537 w 759618"/>
                <a:gd name="connsiteY226" fmla="*/ 964406 h 1012031"/>
                <a:gd name="connsiteX227" fmla="*/ 119062 w 759618"/>
                <a:gd name="connsiteY227" fmla="*/ 981075 h 1012031"/>
                <a:gd name="connsiteX228" fmla="*/ 126206 w 759618"/>
                <a:gd name="connsiteY228" fmla="*/ 959644 h 1012031"/>
                <a:gd name="connsiteX229" fmla="*/ 145256 w 759618"/>
                <a:gd name="connsiteY229" fmla="*/ 985838 h 1012031"/>
                <a:gd name="connsiteX230" fmla="*/ 169068 w 759618"/>
                <a:gd name="connsiteY230" fmla="*/ 1004888 h 1012031"/>
                <a:gd name="connsiteX231" fmla="*/ 161925 w 759618"/>
                <a:gd name="connsiteY231" fmla="*/ 978694 h 1012031"/>
                <a:gd name="connsiteX232" fmla="*/ 171450 w 759618"/>
                <a:gd name="connsiteY232" fmla="*/ 964406 h 1012031"/>
                <a:gd name="connsiteX233" fmla="*/ 180975 w 759618"/>
                <a:gd name="connsiteY233" fmla="*/ 973931 h 1012031"/>
                <a:gd name="connsiteX234" fmla="*/ 188118 w 759618"/>
                <a:gd name="connsiteY234" fmla="*/ 962025 h 1012031"/>
                <a:gd name="connsiteX235" fmla="*/ 197643 w 759618"/>
                <a:gd name="connsiteY235" fmla="*/ 981075 h 1012031"/>
                <a:gd name="connsiteX236" fmla="*/ 209550 w 759618"/>
                <a:gd name="connsiteY236" fmla="*/ 962025 h 1012031"/>
                <a:gd name="connsiteX237" fmla="*/ 228600 w 759618"/>
                <a:gd name="connsiteY237" fmla="*/ 983456 h 1012031"/>
                <a:gd name="connsiteX238" fmla="*/ 235743 w 759618"/>
                <a:gd name="connsiteY238" fmla="*/ 959644 h 1012031"/>
                <a:gd name="connsiteX239" fmla="*/ 254793 w 759618"/>
                <a:gd name="connsiteY239" fmla="*/ 973931 h 1012031"/>
                <a:gd name="connsiteX240" fmla="*/ 271462 w 759618"/>
                <a:gd name="connsiteY240" fmla="*/ 983456 h 1012031"/>
                <a:gd name="connsiteX241" fmla="*/ 278606 w 759618"/>
                <a:gd name="connsiteY241" fmla="*/ 1000125 h 1012031"/>
                <a:gd name="connsiteX242" fmla="*/ 269081 w 759618"/>
                <a:gd name="connsiteY242" fmla="*/ 1012031 h 1012031"/>
                <a:gd name="connsiteX243" fmla="*/ 316706 w 759618"/>
                <a:gd name="connsiteY243" fmla="*/ 976313 h 1012031"/>
                <a:gd name="connsiteX244" fmla="*/ 335756 w 759618"/>
                <a:gd name="connsiteY244" fmla="*/ 969169 h 1012031"/>
                <a:gd name="connsiteX245" fmla="*/ 342900 w 759618"/>
                <a:gd name="connsiteY245" fmla="*/ 950119 h 1012031"/>
                <a:gd name="connsiteX246" fmla="*/ 342900 w 759618"/>
                <a:gd name="connsiteY246" fmla="*/ 926306 h 1012031"/>
                <a:gd name="connsiteX247" fmla="*/ 321468 w 759618"/>
                <a:gd name="connsiteY247" fmla="*/ 935831 h 1012031"/>
                <a:gd name="connsiteX248" fmla="*/ 307181 w 759618"/>
                <a:gd name="connsiteY248" fmla="*/ 926306 h 1012031"/>
                <a:gd name="connsiteX249" fmla="*/ 307181 w 759618"/>
                <a:gd name="connsiteY249" fmla="*/ 900113 h 1012031"/>
                <a:gd name="connsiteX250" fmla="*/ 290512 w 759618"/>
                <a:gd name="connsiteY250" fmla="*/ 916781 h 1012031"/>
                <a:gd name="connsiteX251" fmla="*/ 269081 w 759618"/>
                <a:gd name="connsiteY251" fmla="*/ 892969 h 1012031"/>
                <a:gd name="connsiteX252" fmla="*/ 252412 w 759618"/>
                <a:gd name="connsiteY252" fmla="*/ 919163 h 1012031"/>
                <a:gd name="connsiteX253" fmla="*/ 233362 w 759618"/>
                <a:gd name="connsiteY253" fmla="*/ 902494 h 1012031"/>
                <a:gd name="connsiteX254" fmla="*/ 254793 w 759618"/>
                <a:gd name="connsiteY254" fmla="*/ 888206 h 1012031"/>
                <a:gd name="connsiteX255" fmla="*/ 254793 w 759618"/>
                <a:gd name="connsiteY255" fmla="*/ 862013 h 1012031"/>
                <a:gd name="connsiteX256" fmla="*/ 278606 w 759618"/>
                <a:gd name="connsiteY256" fmla="*/ 876300 h 1012031"/>
                <a:gd name="connsiteX257" fmla="*/ 307181 w 759618"/>
                <a:gd name="connsiteY257" fmla="*/ 885825 h 1012031"/>
                <a:gd name="connsiteX258" fmla="*/ 323850 w 759618"/>
                <a:gd name="connsiteY258" fmla="*/ 878681 h 1012031"/>
                <a:gd name="connsiteX259" fmla="*/ 338137 w 759618"/>
                <a:gd name="connsiteY259" fmla="*/ 869156 h 1012031"/>
                <a:gd name="connsiteX260" fmla="*/ 338137 w 759618"/>
                <a:gd name="connsiteY260" fmla="*/ 847725 h 1012031"/>
                <a:gd name="connsiteX261" fmla="*/ 335756 w 759618"/>
                <a:gd name="connsiteY261" fmla="*/ 823913 h 1012031"/>
                <a:gd name="connsiteX262" fmla="*/ 338137 w 759618"/>
                <a:gd name="connsiteY262" fmla="*/ 797719 h 1012031"/>
                <a:gd name="connsiteX263" fmla="*/ 364331 w 759618"/>
                <a:gd name="connsiteY263" fmla="*/ 814388 h 1012031"/>
                <a:gd name="connsiteX264" fmla="*/ 392906 w 759618"/>
                <a:gd name="connsiteY264" fmla="*/ 795338 h 1012031"/>
                <a:gd name="connsiteX265" fmla="*/ 373856 w 759618"/>
                <a:gd name="connsiteY265" fmla="*/ 783431 h 1012031"/>
                <a:gd name="connsiteX266" fmla="*/ 395287 w 759618"/>
                <a:gd name="connsiteY266" fmla="*/ 776288 h 1012031"/>
                <a:gd name="connsiteX267" fmla="*/ 407193 w 759618"/>
                <a:gd name="connsiteY267" fmla="*/ 762000 h 1012031"/>
                <a:gd name="connsiteX268" fmla="*/ 388143 w 759618"/>
                <a:gd name="connsiteY268" fmla="*/ 752475 h 1012031"/>
                <a:gd name="connsiteX269" fmla="*/ 404812 w 759618"/>
                <a:gd name="connsiteY269" fmla="*/ 738188 h 1012031"/>
                <a:gd name="connsiteX270" fmla="*/ 423862 w 759618"/>
                <a:gd name="connsiteY270" fmla="*/ 707231 h 1012031"/>
                <a:gd name="connsiteX271" fmla="*/ 383381 w 759618"/>
                <a:gd name="connsiteY271" fmla="*/ 697706 h 1012031"/>
                <a:gd name="connsiteX272" fmla="*/ 381000 w 759618"/>
                <a:gd name="connsiteY272" fmla="*/ 690563 h 1012031"/>
                <a:gd name="connsiteX273" fmla="*/ 350043 w 759618"/>
                <a:gd name="connsiteY273" fmla="*/ 690563 h 1012031"/>
                <a:gd name="connsiteX274" fmla="*/ 335756 w 759618"/>
                <a:gd name="connsiteY274" fmla="*/ 676275 h 1012031"/>
                <a:gd name="connsiteX275" fmla="*/ 354806 w 759618"/>
                <a:gd name="connsiteY275" fmla="*/ 654844 h 1012031"/>
                <a:gd name="connsiteX276" fmla="*/ 390525 w 759618"/>
                <a:gd name="connsiteY276" fmla="*/ 657225 h 1012031"/>
                <a:gd name="connsiteX277" fmla="*/ 416718 w 759618"/>
                <a:gd name="connsiteY277" fmla="*/ 683419 h 1012031"/>
                <a:gd name="connsiteX278" fmla="*/ 428625 w 759618"/>
                <a:gd name="connsiteY278" fmla="*/ 647700 h 1012031"/>
                <a:gd name="connsiteX279" fmla="*/ 397668 w 759618"/>
                <a:gd name="connsiteY279" fmla="*/ 640556 h 1012031"/>
                <a:gd name="connsiteX280" fmla="*/ 359568 w 759618"/>
                <a:gd name="connsiteY280" fmla="*/ 631031 h 1012031"/>
                <a:gd name="connsiteX281" fmla="*/ 371475 w 759618"/>
                <a:gd name="connsiteY281" fmla="*/ 619125 h 1012031"/>
                <a:gd name="connsiteX282" fmla="*/ 395287 w 759618"/>
                <a:gd name="connsiteY282" fmla="*/ 616744 h 1012031"/>
                <a:gd name="connsiteX283" fmla="*/ 416718 w 759618"/>
                <a:gd name="connsiteY283" fmla="*/ 628650 h 1012031"/>
                <a:gd name="connsiteX284" fmla="*/ 442912 w 759618"/>
                <a:gd name="connsiteY284" fmla="*/ 607219 h 1012031"/>
                <a:gd name="connsiteX285" fmla="*/ 452437 w 759618"/>
                <a:gd name="connsiteY285" fmla="*/ 592931 h 1012031"/>
                <a:gd name="connsiteX286" fmla="*/ 428625 w 759618"/>
                <a:gd name="connsiteY286" fmla="*/ 576263 h 1012031"/>
                <a:gd name="connsiteX287" fmla="*/ 440531 w 759618"/>
                <a:gd name="connsiteY287" fmla="*/ 564356 h 1012031"/>
                <a:gd name="connsiteX288" fmla="*/ 464343 w 759618"/>
                <a:gd name="connsiteY288" fmla="*/ 578644 h 1012031"/>
                <a:gd name="connsiteX289" fmla="*/ 497681 w 759618"/>
                <a:gd name="connsiteY289" fmla="*/ 590550 h 1012031"/>
                <a:gd name="connsiteX290" fmla="*/ 511968 w 759618"/>
                <a:gd name="connsiteY290" fmla="*/ 557213 h 1012031"/>
                <a:gd name="connsiteX291" fmla="*/ 526256 w 759618"/>
                <a:gd name="connsiteY291" fmla="*/ 528638 h 1012031"/>
                <a:gd name="connsiteX292" fmla="*/ 502443 w 759618"/>
                <a:gd name="connsiteY292" fmla="*/ 531019 h 1012031"/>
                <a:gd name="connsiteX293" fmla="*/ 488156 w 759618"/>
                <a:gd name="connsiteY293" fmla="*/ 519113 h 1012031"/>
                <a:gd name="connsiteX294" fmla="*/ 550068 w 759618"/>
                <a:gd name="connsiteY294" fmla="*/ 478631 h 1012031"/>
                <a:gd name="connsiteX0" fmla="*/ 550068 w 759618"/>
                <a:gd name="connsiteY0" fmla="*/ 478631 h 1012031"/>
                <a:gd name="connsiteX1" fmla="*/ 504825 w 759618"/>
                <a:gd name="connsiteY1" fmla="*/ 426244 h 1012031"/>
                <a:gd name="connsiteX2" fmla="*/ 616743 w 759618"/>
                <a:gd name="connsiteY2" fmla="*/ 383381 h 1012031"/>
                <a:gd name="connsiteX3" fmla="*/ 626268 w 759618"/>
                <a:gd name="connsiteY3" fmla="*/ 357188 h 1012031"/>
                <a:gd name="connsiteX4" fmla="*/ 678656 w 759618"/>
                <a:gd name="connsiteY4" fmla="*/ 307181 h 1012031"/>
                <a:gd name="connsiteX5" fmla="*/ 600075 w 759618"/>
                <a:gd name="connsiteY5" fmla="*/ 335756 h 1012031"/>
                <a:gd name="connsiteX6" fmla="*/ 554831 w 759618"/>
                <a:gd name="connsiteY6" fmla="*/ 373856 h 1012031"/>
                <a:gd name="connsiteX7" fmla="*/ 535781 w 759618"/>
                <a:gd name="connsiteY7" fmla="*/ 369094 h 1012031"/>
                <a:gd name="connsiteX8" fmla="*/ 597693 w 759618"/>
                <a:gd name="connsiteY8" fmla="*/ 309563 h 1012031"/>
                <a:gd name="connsiteX9" fmla="*/ 573881 w 759618"/>
                <a:gd name="connsiteY9" fmla="*/ 288131 h 1012031"/>
                <a:gd name="connsiteX10" fmla="*/ 561975 w 759618"/>
                <a:gd name="connsiteY10" fmla="*/ 261938 h 1012031"/>
                <a:gd name="connsiteX11" fmla="*/ 614362 w 759618"/>
                <a:gd name="connsiteY11" fmla="*/ 292894 h 1012031"/>
                <a:gd name="connsiteX12" fmla="*/ 650081 w 759618"/>
                <a:gd name="connsiteY12" fmla="*/ 290513 h 1012031"/>
                <a:gd name="connsiteX13" fmla="*/ 650081 w 759618"/>
                <a:gd name="connsiteY13" fmla="*/ 273844 h 1012031"/>
                <a:gd name="connsiteX14" fmla="*/ 678656 w 759618"/>
                <a:gd name="connsiteY14" fmla="*/ 271463 h 1012031"/>
                <a:gd name="connsiteX15" fmla="*/ 721518 w 759618"/>
                <a:gd name="connsiteY15" fmla="*/ 221456 h 1012031"/>
                <a:gd name="connsiteX16" fmla="*/ 759618 w 759618"/>
                <a:gd name="connsiteY16" fmla="*/ 150019 h 1012031"/>
                <a:gd name="connsiteX17" fmla="*/ 738187 w 759618"/>
                <a:gd name="connsiteY17" fmla="*/ 126206 h 1012031"/>
                <a:gd name="connsiteX18" fmla="*/ 704850 w 759618"/>
                <a:gd name="connsiteY18" fmla="*/ 121444 h 1012031"/>
                <a:gd name="connsiteX19" fmla="*/ 692943 w 759618"/>
                <a:gd name="connsiteY19" fmla="*/ 73819 h 1012031"/>
                <a:gd name="connsiteX20" fmla="*/ 669131 w 759618"/>
                <a:gd name="connsiteY20" fmla="*/ 59531 h 1012031"/>
                <a:gd name="connsiteX21" fmla="*/ 628650 w 759618"/>
                <a:gd name="connsiteY21" fmla="*/ 78581 h 1012031"/>
                <a:gd name="connsiteX22" fmla="*/ 614362 w 759618"/>
                <a:gd name="connsiteY22" fmla="*/ 102394 h 1012031"/>
                <a:gd name="connsiteX23" fmla="*/ 588168 w 759618"/>
                <a:gd name="connsiteY23" fmla="*/ 114300 h 1012031"/>
                <a:gd name="connsiteX24" fmla="*/ 576262 w 759618"/>
                <a:gd name="connsiteY24" fmla="*/ 107156 h 1012031"/>
                <a:gd name="connsiteX25" fmla="*/ 592931 w 759618"/>
                <a:gd name="connsiteY25" fmla="*/ 85725 h 1012031"/>
                <a:gd name="connsiteX26" fmla="*/ 621506 w 759618"/>
                <a:gd name="connsiteY26" fmla="*/ 50006 h 1012031"/>
                <a:gd name="connsiteX27" fmla="*/ 585787 w 759618"/>
                <a:gd name="connsiteY27" fmla="*/ 33338 h 1012031"/>
                <a:gd name="connsiteX28" fmla="*/ 557212 w 759618"/>
                <a:gd name="connsiteY28" fmla="*/ 38100 h 1012031"/>
                <a:gd name="connsiteX29" fmla="*/ 540543 w 759618"/>
                <a:gd name="connsiteY29" fmla="*/ 16669 h 1012031"/>
                <a:gd name="connsiteX30" fmla="*/ 526256 w 759618"/>
                <a:gd name="connsiteY30" fmla="*/ 16669 h 1012031"/>
                <a:gd name="connsiteX31" fmla="*/ 519112 w 759618"/>
                <a:gd name="connsiteY31" fmla="*/ 28575 h 1012031"/>
                <a:gd name="connsiteX32" fmla="*/ 533400 w 759618"/>
                <a:gd name="connsiteY32" fmla="*/ 61913 h 1012031"/>
                <a:gd name="connsiteX33" fmla="*/ 519112 w 759618"/>
                <a:gd name="connsiteY33" fmla="*/ 69056 h 1012031"/>
                <a:gd name="connsiteX34" fmla="*/ 500062 w 759618"/>
                <a:gd name="connsiteY34" fmla="*/ 33338 h 1012031"/>
                <a:gd name="connsiteX35" fmla="*/ 495300 w 759618"/>
                <a:gd name="connsiteY35" fmla="*/ 0 h 1012031"/>
                <a:gd name="connsiteX36" fmla="*/ 466725 w 759618"/>
                <a:gd name="connsiteY36" fmla="*/ 40481 h 1012031"/>
                <a:gd name="connsiteX37" fmla="*/ 466725 w 759618"/>
                <a:gd name="connsiteY37" fmla="*/ 61913 h 1012031"/>
                <a:gd name="connsiteX38" fmla="*/ 490537 w 759618"/>
                <a:gd name="connsiteY38" fmla="*/ 80963 h 1012031"/>
                <a:gd name="connsiteX39" fmla="*/ 490537 w 759618"/>
                <a:gd name="connsiteY39" fmla="*/ 100013 h 1012031"/>
                <a:gd name="connsiteX40" fmla="*/ 464343 w 759618"/>
                <a:gd name="connsiteY40" fmla="*/ 95250 h 1012031"/>
                <a:gd name="connsiteX41" fmla="*/ 442912 w 759618"/>
                <a:gd name="connsiteY41" fmla="*/ 64294 h 1012031"/>
                <a:gd name="connsiteX42" fmla="*/ 433387 w 759618"/>
                <a:gd name="connsiteY42" fmla="*/ 40481 h 1012031"/>
                <a:gd name="connsiteX43" fmla="*/ 414337 w 759618"/>
                <a:gd name="connsiteY43" fmla="*/ 33338 h 1012031"/>
                <a:gd name="connsiteX44" fmla="*/ 383381 w 759618"/>
                <a:gd name="connsiteY44" fmla="*/ 38100 h 1012031"/>
                <a:gd name="connsiteX45" fmla="*/ 376237 w 759618"/>
                <a:gd name="connsiteY45" fmla="*/ 42863 h 1012031"/>
                <a:gd name="connsiteX46" fmla="*/ 378618 w 759618"/>
                <a:gd name="connsiteY46" fmla="*/ 69056 h 1012031"/>
                <a:gd name="connsiteX47" fmla="*/ 402431 w 759618"/>
                <a:gd name="connsiteY47" fmla="*/ 88106 h 1012031"/>
                <a:gd name="connsiteX48" fmla="*/ 416718 w 759618"/>
                <a:gd name="connsiteY48" fmla="*/ 109538 h 1012031"/>
                <a:gd name="connsiteX49" fmla="*/ 402431 w 759618"/>
                <a:gd name="connsiteY49" fmla="*/ 145256 h 1012031"/>
                <a:gd name="connsiteX50" fmla="*/ 385762 w 759618"/>
                <a:gd name="connsiteY50" fmla="*/ 135731 h 1012031"/>
                <a:gd name="connsiteX51" fmla="*/ 381000 w 759618"/>
                <a:gd name="connsiteY51" fmla="*/ 104775 h 1012031"/>
                <a:gd name="connsiteX52" fmla="*/ 352425 w 759618"/>
                <a:gd name="connsiteY52" fmla="*/ 59531 h 1012031"/>
                <a:gd name="connsiteX53" fmla="*/ 333375 w 759618"/>
                <a:gd name="connsiteY53" fmla="*/ 69056 h 1012031"/>
                <a:gd name="connsiteX54" fmla="*/ 323850 w 759618"/>
                <a:gd name="connsiteY54" fmla="*/ 50006 h 1012031"/>
                <a:gd name="connsiteX55" fmla="*/ 302418 w 759618"/>
                <a:gd name="connsiteY55" fmla="*/ 42863 h 1012031"/>
                <a:gd name="connsiteX56" fmla="*/ 290512 w 759618"/>
                <a:gd name="connsiteY56" fmla="*/ 64294 h 1012031"/>
                <a:gd name="connsiteX57" fmla="*/ 304800 w 759618"/>
                <a:gd name="connsiteY57" fmla="*/ 76200 h 1012031"/>
                <a:gd name="connsiteX58" fmla="*/ 323850 w 759618"/>
                <a:gd name="connsiteY58" fmla="*/ 92869 h 1012031"/>
                <a:gd name="connsiteX59" fmla="*/ 335756 w 759618"/>
                <a:gd name="connsiteY59" fmla="*/ 100013 h 1012031"/>
                <a:gd name="connsiteX60" fmla="*/ 328612 w 759618"/>
                <a:gd name="connsiteY60" fmla="*/ 111919 h 1012031"/>
                <a:gd name="connsiteX61" fmla="*/ 307181 w 759618"/>
                <a:gd name="connsiteY61" fmla="*/ 100013 h 1012031"/>
                <a:gd name="connsiteX62" fmla="*/ 264318 w 759618"/>
                <a:gd name="connsiteY62" fmla="*/ 76200 h 1012031"/>
                <a:gd name="connsiteX63" fmla="*/ 280987 w 759618"/>
                <a:gd name="connsiteY63" fmla="*/ 114300 h 1012031"/>
                <a:gd name="connsiteX64" fmla="*/ 292893 w 759618"/>
                <a:gd name="connsiteY64" fmla="*/ 130969 h 1012031"/>
                <a:gd name="connsiteX65" fmla="*/ 280987 w 759618"/>
                <a:gd name="connsiteY65" fmla="*/ 140494 h 1012031"/>
                <a:gd name="connsiteX66" fmla="*/ 247650 w 759618"/>
                <a:gd name="connsiteY66" fmla="*/ 100013 h 1012031"/>
                <a:gd name="connsiteX67" fmla="*/ 261937 w 759618"/>
                <a:gd name="connsiteY67" fmla="*/ 142875 h 1012031"/>
                <a:gd name="connsiteX68" fmla="*/ 242887 w 759618"/>
                <a:gd name="connsiteY68" fmla="*/ 150019 h 1012031"/>
                <a:gd name="connsiteX69" fmla="*/ 257175 w 759618"/>
                <a:gd name="connsiteY69" fmla="*/ 178594 h 1012031"/>
                <a:gd name="connsiteX70" fmla="*/ 278606 w 759618"/>
                <a:gd name="connsiteY70" fmla="*/ 195263 h 1012031"/>
                <a:gd name="connsiteX71" fmla="*/ 307181 w 759618"/>
                <a:gd name="connsiteY71" fmla="*/ 228600 h 1012031"/>
                <a:gd name="connsiteX72" fmla="*/ 316706 w 759618"/>
                <a:gd name="connsiteY72" fmla="*/ 254794 h 1012031"/>
                <a:gd name="connsiteX73" fmla="*/ 316706 w 759618"/>
                <a:gd name="connsiteY73" fmla="*/ 254794 h 1012031"/>
                <a:gd name="connsiteX74" fmla="*/ 285750 w 759618"/>
                <a:gd name="connsiteY74" fmla="*/ 235744 h 1012031"/>
                <a:gd name="connsiteX75" fmla="*/ 238125 w 759618"/>
                <a:gd name="connsiteY75" fmla="*/ 221456 h 1012031"/>
                <a:gd name="connsiteX76" fmla="*/ 223837 w 759618"/>
                <a:gd name="connsiteY76" fmla="*/ 195263 h 1012031"/>
                <a:gd name="connsiteX77" fmla="*/ 204787 w 759618"/>
                <a:gd name="connsiteY77" fmla="*/ 166688 h 1012031"/>
                <a:gd name="connsiteX78" fmla="*/ 166687 w 759618"/>
                <a:gd name="connsiteY78" fmla="*/ 130969 h 1012031"/>
                <a:gd name="connsiteX79" fmla="*/ 166687 w 759618"/>
                <a:gd name="connsiteY79" fmla="*/ 157163 h 1012031"/>
                <a:gd name="connsiteX80" fmla="*/ 173831 w 759618"/>
                <a:gd name="connsiteY80" fmla="*/ 176213 h 1012031"/>
                <a:gd name="connsiteX81" fmla="*/ 171450 w 759618"/>
                <a:gd name="connsiteY81" fmla="*/ 188119 h 1012031"/>
                <a:gd name="connsiteX82" fmla="*/ 152400 w 759618"/>
                <a:gd name="connsiteY82" fmla="*/ 195263 h 1012031"/>
                <a:gd name="connsiteX83" fmla="*/ 128587 w 759618"/>
                <a:gd name="connsiteY83" fmla="*/ 190500 h 1012031"/>
                <a:gd name="connsiteX84" fmla="*/ 178593 w 759618"/>
                <a:gd name="connsiteY84" fmla="*/ 214313 h 1012031"/>
                <a:gd name="connsiteX85" fmla="*/ 188118 w 759618"/>
                <a:gd name="connsiteY85" fmla="*/ 228600 h 1012031"/>
                <a:gd name="connsiteX86" fmla="*/ 185737 w 759618"/>
                <a:gd name="connsiteY86" fmla="*/ 250031 h 1012031"/>
                <a:gd name="connsiteX87" fmla="*/ 157162 w 759618"/>
                <a:gd name="connsiteY87" fmla="*/ 228600 h 1012031"/>
                <a:gd name="connsiteX88" fmla="*/ 121443 w 759618"/>
                <a:gd name="connsiteY88" fmla="*/ 223838 h 1012031"/>
                <a:gd name="connsiteX89" fmla="*/ 97631 w 759618"/>
                <a:gd name="connsiteY89" fmla="*/ 211931 h 1012031"/>
                <a:gd name="connsiteX90" fmla="*/ 73818 w 759618"/>
                <a:gd name="connsiteY90" fmla="*/ 235744 h 1012031"/>
                <a:gd name="connsiteX91" fmla="*/ 73818 w 759618"/>
                <a:gd name="connsiteY91" fmla="*/ 257175 h 1012031"/>
                <a:gd name="connsiteX92" fmla="*/ 52387 w 759618"/>
                <a:gd name="connsiteY92" fmla="*/ 273844 h 1012031"/>
                <a:gd name="connsiteX93" fmla="*/ 35718 w 759618"/>
                <a:gd name="connsiteY93" fmla="*/ 254794 h 1012031"/>
                <a:gd name="connsiteX94" fmla="*/ 19050 w 759618"/>
                <a:gd name="connsiteY94" fmla="*/ 264319 h 1012031"/>
                <a:gd name="connsiteX95" fmla="*/ 0 w 759618"/>
                <a:gd name="connsiteY95" fmla="*/ 297656 h 1012031"/>
                <a:gd name="connsiteX96" fmla="*/ 26193 w 759618"/>
                <a:gd name="connsiteY96" fmla="*/ 283369 h 1012031"/>
                <a:gd name="connsiteX97" fmla="*/ 38100 w 759618"/>
                <a:gd name="connsiteY97" fmla="*/ 273844 h 1012031"/>
                <a:gd name="connsiteX98" fmla="*/ 52387 w 759618"/>
                <a:gd name="connsiteY98" fmla="*/ 288131 h 1012031"/>
                <a:gd name="connsiteX99" fmla="*/ 30956 w 759618"/>
                <a:gd name="connsiteY99" fmla="*/ 323850 h 1012031"/>
                <a:gd name="connsiteX100" fmla="*/ 69056 w 759618"/>
                <a:gd name="connsiteY100" fmla="*/ 300038 h 1012031"/>
                <a:gd name="connsiteX101" fmla="*/ 92868 w 759618"/>
                <a:gd name="connsiteY101" fmla="*/ 295275 h 1012031"/>
                <a:gd name="connsiteX102" fmla="*/ 114300 w 759618"/>
                <a:gd name="connsiteY102" fmla="*/ 300038 h 1012031"/>
                <a:gd name="connsiteX103" fmla="*/ 111918 w 759618"/>
                <a:gd name="connsiteY103" fmla="*/ 316706 h 1012031"/>
                <a:gd name="connsiteX104" fmla="*/ 92868 w 759618"/>
                <a:gd name="connsiteY104" fmla="*/ 311944 h 1012031"/>
                <a:gd name="connsiteX105" fmla="*/ 66675 w 759618"/>
                <a:gd name="connsiteY105" fmla="*/ 338138 h 1012031"/>
                <a:gd name="connsiteX106" fmla="*/ 69056 w 759618"/>
                <a:gd name="connsiteY106" fmla="*/ 359569 h 1012031"/>
                <a:gd name="connsiteX107" fmla="*/ 50006 w 759618"/>
                <a:gd name="connsiteY107" fmla="*/ 369094 h 1012031"/>
                <a:gd name="connsiteX108" fmla="*/ 59531 w 759618"/>
                <a:gd name="connsiteY108" fmla="*/ 385763 h 1012031"/>
                <a:gd name="connsiteX109" fmla="*/ 88106 w 759618"/>
                <a:gd name="connsiteY109" fmla="*/ 376238 h 1012031"/>
                <a:gd name="connsiteX110" fmla="*/ 116681 w 759618"/>
                <a:gd name="connsiteY110" fmla="*/ 378619 h 1012031"/>
                <a:gd name="connsiteX111" fmla="*/ 138112 w 759618"/>
                <a:gd name="connsiteY111" fmla="*/ 354806 h 1012031"/>
                <a:gd name="connsiteX112" fmla="*/ 164306 w 759618"/>
                <a:gd name="connsiteY112" fmla="*/ 335756 h 1012031"/>
                <a:gd name="connsiteX113" fmla="*/ 178593 w 759618"/>
                <a:gd name="connsiteY113" fmla="*/ 340519 h 1012031"/>
                <a:gd name="connsiteX114" fmla="*/ 157162 w 759618"/>
                <a:gd name="connsiteY114" fmla="*/ 366713 h 1012031"/>
                <a:gd name="connsiteX115" fmla="*/ 114300 w 759618"/>
                <a:gd name="connsiteY115" fmla="*/ 407194 h 1012031"/>
                <a:gd name="connsiteX116" fmla="*/ 73818 w 759618"/>
                <a:gd name="connsiteY116" fmla="*/ 411956 h 1012031"/>
                <a:gd name="connsiteX117" fmla="*/ 102393 w 759618"/>
                <a:gd name="connsiteY117" fmla="*/ 447675 h 1012031"/>
                <a:gd name="connsiteX118" fmla="*/ 133350 w 759618"/>
                <a:gd name="connsiteY118" fmla="*/ 419100 h 1012031"/>
                <a:gd name="connsiteX119" fmla="*/ 169068 w 759618"/>
                <a:gd name="connsiteY119" fmla="*/ 378619 h 1012031"/>
                <a:gd name="connsiteX120" fmla="*/ 209550 w 759618"/>
                <a:gd name="connsiteY120" fmla="*/ 371475 h 1012031"/>
                <a:gd name="connsiteX121" fmla="*/ 223837 w 759618"/>
                <a:gd name="connsiteY121" fmla="*/ 373856 h 1012031"/>
                <a:gd name="connsiteX122" fmla="*/ 183356 w 759618"/>
                <a:gd name="connsiteY122" fmla="*/ 402431 h 1012031"/>
                <a:gd name="connsiteX123" fmla="*/ 154781 w 759618"/>
                <a:gd name="connsiteY123" fmla="*/ 428625 h 1012031"/>
                <a:gd name="connsiteX124" fmla="*/ 147637 w 759618"/>
                <a:gd name="connsiteY124" fmla="*/ 454819 h 1012031"/>
                <a:gd name="connsiteX125" fmla="*/ 169068 w 759618"/>
                <a:gd name="connsiteY125" fmla="*/ 466725 h 1012031"/>
                <a:gd name="connsiteX126" fmla="*/ 197643 w 759618"/>
                <a:gd name="connsiteY126" fmla="*/ 454819 h 1012031"/>
                <a:gd name="connsiteX127" fmla="*/ 197643 w 759618"/>
                <a:gd name="connsiteY127" fmla="*/ 423863 h 1012031"/>
                <a:gd name="connsiteX128" fmla="*/ 211931 w 759618"/>
                <a:gd name="connsiteY128" fmla="*/ 411956 h 1012031"/>
                <a:gd name="connsiteX129" fmla="*/ 228600 w 759618"/>
                <a:gd name="connsiteY129" fmla="*/ 428625 h 1012031"/>
                <a:gd name="connsiteX130" fmla="*/ 254793 w 759618"/>
                <a:gd name="connsiteY130" fmla="*/ 423863 h 1012031"/>
                <a:gd name="connsiteX131" fmla="*/ 240506 w 759618"/>
                <a:gd name="connsiteY131" fmla="*/ 445294 h 1012031"/>
                <a:gd name="connsiteX132" fmla="*/ 216693 w 759618"/>
                <a:gd name="connsiteY132" fmla="*/ 452438 h 1012031"/>
                <a:gd name="connsiteX133" fmla="*/ 242887 w 759618"/>
                <a:gd name="connsiteY133" fmla="*/ 464344 h 1012031"/>
                <a:gd name="connsiteX134" fmla="*/ 304800 w 759618"/>
                <a:gd name="connsiteY134" fmla="*/ 411956 h 1012031"/>
                <a:gd name="connsiteX135" fmla="*/ 307181 w 759618"/>
                <a:gd name="connsiteY135" fmla="*/ 364331 h 1012031"/>
                <a:gd name="connsiteX136" fmla="*/ 378618 w 759618"/>
                <a:gd name="connsiteY136" fmla="*/ 311944 h 1012031"/>
                <a:gd name="connsiteX137" fmla="*/ 385762 w 759618"/>
                <a:gd name="connsiteY137" fmla="*/ 335756 h 1012031"/>
                <a:gd name="connsiteX138" fmla="*/ 357187 w 759618"/>
                <a:gd name="connsiteY138" fmla="*/ 359569 h 1012031"/>
                <a:gd name="connsiteX139" fmla="*/ 333375 w 759618"/>
                <a:gd name="connsiteY139" fmla="*/ 400050 h 1012031"/>
                <a:gd name="connsiteX140" fmla="*/ 333375 w 759618"/>
                <a:gd name="connsiteY140" fmla="*/ 414338 h 1012031"/>
                <a:gd name="connsiteX141" fmla="*/ 359568 w 759618"/>
                <a:gd name="connsiteY141" fmla="*/ 407194 h 1012031"/>
                <a:gd name="connsiteX142" fmla="*/ 381000 w 759618"/>
                <a:gd name="connsiteY142" fmla="*/ 414338 h 1012031"/>
                <a:gd name="connsiteX143" fmla="*/ 369093 w 759618"/>
                <a:gd name="connsiteY143" fmla="*/ 419100 h 1012031"/>
                <a:gd name="connsiteX144" fmla="*/ 338137 w 759618"/>
                <a:gd name="connsiteY144" fmla="*/ 428625 h 1012031"/>
                <a:gd name="connsiteX145" fmla="*/ 300037 w 759618"/>
                <a:gd name="connsiteY145" fmla="*/ 454819 h 1012031"/>
                <a:gd name="connsiteX146" fmla="*/ 345281 w 759618"/>
                <a:gd name="connsiteY146" fmla="*/ 461963 h 1012031"/>
                <a:gd name="connsiteX147" fmla="*/ 342900 w 759618"/>
                <a:gd name="connsiteY147" fmla="*/ 476250 h 1012031"/>
                <a:gd name="connsiteX148" fmla="*/ 292893 w 759618"/>
                <a:gd name="connsiteY148" fmla="*/ 478631 h 1012031"/>
                <a:gd name="connsiteX149" fmla="*/ 261937 w 759618"/>
                <a:gd name="connsiteY149" fmla="*/ 495300 h 1012031"/>
                <a:gd name="connsiteX150" fmla="*/ 228600 w 759618"/>
                <a:gd name="connsiteY150" fmla="*/ 504825 h 1012031"/>
                <a:gd name="connsiteX151" fmla="*/ 240506 w 759618"/>
                <a:gd name="connsiteY151" fmla="*/ 540544 h 1012031"/>
                <a:gd name="connsiteX152" fmla="*/ 257175 w 759618"/>
                <a:gd name="connsiteY152" fmla="*/ 557213 h 1012031"/>
                <a:gd name="connsiteX153" fmla="*/ 259556 w 759618"/>
                <a:gd name="connsiteY153" fmla="*/ 578644 h 1012031"/>
                <a:gd name="connsiteX154" fmla="*/ 290512 w 759618"/>
                <a:gd name="connsiteY154" fmla="*/ 585788 h 1012031"/>
                <a:gd name="connsiteX155" fmla="*/ 292893 w 759618"/>
                <a:gd name="connsiteY155" fmla="*/ 597694 h 1012031"/>
                <a:gd name="connsiteX156" fmla="*/ 273843 w 759618"/>
                <a:gd name="connsiteY156" fmla="*/ 616744 h 1012031"/>
                <a:gd name="connsiteX157" fmla="*/ 252412 w 759618"/>
                <a:gd name="connsiteY157" fmla="*/ 609600 h 1012031"/>
                <a:gd name="connsiteX158" fmla="*/ 235743 w 759618"/>
                <a:gd name="connsiteY158" fmla="*/ 607219 h 1012031"/>
                <a:gd name="connsiteX159" fmla="*/ 228600 w 759618"/>
                <a:gd name="connsiteY159" fmla="*/ 581025 h 1012031"/>
                <a:gd name="connsiteX160" fmla="*/ 204787 w 759618"/>
                <a:gd name="connsiteY160" fmla="*/ 547688 h 1012031"/>
                <a:gd name="connsiteX161" fmla="*/ 192881 w 759618"/>
                <a:gd name="connsiteY161" fmla="*/ 519113 h 1012031"/>
                <a:gd name="connsiteX162" fmla="*/ 166687 w 759618"/>
                <a:gd name="connsiteY162" fmla="*/ 507206 h 1012031"/>
                <a:gd name="connsiteX163" fmla="*/ 130968 w 759618"/>
                <a:gd name="connsiteY163" fmla="*/ 495300 h 1012031"/>
                <a:gd name="connsiteX164" fmla="*/ 135731 w 759618"/>
                <a:gd name="connsiteY164" fmla="*/ 535781 h 1012031"/>
                <a:gd name="connsiteX165" fmla="*/ 171450 w 759618"/>
                <a:gd name="connsiteY165" fmla="*/ 554831 h 1012031"/>
                <a:gd name="connsiteX166" fmla="*/ 164306 w 759618"/>
                <a:gd name="connsiteY166" fmla="*/ 569119 h 1012031"/>
                <a:gd name="connsiteX167" fmla="*/ 138112 w 759618"/>
                <a:gd name="connsiteY167" fmla="*/ 554831 h 1012031"/>
                <a:gd name="connsiteX168" fmla="*/ 173831 w 759618"/>
                <a:gd name="connsiteY168" fmla="*/ 595313 h 1012031"/>
                <a:gd name="connsiteX169" fmla="*/ 188118 w 759618"/>
                <a:gd name="connsiteY169" fmla="*/ 621506 h 1012031"/>
                <a:gd name="connsiteX170" fmla="*/ 197643 w 759618"/>
                <a:gd name="connsiteY170" fmla="*/ 642938 h 1012031"/>
                <a:gd name="connsiteX171" fmla="*/ 207168 w 759618"/>
                <a:gd name="connsiteY171" fmla="*/ 659606 h 1012031"/>
                <a:gd name="connsiteX172" fmla="*/ 207168 w 759618"/>
                <a:gd name="connsiteY172" fmla="*/ 659606 h 1012031"/>
                <a:gd name="connsiteX173" fmla="*/ 176212 w 759618"/>
                <a:gd name="connsiteY173" fmla="*/ 664369 h 1012031"/>
                <a:gd name="connsiteX174" fmla="*/ 200025 w 759618"/>
                <a:gd name="connsiteY174" fmla="*/ 681038 h 1012031"/>
                <a:gd name="connsiteX175" fmla="*/ 228600 w 759618"/>
                <a:gd name="connsiteY175" fmla="*/ 690563 h 1012031"/>
                <a:gd name="connsiteX176" fmla="*/ 242887 w 759618"/>
                <a:gd name="connsiteY176" fmla="*/ 685800 h 1012031"/>
                <a:gd name="connsiteX177" fmla="*/ 252412 w 759618"/>
                <a:gd name="connsiteY177" fmla="*/ 678656 h 1012031"/>
                <a:gd name="connsiteX178" fmla="*/ 264318 w 759618"/>
                <a:gd name="connsiteY178" fmla="*/ 704850 h 1012031"/>
                <a:gd name="connsiteX179" fmla="*/ 252412 w 759618"/>
                <a:gd name="connsiteY179" fmla="*/ 719138 h 1012031"/>
                <a:gd name="connsiteX180" fmla="*/ 235743 w 759618"/>
                <a:gd name="connsiteY180" fmla="*/ 745331 h 1012031"/>
                <a:gd name="connsiteX181" fmla="*/ 209550 w 759618"/>
                <a:gd name="connsiteY181" fmla="*/ 716756 h 1012031"/>
                <a:gd name="connsiteX182" fmla="*/ 185737 w 759618"/>
                <a:gd name="connsiteY182" fmla="*/ 704850 h 1012031"/>
                <a:gd name="connsiteX183" fmla="*/ 147637 w 759618"/>
                <a:gd name="connsiteY183" fmla="*/ 707231 h 1012031"/>
                <a:gd name="connsiteX184" fmla="*/ 135731 w 759618"/>
                <a:gd name="connsiteY184" fmla="*/ 716756 h 1012031"/>
                <a:gd name="connsiteX185" fmla="*/ 123825 w 759618"/>
                <a:gd name="connsiteY185" fmla="*/ 735806 h 1012031"/>
                <a:gd name="connsiteX186" fmla="*/ 114300 w 759618"/>
                <a:gd name="connsiteY186" fmla="*/ 766763 h 1012031"/>
                <a:gd name="connsiteX187" fmla="*/ 126206 w 759618"/>
                <a:gd name="connsiteY187" fmla="*/ 781050 h 1012031"/>
                <a:gd name="connsiteX188" fmla="*/ 145256 w 759618"/>
                <a:gd name="connsiteY188" fmla="*/ 757238 h 1012031"/>
                <a:gd name="connsiteX189" fmla="*/ 145256 w 759618"/>
                <a:gd name="connsiteY189" fmla="*/ 757238 h 1012031"/>
                <a:gd name="connsiteX190" fmla="*/ 152400 w 759618"/>
                <a:gd name="connsiteY190" fmla="*/ 778669 h 1012031"/>
                <a:gd name="connsiteX191" fmla="*/ 142875 w 759618"/>
                <a:gd name="connsiteY191" fmla="*/ 790575 h 1012031"/>
                <a:gd name="connsiteX192" fmla="*/ 173831 w 759618"/>
                <a:gd name="connsiteY192" fmla="*/ 776288 h 1012031"/>
                <a:gd name="connsiteX193" fmla="*/ 169068 w 759618"/>
                <a:gd name="connsiteY193" fmla="*/ 752475 h 1012031"/>
                <a:gd name="connsiteX194" fmla="*/ 183356 w 759618"/>
                <a:gd name="connsiteY194" fmla="*/ 747713 h 1012031"/>
                <a:gd name="connsiteX195" fmla="*/ 183356 w 759618"/>
                <a:gd name="connsiteY195" fmla="*/ 766763 h 1012031"/>
                <a:gd name="connsiteX196" fmla="*/ 188118 w 759618"/>
                <a:gd name="connsiteY196" fmla="*/ 778669 h 1012031"/>
                <a:gd name="connsiteX197" fmla="*/ 200025 w 759618"/>
                <a:gd name="connsiteY197" fmla="*/ 783431 h 1012031"/>
                <a:gd name="connsiteX198" fmla="*/ 197643 w 759618"/>
                <a:gd name="connsiteY198" fmla="*/ 797719 h 1012031"/>
                <a:gd name="connsiteX199" fmla="*/ 178593 w 759618"/>
                <a:gd name="connsiteY199" fmla="*/ 802481 h 1012031"/>
                <a:gd name="connsiteX200" fmla="*/ 166687 w 759618"/>
                <a:gd name="connsiteY200" fmla="*/ 812006 h 1012031"/>
                <a:gd name="connsiteX201" fmla="*/ 180975 w 759618"/>
                <a:gd name="connsiteY201" fmla="*/ 816769 h 1012031"/>
                <a:gd name="connsiteX202" fmla="*/ 173831 w 759618"/>
                <a:gd name="connsiteY202" fmla="*/ 838200 h 1012031"/>
                <a:gd name="connsiteX203" fmla="*/ 190500 w 759618"/>
                <a:gd name="connsiteY203" fmla="*/ 842963 h 1012031"/>
                <a:gd name="connsiteX204" fmla="*/ 190500 w 759618"/>
                <a:gd name="connsiteY204" fmla="*/ 842963 h 1012031"/>
                <a:gd name="connsiteX205" fmla="*/ 226218 w 759618"/>
                <a:gd name="connsiteY205" fmla="*/ 814388 h 1012031"/>
                <a:gd name="connsiteX206" fmla="*/ 230981 w 759618"/>
                <a:gd name="connsiteY206" fmla="*/ 795338 h 1012031"/>
                <a:gd name="connsiteX207" fmla="*/ 247650 w 759618"/>
                <a:gd name="connsiteY207" fmla="*/ 804863 h 1012031"/>
                <a:gd name="connsiteX208" fmla="*/ 228600 w 759618"/>
                <a:gd name="connsiteY208" fmla="*/ 842963 h 1012031"/>
                <a:gd name="connsiteX209" fmla="*/ 204787 w 759618"/>
                <a:gd name="connsiteY209" fmla="*/ 869156 h 1012031"/>
                <a:gd name="connsiteX210" fmla="*/ 192881 w 759618"/>
                <a:gd name="connsiteY210" fmla="*/ 873919 h 1012031"/>
                <a:gd name="connsiteX211" fmla="*/ 171450 w 759618"/>
                <a:gd name="connsiteY211" fmla="*/ 888206 h 1012031"/>
                <a:gd name="connsiteX212" fmla="*/ 142875 w 759618"/>
                <a:gd name="connsiteY212" fmla="*/ 859631 h 1012031"/>
                <a:gd name="connsiteX213" fmla="*/ 126206 w 759618"/>
                <a:gd name="connsiteY213" fmla="*/ 831056 h 1012031"/>
                <a:gd name="connsiteX214" fmla="*/ 104775 w 759618"/>
                <a:gd name="connsiteY214" fmla="*/ 828675 h 1012031"/>
                <a:gd name="connsiteX215" fmla="*/ 85725 w 759618"/>
                <a:gd name="connsiteY215" fmla="*/ 845344 h 1012031"/>
                <a:gd name="connsiteX216" fmla="*/ 100012 w 759618"/>
                <a:gd name="connsiteY216" fmla="*/ 864394 h 1012031"/>
                <a:gd name="connsiteX217" fmla="*/ 111918 w 759618"/>
                <a:gd name="connsiteY217" fmla="*/ 878681 h 1012031"/>
                <a:gd name="connsiteX218" fmla="*/ 123825 w 759618"/>
                <a:gd name="connsiteY218" fmla="*/ 888206 h 1012031"/>
                <a:gd name="connsiteX219" fmla="*/ 133350 w 759618"/>
                <a:gd name="connsiteY219" fmla="*/ 909638 h 1012031"/>
                <a:gd name="connsiteX220" fmla="*/ 109537 w 759618"/>
                <a:gd name="connsiteY220" fmla="*/ 921544 h 1012031"/>
                <a:gd name="connsiteX221" fmla="*/ 90487 w 759618"/>
                <a:gd name="connsiteY221" fmla="*/ 909638 h 1012031"/>
                <a:gd name="connsiteX222" fmla="*/ 71437 w 759618"/>
                <a:gd name="connsiteY222" fmla="*/ 935831 h 1012031"/>
                <a:gd name="connsiteX223" fmla="*/ 61912 w 759618"/>
                <a:gd name="connsiteY223" fmla="*/ 971550 h 1012031"/>
                <a:gd name="connsiteX224" fmla="*/ 80962 w 759618"/>
                <a:gd name="connsiteY224" fmla="*/ 954881 h 1012031"/>
                <a:gd name="connsiteX225" fmla="*/ 95250 w 759618"/>
                <a:gd name="connsiteY225" fmla="*/ 978694 h 1012031"/>
                <a:gd name="connsiteX226" fmla="*/ 109537 w 759618"/>
                <a:gd name="connsiteY226" fmla="*/ 964406 h 1012031"/>
                <a:gd name="connsiteX227" fmla="*/ 119062 w 759618"/>
                <a:gd name="connsiteY227" fmla="*/ 981075 h 1012031"/>
                <a:gd name="connsiteX228" fmla="*/ 126206 w 759618"/>
                <a:gd name="connsiteY228" fmla="*/ 959644 h 1012031"/>
                <a:gd name="connsiteX229" fmla="*/ 145256 w 759618"/>
                <a:gd name="connsiteY229" fmla="*/ 985838 h 1012031"/>
                <a:gd name="connsiteX230" fmla="*/ 169068 w 759618"/>
                <a:gd name="connsiteY230" fmla="*/ 1004888 h 1012031"/>
                <a:gd name="connsiteX231" fmla="*/ 161925 w 759618"/>
                <a:gd name="connsiteY231" fmla="*/ 978694 h 1012031"/>
                <a:gd name="connsiteX232" fmla="*/ 171450 w 759618"/>
                <a:gd name="connsiteY232" fmla="*/ 964406 h 1012031"/>
                <a:gd name="connsiteX233" fmla="*/ 180975 w 759618"/>
                <a:gd name="connsiteY233" fmla="*/ 973931 h 1012031"/>
                <a:gd name="connsiteX234" fmla="*/ 188118 w 759618"/>
                <a:gd name="connsiteY234" fmla="*/ 962025 h 1012031"/>
                <a:gd name="connsiteX235" fmla="*/ 197643 w 759618"/>
                <a:gd name="connsiteY235" fmla="*/ 981075 h 1012031"/>
                <a:gd name="connsiteX236" fmla="*/ 209550 w 759618"/>
                <a:gd name="connsiteY236" fmla="*/ 962025 h 1012031"/>
                <a:gd name="connsiteX237" fmla="*/ 228600 w 759618"/>
                <a:gd name="connsiteY237" fmla="*/ 983456 h 1012031"/>
                <a:gd name="connsiteX238" fmla="*/ 235743 w 759618"/>
                <a:gd name="connsiteY238" fmla="*/ 959644 h 1012031"/>
                <a:gd name="connsiteX239" fmla="*/ 254793 w 759618"/>
                <a:gd name="connsiteY239" fmla="*/ 973931 h 1012031"/>
                <a:gd name="connsiteX240" fmla="*/ 271462 w 759618"/>
                <a:gd name="connsiteY240" fmla="*/ 983456 h 1012031"/>
                <a:gd name="connsiteX241" fmla="*/ 278606 w 759618"/>
                <a:gd name="connsiteY241" fmla="*/ 1000125 h 1012031"/>
                <a:gd name="connsiteX242" fmla="*/ 269081 w 759618"/>
                <a:gd name="connsiteY242" fmla="*/ 1012031 h 1012031"/>
                <a:gd name="connsiteX243" fmla="*/ 316706 w 759618"/>
                <a:gd name="connsiteY243" fmla="*/ 976313 h 1012031"/>
                <a:gd name="connsiteX244" fmla="*/ 335756 w 759618"/>
                <a:gd name="connsiteY244" fmla="*/ 969169 h 1012031"/>
                <a:gd name="connsiteX245" fmla="*/ 342900 w 759618"/>
                <a:gd name="connsiteY245" fmla="*/ 950119 h 1012031"/>
                <a:gd name="connsiteX246" fmla="*/ 342900 w 759618"/>
                <a:gd name="connsiteY246" fmla="*/ 926306 h 1012031"/>
                <a:gd name="connsiteX247" fmla="*/ 321468 w 759618"/>
                <a:gd name="connsiteY247" fmla="*/ 935831 h 1012031"/>
                <a:gd name="connsiteX248" fmla="*/ 307181 w 759618"/>
                <a:gd name="connsiteY248" fmla="*/ 926306 h 1012031"/>
                <a:gd name="connsiteX249" fmla="*/ 307181 w 759618"/>
                <a:gd name="connsiteY249" fmla="*/ 900113 h 1012031"/>
                <a:gd name="connsiteX250" fmla="*/ 290512 w 759618"/>
                <a:gd name="connsiteY250" fmla="*/ 916781 h 1012031"/>
                <a:gd name="connsiteX251" fmla="*/ 269081 w 759618"/>
                <a:gd name="connsiteY251" fmla="*/ 892969 h 1012031"/>
                <a:gd name="connsiteX252" fmla="*/ 252412 w 759618"/>
                <a:gd name="connsiteY252" fmla="*/ 919163 h 1012031"/>
                <a:gd name="connsiteX253" fmla="*/ 233362 w 759618"/>
                <a:gd name="connsiteY253" fmla="*/ 902494 h 1012031"/>
                <a:gd name="connsiteX254" fmla="*/ 254793 w 759618"/>
                <a:gd name="connsiteY254" fmla="*/ 888206 h 1012031"/>
                <a:gd name="connsiteX255" fmla="*/ 254793 w 759618"/>
                <a:gd name="connsiteY255" fmla="*/ 862013 h 1012031"/>
                <a:gd name="connsiteX256" fmla="*/ 278606 w 759618"/>
                <a:gd name="connsiteY256" fmla="*/ 876300 h 1012031"/>
                <a:gd name="connsiteX257" fmla="*/ 307181 w 759618"/>
                <a:gd name="connsiteY257" fmla="*/ 885825 h 1012031"/>
                <a:gd name="connsiteX258" fmla="*/ 323850 w 759618"/>
                <a:gd name="connsiteY258" fmla="*/ 878681 h 1012031"/>
                <a:gd name="connsiteX259" fmla="*/ 338137 w 759618"/>
                <a:gd name="connsiteY259" fmla="*/ 869156 h 1012031"/>
                <a:gd name="connsiteX260" fmla="*/ 338137 w 759618"/>
                <a:gd name="connsiteY260" fmla="*/ 847725 h 1012031"/>
                <a:gd name="connsiteX261" fmla="*/ 335756 w 759618"/>
                <a:gd name="connsiteY261" fmla="*/ 823913 h 1012031"/>
                <a:gd name="connsiteX262" fmla="*/ 338137 w 759618"/>
                <a:gd name="connsiteY262" fmla="*/ 797719 h 1012031"/>
                <a:gd name="connsiteX263" fmla="*/ 364331 w 759618"/>
                <a:gd name="connsiteY263" fmla="*/ 814388 h 1012031"/>
                <a:gd name="connsiteX264" fmla="*/ 392906 w 759618"/>
                <a:gd name="connsiteY264" fmla="*/ 795338 h 1012031"/>
                <a:gd name="connsiteX265" fmla="*/ 373856 w 759618"/>
                <a:gd name="connsiteY265" fmla="*/ 783431 h 1012031"/>
                <a:gd name="connsiteX266" fmla="*/ 395287 w 759618"/>
                <a:gd name="connsiteY266" fmla="*/ 776288 h 1012031"/>
                <a:gd name="connsiteX267" fmla="*/ 407193 w 759618"/>
                <a:gd name="connsiteY267" fmla="*/ 762000 h 1012031"/>
                <a:gd name="connsiteX268" fmla="*/ 388143 w 759618"/>
                <a:gd name="connsiteY268" fmla="*/ 752475 h 1012031"/>
                <a:gd name="connsiteX269" fmla="*/ 404812 w 759618"/>
                <a:gd name="connsiteY269" fmla="*/ 738188 h 1012031"/>
                <a:gd name="connsiteX270" fmla="*/ 423862 w 759618"/>
                <a:gd name="connsiteY270" fmla="*/ 707231 h 1012031"/>
                <a:gd name="connsiteX271" fmla="*/ 383381 w 759618"/>
                <a:gd name="connsiteY271" fmla="*/ 697706 h 1012031"/>
                <a:gd name="connsiteX272" fmla="*/ 381000 w 759618"/>
                <a:gd name="connsiteY272" fmla="*/ 690563 h 1012031"/>
                <a:gd name="connsiteX273" fmla="*/ 350043 w 759618"/>
                <a:gd name="connsiteY273" fmla="*/ 690563 h 1012031"/>
                <a:gd name="connsiteX274" fmla="*/ 335756 w 759618"/>
                <a:gd name="connsiteY274" fmla="*/ 676275 h 1012031"/>
                <a:gd name="connsiteX275" fmla="*/ 354806 w 759618"/>
                <a:gd name="connsiteY275" fmla="*/ 654844 h 1012031"/>
                <a:gd name="connsiteX276" fmla="*/ 390525 w 759618"/>
                <a:gd name="connsiteY276" fmla="*/ 657225 h 1012031"/>
                <a:gd name="connsiteX277" fmla="*/ 416718 w 759618"/>
                <a:gd name="connsiteY277" fmla="*/ 683419 h 1012031"/>
                <a:gd name="connsiteX278" fmla="*/ 428625 w 759618"/>
                <a:gd name="connsiteY278" fmla="*/ 647700 h 1012031"/>
                <a:gd name="connsiteX279" fmla="*/ 397668 w 759618"/>
                <a:gd name="connsiteY279" fmla="*/ 640556 h 1012031"/>
                <a:gd name="connsiteX280" fmla="*/ 359568 w 759618"/>
                <a:gd name="connsiteY280" fmla="*/ 631031 h 1012031"/>
                <a:gd name="connsiteX281" fmla="*/ 371475 w 759618"/>
                <a:gd name="connsiteY281" fmla="*/ 619125 h 1012031"/>
                <a:gd name="connsiteX282" fmla="*/ 395287 w 759618"/>
                <a:gd name="connsiteY282" fmla="*/ 616744 h 1012031"/>
                <a:gd name="connsiteX283" fmla="*/ 416718 w 759618"/>
                <a:gd name="connsiteY283" fmla="*/ 628650 h 1012031"/>
                <a:gd name="connsiteX284" fmla="*/ 442912 w 759618"/>
                <a:gd name="connsiteY284" fmla="*/ 607219 h 1012031"/>
                <a:gd name="connsiteX285" fmla="*/ 452437 w 759618"/>
                <a:gd name="connsiteY285" fmla="*/ 592931 h 1012031"/>
                <a:gd name="connsiteX286" fmla="*/ 428625 w 759618"/>
                <a:gd name="connsiteY286" fmla="*/ 576263 h 1012031"/>
                <a:gd name="connsiteX287" fmla="*/ 440531 w 759618"/>
                <a:gd name="connsiteY287" fmla="*/ 564356 h 1012031"/>
                <a:gd name="connsiteX288" fmla="*/ 464343 w 759618"/>
                <a:gd name="connsiteY288" fmla="*/ 578644 h 1012031"/>
                <a:gd name="connsiteX289" fmla="*/ 497681 w 759618"/>
                <a:gd name="connsiteY289" fmla="*/ 590550 h 1012031"/>
                <a:gd name="connsiteX290" fmla="*/ 511968 w 759618"/>
                <a:gd name="connsiteY290" fmla="*/ 557213 h 1012031"/>
                <a:gd name="connsiteX291" fmla="*/ 526256 w 759618"/>
                <a:gd name="connsiteY291" fmla="*/ 528638 h 1012031"/>
                <a:gd name="connsiteX292" fmla="*/ 502443 w 759618"/>
                <a:gd name="connsiteY292" fmla="*/ 531019 h 1012031"/>
                <a:gd name="connsiteX293" fmla="*/ 488156 w 759618"/>
                <a:gd name="connsiteY293" fmla="*/ 519113 h 1012031"/>
                <a:gd name="connsiteX294" fmla="*/ 550068 w 759618"/>
                <a:gd name="connsiteY294" fmla="*/ 478631 h 1012031"/>
                <a:gd name="connsiteX0" fmla="*/ 492918 w 759618"/>
                <a:gd name="connsiteY0" fmla="*/ 461963 h 1012031"/>
                <a:gd name="connsiteX1" fmla="*/ 504825 w 759618"/>
                <a:gd name="connsiteY1" fmla="*/ 426244 h 1012031"/>
                <a:gd name="connsiteX2" fmla="*/ 616743 w 759618"/>
                <a:gd name="connsiteY2" fmla="*/ 383381 h 1012031"/>
                <a:gd name="connsiteX3" fmla="*/ 626268 w 759618"/>
                <a:gd name="connsiteY3" fmla="*/ 357188 h 1012031"/>
                <a:gd name="connsiteX4" fmla="*/ 678656 w 759618"/>
                <a:gd name="connsiteY4" fmla="*/ 307181 h 1012031"/>
                <a:gd name="connsiteX5" fmla="*/ 600075 w 759618"/>
                <a:gd name="connsiteY5" fmla="*/ 335756 h 1012031"/>
                <a:gd name="connsiteX6" fmla="*/ 554831 w 759618"/>
                <a:gd name="connsiteY6" fmla="*/ 373856 h 1012031"/>
                <a:gd name="connsiteX7" fmla="*/ 535781 w 759618"/>
                <a:gd name="connsiteY7" fmla="*/ 369094 h 1012031"/>
                <a:gd name="connsiteX8" fmla="*/ 597693 w 759618"/>
                <a:gd name="connsiteY8" fmla="*/ 309563 h 1012031"/>
                <a:gd name="connsiteX9" fmla="*/ 573881 w 759618"/>
                <a:gd name="connsiteY9" fmla="*/ 288131 h 1012031"/>
                <a:gd name="connsiteX10" fmla="*/ 561975 w 759618"/>
                <a:gd name="connsiteY10" fmla="*/ 261938 h 1012031"/>
                <a:gd name="connsiteX11" fmla="*/ 614362 w 759618"/>
                <a:gd name="connsiteY11" fmla="*/ 292894 h 1012031"/>
                <a:gd name="connsiteX12" fmla="*/ 650081 w 759618"/>
                <a:gd name="connsiteY12" fmla="*/ 290513 h 1012031"/>
                <a:gd name="connsiteX13" fmla="*/ 650081 w 759618"/>
                <a:gd name="connsiteY13" fmla="*/ 273844 h 1012031"/>
                <a:gd name="connsiteX14" fmla="*/ 678656 w 759618"/>
                <a:gd name="connsiteY14" fmla="*/ 271463 h 1012031"/>
                <a:gd name="connsiteX15" fmla="*/ 721518 w 759618"/>
                <a:gd name="connsiteY15" fmla="*/ 221456 h 1012031"/>
                <a:gd name="connsiteX16" fmla="*/ 759618 w 759618"/>
                <a:gd name="connsiteY16" fmla="*/ 150019 h 1012031"/>
                <a:gd name="connsiteX17" fmla="*/ 738187 w 759618"/>
                <a:gd name="connsiteY17" fmla="*/ 126206 h 1012031"/>
                <a:gd name="connsiteX18" fmla="*/ 704850 w 759618"/>
                <a:gd name="connsiteY18" fmla="*/ 121444 h 1012031"/>
                <a:gd name="connsiteX19" fmla="*/ 692943 w 759618"/>
                <a:gd name="connsiteY19" fmla="*/ 73819 h 1012031"/>
                <a:gd name="connsiteX20" fmla="*/ 669131 w 759618"/>
                <a:gd name="connsiteY20" fmla="*/ 59531 h 1012031"/>
                <a:gd name="connsiteX21" fmla="*/ 628650 w 759618"/>
                <a:gd name="connsiteY21" fmla="*/ 78581 h 1012031"/>
                <a:gd name="connsiteX22" fmla="*/ 614362 w 759618"/>
                <a:gd name="connsiteY22" fmla="*/ 102394 h 1012031"/>
                <a:gd name="connsiteX23" fmla="*/ 588168 w 759618"/>
                <a:gd name="connsiteY23" fmla="*/ 114300 h 1012031"/>
                <a:gd name="connsiteX24" fmla="*/ 576262 w 759618"/>
                <a:gd name="connsiteY24" fmla="*/ 107156 h 1012031"/>
                <a:gd name="connsiteX25" fmla="*/ 592931 w 759618"/>
                <a:gd name="connsiteY25" fmla="*/ 85725 h 1012031"/>
                <a:gd name="connsiteX26" fmla="*/ 621506 w 759618"/>
                <a:gd name="connsiteY26" fmla="*/ 50006 h 1012031"/>
                <a:gd name="connsiteX27" fmla="*/ 585787 w 759618"/>
                <a:gd name="connsiteY27" fmla="*/ 33338 h 1012031"/>
                <a:gd name="connsiteX28" fmla="*/ 557212 w 759618"/>
                <a:gd name="connsiteY28" fmla="*/ 38100 h 1012031"/>
                <a:gd name="connsiteX29" fmla="*/ 540543 w 759618"/>
                <a:gd name="connsiteY29" fmla="*/ 16669 h 1012031"/>
                <a:gd name="connsiteX30" fmla="*/ 526256 w 759618"/>
                <a:gd name="connsiteY30" fmla="*/ 16669 h 1012031"/>
                <a:gd name="connsiteX31" fmla="*/ 519112 w 759618"/>
                <a:gd name="connsiteY31" fmla="*/ 28575 h 1012031"/>
                <a:gd name="connsiteX32" fmla="*/ 533400 w 759618"/>
                <a:gd name="connsiteY32" fmla="*/ 61913 h 1012031"/>
                <a:gd name="connsiteX33" fmla="*/ 519112 w 759618"/>
                <a:gd name="connsiteY33" fmla="*/ 69056 h 1012031"/>
                <a:gd name="connsiteX34" fmla="*/ 500062 w 759618"/>
                <a:gd name="connsiteY34" fmla="*/ 33338 h 1012031"/>
                <a:gd name="connsiteX35" fmla="*/ 495300 w 759618"/>
                <a:gd name="connsiteY35" fmla="*/ 0 h 1012031"/>
                <a:gd name="connsiteX36" fmla="*/ 466725 w 759618"/>
                <a:gd name="connsiteY36" fmla="*/ 40481 h 1012031"/>
                <a:gd name="connsiteX37" fmla="*/ 466725 w 759618"/>
                <a:gd name="connsiteY37" fmla="*/ 61913 h 1012031"/>
                <a:gd name="connsiteX38" fmla="*/ 490537 w 759618"/>
                <a:gd name="connsiteY38" fmla="*/ 80963 h 1012031"/>
                <a:gd name="connsiteX39" fmla="*/ 490537 w 759618"/>
                <a:gd name="connsiteY39" fmla="*/ 100013 h 1012031"/>
                <a:gd name="connsiteX40" fmla="*/ 464343 w 759618"/>
                <a:gd name="connsiteY40" fmla="*/ 95250 h 1012031"/>
                <a:gd name="connsiteX41" fmla="*/ 442912 w 759618"/>
                <a:gd name="connsiteY41" fmla="*/ 64294 h 1012031"/>
                <a:gd name="connsiteX42" fmla="*/ 433387 w 759618"/>
                <a:gd name="connsiteY42" fmla="*/ 40481 h 1012031"/>
                <a:gd name="connsiteX43" fmla="*/ 414337 w 759618"/>
                <a:gd name="connsiteY43" fmla="*/ 33338 h 1012031"/>
                <a:gd name="connsiteX44" fmla="*/ 383381 w 759618"/>
                <a:gd name="connsiteY44" fmla="*/ 38100 h 1012031"/>
                <a:gd name="connsiteX45" fmla="*/ 376237 w 759618"/>
                <a:gd name="connsiteY45" fmla="*/ 42863 h 1012031"/>
                <a:gd name="connsiteX46" fmla="*/ 378618 w 759618"/>
                <a:gd name="connsiteY46" fmla="*/ 69056 h 1012031"/>
                <a:gd name="connsiteX47" fmla="*/ 402431 w 759618"/>
                <a:gd name="connsiteY47" fmla="*/ 88106 h 1012031"/>
                <a:gd name="connsiteX48" fmla="*/ 416718 w 759618"/>
                <a:gd name="connsiteY48" fmla="*/ 109538 h 1012031"/>
                <a:gd name="connsiteX49" fmla="*/ 402431 w 759618"/>
                <a:gd name="connsiteY49" fmla="*/ 145256 h 1012031"/>
                <a:gd name="connsiteX50" fmla="*/ 385762 w 759618"/>
                <a:gd name="connsiteY50" fmla="*/ 135731 h 1012031"/>
                <a:gd name="connsiteX51" fmla="*/ 381000 w 759618"/>
                <a:gd name="connsiteY51" fmla="*/ 104775 h 1012031"/>
                <a:gd name="connsiteX52" fmla="*/ 352425 w 759618"/>
                <a:gd name="connsiteY52" fmla="*/ 59531 h 1012031"/>
                <a:gd name="connsiteX53" fmla="*/ 333375 w 759618"/>
                <a:gd name="connsiteY53" fmla="*/ 69056 h 1012031"/>
                <a:gd name="connsiteX54" fmla="*/ 323850 w 759618"/>
                <a:gd name="connsiteY54" fmla="*/ 50006 h 1012031"/>
                <a:gd name="connsiteX55" fmla="*/ 302418 w 759618"/>
                <a:gd name="connsiteY55" fmla="*/ 42863 h 1012031"/>
                <a:gd name="connsiteX56" fmla="*/ 290512 w 759618"/>
                <a:gd name="connsiteY56" fmla="*/ 64294 h 1012031"/>
                <a:gd name="connsiteX57" fmla="*/ 304800 w 759618"/>
                <a:gd name="connsiteY57" fmla="*/ 76200 h 1012031"/>
                <a:gd name="connsiteX58" fmla="*/ 323850 w 759618"/>
                <a:gd name="connsiteY58" fmla="*/ 92869 h 1012031"/>
                <a:gd name="connsiteX59" fmla="*/ 335756 w 759618"/>
                <a:gd name="connsiteY59" fmla="*/ 100013 h 1012031"/>
                <a:gd name="connsiteX60" fmla="*/ 328612 w 759618"/>
                <a:gd name="connsiteY60" fmla="*/ 111919 h 1012031"/>
                <a:gd name="connsiteX61" fmla="*/ 307181 w 759618"/>
                <a:gd name="connsiteY61" fmla="*/ 100013 h 1012031"/>
                <a:gd name="connsiteX62" fmla="*/ 264318 w 759618"/>
                <a:gd name="connsiteY62" fmla="*/ 76200 h 1012031"/>
                <a:gd name="connsiteX63" fmla="*/ 280987 w 759618"/>
                <a:gd name="connsiteY63" fmla="*/ 114300 h 1012031"/>
                <a:gd name="connsiteX64" fmla="*/ 292893 w 759618"/>
                <a:gd name="connsiteY64" fmla="*/ 130969 h 1012031"/>
                <a:gd name="connsiteX65" fmla="*/ 280987 w 759618"/>
                <a:gd name="connsiteY65" fmla="*/ 140494 h 1012031"/>
                <a:gd name="connsiteX66" fmla="*/ 247650 w 759618"/>
                <a:gd name="connsiteY66" fmla="*/ 100013 h 1012031"/>
                <a:gd name="connsiteX67" fmla="*/ 261937 w 759618"/>
                <a:gd name="connsiteY67" fmla="*/ 142875 h 1012031"/>
                <a:gd name="connsiteX68" fmla="*/ 242887 w 759618"/>
                <a:gd name="connsiteY68" fmla="*/ 150019 h 1012031"/>
                <a:gd name="connsiteX69" fmla="*/ 257175 w 759618"/>
                <a:gd name="connsiteY69" fmla="*/ 178594 h 1012031"/>
                <a:gd name="connsiteX70" fmla="*/ 278606 w 759618"/>
                <a:gd name="connsiteY70" fmla="*/ 195263 h 1012031"/>
                <a:gd name="connsiteX71" fmla="*/ 307181 w 759618"/>
                <a:gd name="connsiteY71" fmla="*/ 228600 h 1012031"/>
                <a:gd name="connsiteX72" fmla="*/ 316706 w 759618"/>
                <a:gd name="connsiteY72" fmla="*/ 254794 h 1012031"/>
                <a:gd name="connsiteX73" fmla="*/ 316706 w 759618"/>
                <a:gd name="connsiteY73" fmla="*/ 254794 h 1012031"/>
                <a:gd name="connsiteX74" fmla="*/ 285750 w 759618"/>
                <a:gd name="connsiteY74" fmla="*/ 235744 h 1012031"/>
                <a:gd name="connsiteX75" fmla="*/ 238125 w 759618"/>
                <a:gd name="connsiteY75" fmla="*/ 221456 h 1012031"/>
                <a:gd name="connsiteX76" fmla="*/ 223837 w 759618"/>
                <a:gd name="connsiteY76" fmla="*/ 195263 h 1012031"/>
                <a:gd name="connsiteX77" fmla="*/ 204787 w 759618"/>
                <a:gd name="connsiteY77" fmla="*/ 166688 h 1012031"/>
                <a:gd name="connsiteX78" fmla="*/ 166687 w 759618"/>
                <a:gd name="connsiteY78" fmla="*/ 130969 h 1012031"/>
                <a:gd name="connsiteX79" fmla="*/ 166687 w 759618"/>
                <a:gd name="connsiteY79" fmla="*/ 157163 h 1012031"/>
                <a:gd name="connsiteX80" fmla="*/ 173831 w 759618"/>
                <a:gd name="connsiteY80" fmla="*/ 176213 h 1012031"/>
                <a:gd name="connsiteX81" fmla="*/ 171450 w 759618"/>
                <a:gd name="connsiteY81" fmla="*/ 188119 h 1012031"/>
                <a:gd name="connsiteX82" fmla="*/ 152400 w 759618"/>
                <a:gd name="connsiteY82" fmla="*/ 195263 h 1012031"/>
                <a:gd name="connsiteX83" fmla="*/ 128587 w 759618"/>
                <a:gd name="connsiteY83" fmla="*/ 190500 h 1012031"/>
                <a:gd name="connsiteX84" fmla="*/ 178593 w 759618"/>
                <a:gd name="connsiteY84" fmla="*/ 214313 h 1012031"/>
                <a:gd name="connsiteX85" fmla="*/ 188118 w 759618"/>
                <a:gd name="connsiteY85" fmla="*/ 228600 h 1012031"/>
                <a:gd name="connsiteX86" fmla="*/ 185737 w 759618"/>
                <a:gd name="connsiteY86" fmla="*/ 250031 h 1012031"/>
                <a:gd name="connsiteX87" fmla="*/ 157162 w 759618"/>
                <a:gd name="connsiteY87" fmla="*/ 228600 h 1012031"/>
                <a:gd name="connsiteX88" fmla="*/ 121443 w 759618"/>
                <a:gd name="connsiteY88" fmla="*/ 223838 h 1012031"/>
                <a:gd name="connsiteX89" fmla="*/ 97631 w 759618"/>
                <a:gd name="connsiteY89" fmla="*/ 211931 h 1012031"/>
                <a:gd name="connsiteX90" fmla="*/ 73818 w 759618"/>
                <a:gd name="connsiteY90" fmla="*/ 235744 h 1012031"/>
                <a:gd name="connsiteX91" fmla="*/ 73818 w 759618"/>
                <a:gd name="connsiteY91" fmla="*/ 257175 h 1012031"/>
                <a:gd name="connsiteX92" fmla="*/ 52387 w 759618"/>
                <a:gd name="connsiteY92" fmla="*/ 273844 h 1012031"/>
                <a:gd name="connsiteX93" fmla="*/ 35718 w 759618"/>
                <a:gd name="connsiteY93" fmla="*/ 254794 h 1012031"/>
                <a:gd name="connsiteX94" fmla="*/ 19050 w 759618"/>
                <a:gd name="connsiteY94" fmla="*/ 264319 h 1012031"/>
                <a:gd name="connsiteX95" fmla="*/ 0 w 759618"/>
                <a:gd name="connsiteY95" fmla="*/ 297656 h 1012031"/>
                <a:gd name="connsiteX96" fmla="*/ 26193 w 759618"/>
                <a:gd name="connsiteY96" fmla="*/ 283369 h 1012031"/>
                <a:gd name="connsiteX97" fmla="*/ 38100 w 759618"/>
                <a:gd name="connsiteY97" fmla="*/ 273844 h 1012031"/>
                <a:gd name="connsiteX98" fmla="*/ 52387 w 759618"/>
                <a:gd name="connsiteY98" fmla="*/ 288131 h 1012031"/>
                <a:gd name="connsiteX99" fmla="*/ 30956 w 759618"/>
                <a:gd name="connsiteY99" fmla="*/ 323850 h 1012031"/>
                <a:gd name="connsiteX100" fmla="*/ 69056 w 759618"/>
                <a:gd name="connsiteY100" fmla="*/ 300038 h 1012031"/>
                <a:gd name="connsiteX101" fmla="*/ 92868 w 759618"/>
                <a:gd name="connsiteY101" fmla="*/ 295275 h 1012031"/>
                <a:gd name="connsiteX102" fmla="*/ 114300 w 759618"/>
                <a:gd name="connsiteY102" fmla="*/ 300038 h 1012031"/>
                <a:gd name="connsiteX103" fmla="*/ 111918 w 759618"/>
                <a:gd name="connsiteY103" fmla="*/ 316706 h 1012031"/>
                <a:gd name="connsiteX104" fmla="*/ 92868 w 759618"/>
                <a:gd name="connsiteY104" fmla="*/ 311944 h 1012031"/>
                <a:gd name="connsiteX105" fmla="*/ 66675 w 759618"/>
                <a:gd name="connsiteY105" fmla="*/ 338138 h 1012031"/>
                <a:gd name="connsiteX106" fmla="*/ 69056 w 759618"/>
                <a:gd name="connsiteY106" fmla="*/ 359569 h 1012031"/>
                <a:gd name="connsiteX107" fmla="*/ 50006 w 759618"/>
                <a:gd name="connsiteY107" fmla="*/ 369094 h 1012031"/>
                <a:gd name="connsiteX108" fmla="*/ 59531 w 759618"/>
                <a:gd name="connsiteY108" fmla="*/ 385763 h 1012031"/>
                <a:gd name="connsiteX109" fmla="*/ 88106 w 759618"/>
                <a:gd name="connsiteY109" fmla="*/ 376238 h 1012031"/>
                <a:gd name="connsiteX110" fmla="*/ 116681 w 759618"/>
                <a:gd name="connsiteY110" fmla="*/ 378619 h 1012031"/>
                <a:gd name="connsiteX111" fmla="*/ 138112 w 759618"/>
                <a:gd name="connsiteY111" fmla="*/ 354806 h 1012031"/>
                <a:gd name="connsiteX112" fmla="*/ 164306 w 759618"/>
                <a:gd name="connsiteY112" fmla="*/ 335756 h 1012031"/>
                <a:gd name="connsiteX113" fmla="*/ 178593 w 759618"/>
                <a:gd name="connsiteY113" fmla="*/ 340519 h 1012031"/>
                <a:gd name="connsiteX114" fmla="*/ 157162 w 759618"/>
                <a:gd name="connsiteY114" fmla="*/ 366713 h 1012031"/>
                <a:gd name="connsiteX115" fmla="*/ 114300 w 759618"/>
                <a:gd name="connsiteY115" fmla="*/ 407194 h 1012031"/>
                <a:gd name="connsiteX116" fmla="*/ 73818 w 759618"/>
                <a:gd name="connsiteY116" fmla="*/ 411956 h 1012031"/>
                <a:gd name="connsiteX117" fmla="*/ 102393 w 759618"/>
                <a:gd name="connsiteY117" fmla="*/ 447675 h 1012031"/>
                <a:gd name="connsiteX118" fmla="*/ 133350 w 759618"/>
                <a:gd name="connsiteY118" fmla="*/ 419100 h 1012031"/>
                <a:gd name="connsiteX119" fmla="*/ 169068 w 759618"/>
                <a:gd name="connsiteY119" fmla="*/ 378619 h 1012031"/>
                <a:gd name="connsiteX120" fmla="*/ 209550 w 759618"/>
                <a:gd name="connsiteY120" fmla="*/ 371475 h 1012031"/>
                <a:gd name="connsiteX121" fmla="*/ 223837 w 759618"/>
                <a:gd name="connsiteY121" fmla="*/ 373856 h 1012031"/>
                <a:gd name="connsiteX122" fmla="*/ 183356 w 759618"/>
                <a:gd name="connsiteY122" fmla="*/ 402431 h 1012031"/>
                <a:gd name="connsiteX123" fmla="*/ 154781 w 759618"/>
                <a:gd name="connsiteY123" fmla="*/ 428625 h 1012031"/>
                <a:gd name="connsiteX124" fmla="*/ 147637 w 759618"/>
                <a:gd name="connsiteY124" fmla="*/ 454819 h 1012031"/>
                <a:gd name="connsiteX125" fmla="*/ 169068 w 759618"/>
                <a:gd name="connsiteY125" fmla="*/ 466725 h 1012031"/>
                <a:gd name="connsiteX126" fmla="*/ 197643 w 759618"/>
                <a:gd name="connsiteY126" fmla="*/ 454819 h 1012031"/>
                <a:gd name="connsiteX127" fmla="*/ 197643 w 759618"/>
                <a:gd name="connsiteY127" fmla="*/ 423863 h 1012031"/>
                <a:gd name="connsiteX128" fmla="*/ 211931 w 759618"/>
                <a:gd name="connsiteY128" fmla="*/ 411956 h 1012031"/>
                <a:gd name="connsiteX129" fmla="*/ 228600 w 759618"/>
                <a:gd name="connsiteY129" fmla="*/ 428625 h 1012031"/>
                <a:gd name="connsiteX130" fmla="*/ 254793 w 759618"/>
                <a:gd name="connsiteY130" fmla="*/ 423863 h 1012031"/>
                <a:gd name="connsiteX131" fmla="*/ 240506 w 759618"/>
                <a:gd name="connsiteY131" fmla="*/ 445294 h 1012031"/>
                <a:gd name="connsiteX132" fmla="*/ 216693 w 759618"/>
                <a:gd name="connsiteY132" fmla="*/ 452438 h 1012031"/>
                <a:gd name="connsiteX133" fmla="*/ 242887 w 759618"/>
                <a:gd name="connsiteY133" fmla="*/ 464344 h 1012031"/>
                <a:gd name="connsiteX134" fmla="*/ 304800 w 759618"/>
                <a:gd name="connsiteY134" fmla="*/ 411956 h 1012031"/>
                <a:gd name="connsiteX135" fmla="*/ 307181 w 759618"/>
                <a:gd name="connsiteY135" fmla="*/ 364331 h 1012031"/>
                <a:gd name="connsiteX136" fmla="*/ 378618 w 759618"/>
                <a:gd name="connsiteY136" fmla="*/ 311944 h 1012031"/>
                <a:gd name="connsiteX137" fmla="*/ 385762 w 759618"/>
                <a:gd name="connsiteY137" fmla="*/ 335756 h 1012031"/>
                <a:gd name="connsiteX138" fmla="*/ 357187 w 759618"/>
                <a:gd name="connsiteY138" fmla="*/ 359569 h 1012031"/>
                <a:gd name="connsiteX139" fmla="*/ 333375 w 759618"/>
                <a:gd name="connsiteY139" fmla="*/ 400050 h 1012031"/>
                <a:gd name="connsiteX140" fmla="*/ 333375 w 759618"/>
                <a:gd name="connsiteY140" fmla="*/ 414338 h 1012031"/>
                <a:gd name="connsiteX141" fmla="*/ 359568 w 759618"/>
                <a:gd name="connsiteY141" fmla="*/ 407194 h 1012031"/>
                <a:gd name="connsiteX142" fmla="*/ 381000 w 759618"/>
                <a:gd name="connsiteY142" fmla="*/ 414338 h 1012031"/>
                <a:gd name="connsiteX143" fmla="*/ 369093 w 759618"/>
                <a:gd name="connsiteY143" fmla="*/ 419100 h 1012031"/>
                <a:gd name="connsiteX144" fmla="*/ 338137 w 759618"/>
                <a:gd name="connsiteY144" fmla="*/ 428625 h 1012031"/>
                <a:gd name="connsiteX145" fmla="*/ 300037 w 759618"/>
                <a:gd name="connsiteY145" fmla="*/ 454819 h 1012031"/>
                <a:gd name="connsiteX146" fmla="*/ 345281 w 759618"/>
                <a:gd name="connsiteY146" fmla="*/ 461963 h 1012031"/>
                <a:gd name="connsiteX147" fmla="*/ 342900 w 759618"/>
                <a:gd name="connsiteY147" fmla="*/ 476250 h 1012031"/>
                <a:gd name="connsiteX148" fmla="*/ 292893 w 759618"/>
                <a:gd name="connsiteY148" fmla="*/ 478631 h 1012031"/>
                <a:gd name="connsiteX149" fmla="*/ 261937 w 759618"/>
                <a:gd name="connsiteY149" fmla="*/ 495300 h 1012031"/>
                <a:gd name="connsiteX150" fmla="*/ 228600 w 759618"/>
                <a:gd name="connsiteY150" fmla="*/ 504825 h 1012031"/>
                <a:gd name="connsiteX151" fmla="*/ 240506 w 759618"/>
                <a:gd name="connsiteY151" fmla="*/ 540544 h 1012031"/>
                <a:gd name="connsiteX152" fmla="*/ 257175 w 759618"/>
                <a:gd name="connsiteY152" fmla="*/ 557213 h 1012031"/>
                <a:gd name="connsiteX153" fmla="*/ 259556 w 759618"/>
                <a:gd name="connsiteY153" fmla="*/ 578644 h 1012031"/>
                <a:gd name="connsiteX154" fmla="*/ 290512 w 759618"/>
                <a:gd name="connsiteY154" fmla="*/ 585788 h 1012031"/>
                <a:gd name="connsiteX155" fmla="*/ 292893 w 759618"/>
                <a:gd name="connsiteY155" fmla="*/ 597694 h 1012031"/>
                <a:gd name="connsiteX156" fmla="*/ 273843 w 759618"/>
                <a:gd name="connsiteY156" fmla="*/ 616744 h 1012031"/>
                <a:gd name="connsiteX157" fmla="*/ 252412 w 759618"/>
                <a:gd name="connsiteY157" fmla="*/ 609600 h 1012031"/>
                <a:gd name="connsiteX158" fmla="*/ 235743 w 759618"/>
                <a:gd name="connsiteY158" fmla="*/ 607219 h 1012031"/>
                <a:gd name="connsiteX159" fmla="*/ 228600 w 759618"/>
                <a:gd name="connsiteY159" fmla="*/ 581025 h 1012031"/>
                <a:gd name="connsiteX160" fmla="*/ 204787 w 759618"/>
                <a:gd name="connsiteY160" fmla="*/ 547688 h 1012031"/>
                <a:gd name="connsiteX161" fmla="*/ 192881 w 759618"/>
                <a:gd name="connsiteY161" fmla="*/ 519113 h 1012031"/>
                <a:gd name="connsiteX162" fmla="*/ 166687 w 759618"/>
                <a:gd name="connsiteY162" fmla="*/ 507206 h 1012031"/>
                <a:gd name="connsiteX163" fmla="*/ 130968 w 759618"/>
                <a:gd name="connsiteY163" fmla="*/ 495300 h 1012031"/>
                <a:gd name="connsiteX164" fmla="*/ 135731 w 759618"/>
                <a:gd name="connsiteY164" fmla="*/ 535781 h 1012031"/>
                <a:gd name="connsiteX165" fmla="*/ 171450 w 759618"/>
                <a:gd name="connsiteY165" fmla="*/ 554831 h 1012031"/>
                <a:gd name="connsiteX166" fmla="*/ 164306 w 759618"/>
                <a:gd name="connsiteY166" fmla="*/ 569119 h 1012031"/>
                <a:gd name="connsiteX167" fmla="*/ 138112 w 759618"/>
                <a:gd name="connsiteY167" fmla="*/ 554831 h 1012031"/>
                <a:gd name="connsiteX168" fmla="*/ 173831 w 759618"/>
                <a:gd name="connsiteY168" fmla="*/ 595313 h 1012031"/>
                <a:gd name="connsiteX169" fmla="*/ 188118 w 759618"/>
                <a:gd name="connsiteY169" fmla="*/ 621506 h 1012031"/>
                <a:gd name="connsiteX170" fmla="*/ 197643 w 759618"/>
                <a:gd name="connsiteY170" fmla="*/ 642938 h 1012031"/>
                <a:gd name="connsiteX171" fmla="*/ 207168 w 759618"/>
                <a:gd name="connsiteY171" fmla="*/ 659606 h 1012031"/>
                <a:gd name="connsiteX172" fmla="*/ 207168 w 759618"/>
                <a:gd name="connsiteY172" fmla="*/ 659606 h 1012031"/>
                <a:gd name="connsiteX173" fmla="*/ 176212 w 759618"/>
                <a:gd name="connsiteY173" fmla="*/ 664369 h 1012031"/>
                <a:gd name="connsiteX174" fmla="*/ 200025 w 759618"/>
                <a:gd name="connsiteY174" fmla="*/ 681038 h 1012031"/>
                <a:gd name="connsiteX175" fmla="*/ 228600 w 759618"/>
                <a:gd name="connsiteY175" fmla="*/ 690563 h 1012031"/>
                <a:gd name="connsiteX176" fmla="*/ 242887 w 759618"/>
                <a:gd name="connsiteY176" fmla="*/ 685800 h 1012031"/>
                <a:gd name="connsiteX177" fmla="*/ 252412 w 759618"/>
                <a:gd name="connsiteY177" fmla="*/ 678656 h 1012031"/>
                <a:gd name="connsiteX178" fmla="*/ 264318 w 759618"/>
                <a:gd name="connsiteY178" fmla="*/ 704850 h 1012031"/>
                <a:gd name="connsiteX179" fmla="*/ 252412 w 759618"/>
                <a:gd name="connsiteY179" fmla="*/ 719138 h 1012031"/>
                <a:gd name="connsiteX180" fmla="*/ 235743 w 759618"/>
                <a:gd name="connsiteY180" fmla="*/ 745331 h 1012031"/>
                <a:gd name="connsiteX181" fmla="*/ 209550 w 759618"/>
                <a:gd name="connsiteY181" fmla="*/ 716756 h 1012031"/>
                <a:gd name="connsiteX182" fmla="*/ 185737 w 759618"/>
                <a:gd name="connsiteY182" fmla="*/ 704850 h 1012031"/>
                <a:gd name="connsiteX183" fmla="*/ 147637 w 759618"/>
                <a:gd name="connsiteY183" fmla="*/ 707231 h 1012031"/>
                <a:gd name="connsiteX184" fmla="*/ 135731 w 759618"/>
                <a:gd name="connsiteY184" fmla="*/ 716756 h 1012031"/>
                <a:gd name="connsiteX185" fmla="*/ 123825 w 759618"/>
                <a:gd name="connsiteY185" fmla="*/ 735806 h 1012031"/>
                <a:gd name="connsiteX186" fmla="*/ 114300 w 759618"/>
                <a:gd name="connsiteY186" fmla="*/ 766763 h 1012031"/>
                <a:gd name="connsiteX187" fmla="*/ 126206 w 759618"/>
                <a:gd name="connsiteY187" fmla="*/ 781050 h 1012031"/>
                <a:gd name="connsiteX188" fmla="*/ 145256 w 759618"/>
                <a:gd name="connsiteY188" fmla="*/ 757238 h 1012031"/>
                <a:gd name="connsiteX189" fmla="*/ 145256 w 759618"/>
                <a:gd name="connsiteY189" fmla="*/ 757238 h 1012031"/>
                <a:gd name="connsiteX190" fmla="*/ 152400 w 759618"/>
                <a:gd name="connsiteY190" fmla="*/ 778669 h 1012031"/>
                <a:gd name="connsiteX191" fmla="*/ 142875 w 759618"/>
                <a:gd name="connsiteY191" fmla="*/ 790575 h 1012031"/>
                <a:gd name="connsiteX192" fmla="*/ 173831 w 759618"/>
                <a:gd name="connsiteY192" fmla="*/ 776288 h 1012031"/>
                <a:gd name="connsiteX193" fmla="*/ 169068 w 759618"/>
                <a:gd name="connsiteY193" fmla="*/ 752475 h 1012031"/>
                <a:gd name="connsiteX194" fmla="*/ 183356 w 759618"/>
                <a:gd name="connsiteY194" fmla="*/ 747713 h 1012031"/>
                <a:gd name="connsiteX195" fmla="*/ 183356 w 759618"/>
                <a:gd name="connsiteY195" fmla="*/ 766763 h 1012031"/>
                <a:gd name="connsiteX196" fmla="*/ 188118 w 759618"/>
                <a:gd name="connsiteY196" fmla="*/ 778669 h 1012031"/>
                <a:gd name="connsiteX197" fmla="*/ 200025 w 759618"/>
                <a:gd name="connsiteY197" fmla="*/ 783431 h 1012031"/>
                <a:gd name="connsiteX198" fmla="*/ 197643 w 759618"/>
                <a:gd name="connsiteY198" fmla="*/ 797719 h 1012031"/>
                <a:gd name="connsiteX199" fmla="*/ 178593 w 759618"/>
                <a:gd name="connsiteY199" fmla="*/ 802481 h 1012031"/>
                <a:gd name="connsiteX200" fmla="*/ 166687 w 759618"/>
                <a:gd name="connsiteY200" fmla="*/ 812006 h 1012031"/>
                <a:gd name="connsiteX201" fmla="*/ 180975 w 759618"/>
                <a:gd name="connsiteY201" fmla="*/ 816769 h 1012031"/>
                <a:gd name="connsiteX202" fmla="*/ 173831 w 759618"/>
                <a:gd name="connsiteY202" fmla="*/ 838200 h 1012031"/>
                <a:gd name="connsiteX203" fmla="*/ 190500 w 759618"/>
                <a:gd name="connsiteY203" fmla="*/ 842963 h 1012031"/>
                <a:gd name="connsiteX204" fmla="*/ 190500 w 759618"/>
                <a:gd name="connsiteY204" fmla="*/ 842963 h 1012031"/>
                <a:gd name="connsiteX205" fmla="*/ 226218 w 759618"/>
                <a:gd name="connsiteY205" fmla="*/ 814388 h 1012031"/>
                <a:gd name="connsiteX206" fmla="*/ 230981 w 759618"/>
                <a:gd name="connsiteY206" fmla="*/ 795338 h 1012031"/>
                <a:gd name="connsiteX207" fmla="*/ 247650 w 759618"/>
                <a:gd name="connsiteY207" fmla="*/ 804863 h 1012031"/>
                <a:gd name="connsiteX208" fmla="*/ 228600 w 759618"/>
                <a:gd name="connsiteY208" fmla="*/ 842963 h 1012031"/>
                <a:gd name="connsiteX209" fmla="*/ 204787 w 759618"/>
                <a:gd name="connsiteY209" fmla="*/ 869156 h 1012031"/>
                <a:gd name="connsiteX210" fmla="*/ 192881 w 759618"/>
                <a:gd name="connsiteY210" fmla="*/ 873919 h 1012031"/>
                <a:gd name="connsiteX211" fmla="*/ 171450 w 759618"/>
                <a:gd name="connsiteY211" fmla="*/ 888206 h 1012031"/>
                <a:gd name="connsiteX212" fmla="*/ 142875 w 759618"/>
                <a:gd name="connsiteY212" fmla="*/ 859631 h 1012031"/>
                <a:gd name="connsiteX213" fmla="*/ 126206 w 759618"/>
                <a:gd name="connsiteY213" fmla="*/ 831056 h 1012031"/>
                <a:gd name="connsiteX214" fmla="*/ 104775 w 759618"/>
                <a:gd name="connsiteY214" fmla="*/ 828675 h 1012031"/>
                <a:gd name="connsiteX215" fmla="*/ 85725 w 759618"/>
                <a:gd name="connsiteY215" fmla="*/ 845344 h 1012031"/>
                <a:gd name="connsiteX216" fmla="*/ 100012 w 759618"/>
                <a:gd name="connsiteY216" fmla="*/ 864394 h 1012031"/>
                <a:gd name="connsiteX217" fmla="*/ 111918 w 759618"/>
                <a:gd name="connsiteY217" fmla="*/ 878681 h 1012031"/>
                <a:gd name="connsiteX218" fmla="*/ 123825 w 759618"/>
                <a:gd name="connsiteY218" fmla="*/ 888206 h 1012031"/>
                <a:gd name="connsiteX219" fmla="*/ 133350 w 759618"/>
                <a:gd name="connsiteY219" fmla="*/ 909638 h 1012031"/>
                <a:gd name="connsiteX220" fmla="*/ 109537 w 759618"/>
                <a:gd name="connsiteY220" fmla="*/ 921544 h 1012031"/>
                <a:gd name="connsiteX221" fmla="*/ 90487 w 759618"/>
                <a:gd name="connsiteY221" fmla="*/ 909638 h 1012031"/>
                <a:gd name="connsiteX222" fmla="*/ 71437 w 759618"/>
                <a:gd name="connsiteY222" fmla="*/ 935831 h 1012031"/>
                <a:gd name="connsiteX223" fmla="*/ 61912 w 759618"/>
                <a:gd name="connsiteY223" fmla="*/ 971550 h 1012031"/>
                <a:gd name="connsiteX224" fmla="*/ 80962 w 759618"/>
                <a:gd name="connsiteY224" fmla="*/ 954881 h 1012031"/>
                <a:gd name="connsiteX225" fmla="*/ 95250 w 759618"/>
                <a:gd name="connsiteY225" fmla="*/ 978694 h 1012031"/>
                <a:gd name="connsiteX226" fmla="*/ 109537 w 759618"/>
                <a:gd name="connsiteY226" fmla="*/ 964406 h 1012031"/>
                <a:gd name="connsiteX227" fmla="*/ 119062 w 759618"/>
                <a:gd name="connsiteY227" fmla="*/ 981075 h 1012031"/>
                <a:gd name="connsiteX228" fmla="*/ 126206 w 759618"/>
                <a:gd name="connsiteY228" fmla="*/ 959644 h 1012031"/>
                <a:gd name="connsiteX229" fmla="*/ 145256 w 759618"/>
                <a:gd name="connsiteY229" fmla="*/ 985838 h 1012031"/>
                <a:gd name="connsiteX230" fmla="*/ 169068 w 759618"/>
                <a:gd name="connsiteY230" fmla="*/ 1004888 h 1012031"/>
                <a:gd name="connsiteX231" fmla="*/ 161925 w 759618"/>
                <a:gd name="connsiteY231" fmla="*/ 978694 h 1012031"/>
                <a:gd name="connsiteX232" fmla="*/ 171450 w 759618"/>
                <a:gd name="connsiteY232" fmla="*/ 964406 h 1012031"/>
                <a:gd name="connsiteX233" fmla="*/ 180975 w 759618"/>
                <a:gd name="connsiteY233" fmla="*/ 973931 h 1012031"/>
                <a:gd name="connsiteX234" fmla="*/ 188118 w 759618"/>
                <a:gd name="connsiteY234" fmla="*/ 962025 h 1012031"/>
                <a:gd name="connsiteX235" fmla="*/ 197643 w 759618"/>
                <a:gd name="connsiteY235" fmla="*/ 981075 h 1012031"/>
                <a:gd name="connsiteX236" fmla="*/ 209550 w 759618"/>
                <a:gd name="connsiteY236" fmla="*/ 962025 h 1012031"/>
                <a:gd name="connsiteX237" fmla="*/ 228600 w 759618"/>
                <a:gd name="connsiteY237" fmla="*/ 983456 h 1012031"/>
                <a:gd name="connsiteX238" fmla="*/ 235743 w 759618"/>
                <a:gd name="connsiteY238" fmla="*/ 959644 h 1012031"/>
                <a:gd name="connsiteX239" fmla="*/ 254793 w 759618"/>
                <a:gd name="connsiteY239" fmla="*/ 973931 h 1012031"/>
                <a:gd name="connsiteX240" fmla="*/ 271462 w 759618"/>
                <a:gd name="connsiteY240" fmla="*/ 983456 h 1012031"/>
                <a:gd name="connsiteX241" fmla="*/ 278606 w 759618"/>
                <a:gd name="connsiteY241" fmla="*/ 1000125 h 1012031"/>
                <a:gd name="connsiteX242" fmla="*/ 269081 w 759618"/>
                <a:gd name="connsiteY242" fmla="*/ 1012031 h 1012031"/>
                <a:gd name="connsiteX243" fmla="*/ 316706 w 759618"/>
                <a:gd name="connsiteY243" fmla="*/ 976313 h 1012031"/>
                <a:gd name="connsiteX244" fmla="*/ 335756 w 759618"/>
                <a:gd name="connsiteY244" fmla="*/ 969169 h 1012031"/>
                <a:gd name="connsiteX245" fmla="*/ 342900 w 759618"/>
                <a:gd name="connsiteY245" fmla="*/ 950119 h 1012031"/>
                <a:gd name="connsiteX246" fmla="*/ 342900 w 759618"/>
                <a:gd name="connsiteY246" fmla="*/ 926306 h 1012031"/>
                <a:gd name="connsiteX247" fmla="*/ 321468 w 759618"/>
                <a:gd name="connsiteY247" fmla="*/ 935831 h 1012031"/>
                <a:gd name="connsiteX248" fmla="*/ 307181 w 759618"/>
                <a:gd name="connsiteY248" fmla="*/ 926306 h 1012031"/>
                <a:gd name="connsiteX249" fmla="*/ 307181 w 759618"/>
                <a:gd name="connsiteY249" fmla="*/ 900113 h 1012031"/>
                <a:gd name="connsiteX250" fmla="*/ 290512 w 759618"/>
                <a:gd name="connsiteY250" fmla="*/ 916781 h 1012031"/>
                <a:gd name="connsiteX251" fmla="*/ 269081 w 759618"/>
                <a:gd name="connsiteY251" fmla="*/ 892969 h 1012031"/>
                <a:gd name="connsiteX252" fmla="*/ 252412 w 759618"/>
                <a:gd name="connsiteY252" fmla="*/ 919163 h 1012031"/>
                <a:gd name="connsiteX253" fmla="*/ 233362 w 759618"/>
                <a:gd name="connsiteY253" fmla="*/ 902494 h 1012031"/>
                <a:gd name="connsiteX254" fmla="*/ 254793 w 759618"/>
                <a:gd name="connsiteY254" fmla="*/ 888206 h 1012031"/>
                <a:gd name="connsiteX255" fmla="*/ 254793 w 759618"/>
                <a:gd name="connsiteY255" fmla="*/ 862013 h 1012031"/>
                <a:gd name="connsiteX256" fmla="*/ 278606 w 759618"/>
                <a:gd name="connsiteY256" fmla="*/ 876300 h 1012031"/>
                <a:gd name="connsiteX257" fmla="*/ 307181 w 759618"/>
                <a:gd name="connsiteY257" fmla="*/ 885825 h 1012031"/>
                <a:gd name="connsiteX258" fmla="*/ 323850 w 759618"/>
                <a:gd name="connsiteY258" fmla="*/ 878681 h 1012031"/>
                <a:gd name="connsiteX259" fmla="*/ 338137 w 759618"/>
                <a:gd name="connsiteY259" fmla="*/ 869156 h 1012031"/>
                <a:gd name="connsiteX260" fmla="*/ 338137 w 759618"/>
                <a:gd name="connsiteY260" fmla="*/ 847725 h 1012031"/>
                <a:gd name="connsiteX261" fmla="*/ 335756 w 759618"/>
                <a:gd name="connsiteY261" fmla="*/ 823913 h 1012031"/>
                <a:gd name="connsiteX262" fmla="*/ 338137 w 759618"/>
                <a:gd name="connsiteY262" fmla="*/ 797719 h 1012031"/>
                <a:gd name="connsiteX263" fmla="*/ 364331 w 759618"/>
                <a:gd name="connsiteY263" fmla="*/ 814388 h 1012031"/>
                <a:gd name="connsiteX264" fmla="*/ 392906 w 759618"/>
                <a:gd name="connsiteY264" fmla="*/ 795338 h 1012031"/>
                <a:gd name="connsiteX265" fmla="*/ 373856 w 759618"/>
                <a:gd name="connsiteY265" fmla="*/ 783431 h 1012031"/>
                <a:gd name="connsiteX266" fmla="*/ 395287 w 759618"/>
                <a:gd name="connsiteY266" fmla="*/ 776288 h 1012031"/>
                <a:gd name="connsiteX267" fmla="*/ 407193 w 759618"/>
                <a:gd name="connsiteY267" fmla="*/ 762000 h 1012031"/>
                <a:gd name="connsiteX268" fmla="*/ 388143 w 759618"/>
                <a:gd name="connsiteY268" fmla="*/ 752475 h 1012031"/>
                <a:gd name="connsiteX269" fmla="*/ 404812 w 759618"/>
                <a:gd name="connsiteY269" fmla="*/ 738188 h 1012031"/>
                <a:gd name="connsiteX270" fmla="*/ 423862 w 759618"/>
                <a:gd name="connsiteY270" fmla="*/ 707231 h 1012031"/>
                <a:gd name="connsiteX271" fmla="*/ 383381 w 759618"/>
                <a:gd name="connsiteY271" fmla="*/ 697706 h 1012031"/>
                <a:gd name="connsiteX272" fmla="*/ 381000 w 759618"/>
                <a:gd name="connsiteY272" fmla="*/ 690563 h 1012031"/>
                <a:gd name="connsiteX273" fmla="*/ 350043 w 759618"/>
                <a:gd name="connsiteY273" fmla="*/ 690563 h 1012031"/>
                <a:gd name="connsiteX274" fmla="*/ 335756 w 759618"/>
                <a:gd name="connsiteY274" fmla="*/ 676275 h 1012031"/>
                <a:gd name="connsiteX275" fmla="*/ 354806 w 759618"/>
                <a:gd name="connsiteY275" fmla="*/ 654844 h 1012031"/>
                <a:gd name="connsiteX276" fmla="*/ 390525 w 759618"/>
                <a:gd name="connsiteY276" fmla="*/ 657225 h 1012031"/>
                <a:gd name="connsiteX277" fmla="*/ 416718 w 759618"/>
                <a:gd name="connsiteY277" fmla="*/ 683419 h 1012031"/>
                <a:gd name="connsiteX278" fmla="*/ 428625 w 759618"/>
                <a:gd name="connsiteY278" fmla="*/ 647700 h 1012031"/>
                <a:gd name="connsiteX279" fmla="*/ 397668 w 759618"/>
                <a:gd name="connsiteY279" fmla="*/ 640556 h 1012031"/>
                <a:gd name="connsiteX280" fmla="*/ 359568 w 759618"/>
                <a:gd name="connsiteY280" fmla="*/ 631031 h 1012031"/>
                <a:gd name="connsiteX281" fmla="*/ 371475 w 759618"/>
                <a:gd name="connsiteY281" fmla="*/ 619125 h 1012031"/>
                <a:gd name="connsiteX282" fmla="*/ 395287 w 759618"/>
                <a:gd name="connsiteY282" fmla="*/ 616744 h 1012031"/>
                <a:gd name="connsiteX283" fmla="*/ 416718 w 759618"/>
                <a:gd name="connsiteY283" fmla="*/ 628650 h 1012031"/>
                <a:gd name="connsiteX284" fmla="*/ 442912 w 759618"/>
                <a:gd name="connsiteY284" fmla="*/ 607219 h 1012031"/>
                <a:gd name="connsiteX285" fmla="*/ 452437 w 759618"/>
                <a:gd name="connsiteY285" fmla="*/ 592931 h 1012031"/>
                <a:gd name="connsiteX286" fmla="*/ 428625 w 759618"/>
                <a:gd name="connsiteY286" fmla="*/ 576263 h 1012031"/>
                <a:gd name="connsiteX287" fmla="*/ 440531 w 759618"/>
                <a:gd name="connsiteY287" fmla="*/ 564356 h 1012031"/>
                <a:gd name="connsiteX288" fmla="*/ 464343 w 759618"/>
                <a:gd name="connsiteY288" fmla="*/ 578644 h 1012031"/>
                <a:gd name="connsiteX289" fmla="*/ 497681 w 759618"/>
                <a:gd name="connsiteY289" fmla="*/ 590550 h 1012031"/>
                <a:gd name="connsiteX290" fmla="*/ 511968 w 759618"/>
                <a:gd name="connsiteY290" fmla="*/ 557213 h 1012031"/>
                <a:gd name="connsiteX291" fmla="*/ 526256 w 759618"/>
                <a:gd name="connsiteY291" fmla="*/ 528638 h 1012031"/>
                <a:gd name="connsiteX292" fmla="*/ 502443 w 759618"/>
                <a:gd name="connsiteY292" fmla="*/ 531019 h 1012031"/>
                <a:gd name="connsiteX293" fmla="*/ 488156 w 759618"/>
                <a:gd name="connsiteY293" fmla="*/ 519113 h 1012031"/>
                <a:gd name="connsiteX294" fmla="*/ 492918 w 759618"/>
                <a:gd name="connsiteY294" fmla="*/ 461963 h 1012031"/>
                <a:gd name="connsiteX0" fmla="*/ 492918 w 759618"/>
                <a:gd name="connsiteY0" fmla="*/ 461963 h 1012031"/>
                <a:gd name="connsiteX1" fmla="*/ 504825 w 759618"/>
                <a:gd name="connsiteY1" fmla="*/ 426244 h 1012031"/>
                <a:gd name="connsiteX2" fmla="*/ 616743 w 759618"/>
                <a:gd name="connsiteY2" fmla="*/ 383381 h 1012031"/>
                <a:gd name="connsiteX3" fmla="*/ 626268 w 759618"/>
                <a:gd name="connsiteY3" fmla="*/ 357188 h 1012031"/>
                <a:gd name="connsiteX4" fmla="*/ 678656 w 759618"/>
                <a:gd name="connsiteY4" fmla="*/ 307181 h 1012031"/>
                <a:gd name="connsiteX5" fmla="*/ 600075 w 759618"/>
                <a:gd name="connsiteY5" fmla="*/ 335756 h 1012031"/>
                <a:gd name="connsiteX6" fmla="*/ 554831 w 759618"/>
                <a:gd name="connsiteY6" fmla="*/ 373856 h 1012031"/>
                <a:gd name="connsiteX7" fmla="*/ 535781 w 759618"/>
                <a:gd name="connsiteY7" fmla="*/ 369094 h 1012031"/>
                <a:gd name="connsiteX8" fmla="*/ 597693 w 759618"/>
                <a:gd name="connsiteY8" fmla="*/ 309563 h 1012031"/>
                <a:gd name="connsiteX9" fmla="*/ 573881 w 759618"/>
                <a:gd name="connsiteY9" fmla="*/ 288131 h 1012031"/>
                <a:gd name="connsiteX10" fmla="*/ 561975 w 759618"/>
                <a:gd name="connsiteY10" fmla="*/ 261938 h 1012031"/>
                <a:gd name="connsiteX11" fmla="*/ 614362 w 759618"/>
                <a:gd name="connsiteY11" fmla="*/ 292894 h 1012031"/>
                <a:gd name="connsiteX12" fmla="*/ 650081 w 759618"/>
                <a:gd name="connsiteY12" fmla="*/ 290513 h 1012031"/>
                <a:gd name="connsiteX13" fmla="*/ 650081 w 759618"/>
                <a:gd name="connsiteY13" fmla="*/ 273844 h 1012031"/>
                <a:gd name="connsiteX14" fmla="*/ 678656 w 759618"/>
                <a:gd name="connsiteY14" fmla="*/ 271463 h 1012031"/>
                <a:gd name="connsiteX15" fmla="*/ 721518 w 759618"/>
                <a:gd name="connsiteY15" fmla="*/ 221456 h 1012031"/>
                <a:gd name="connsiteX16" fmla="*/ 759618 w 759618"/>
                <a:gd name="connsiteY16" fmla="*/ 150019 h 1012031"/>
                <a:gd name="connsiteX17" fmla="*/ 738187 w 759618"/>
                <a:gd name="connsiteY17" fmla="*/ 126206 h 1012031"/>
                <a:gd name="connsiteX18" fmla="*/ 704850 w 759618"/>
                <a:gd name="connsiteY18" fmla="*/ 121444 h 1012031"/>
                <a:gd name="connsiteX19" fmla="*/ 692943 w 759618"/>
                <a:gd name="connsiteY19" fmla="*/ 73819 h 1012031"/>
                <a:gd name="connsiteX20" fmla="*/ 669131 w 759618"/>
                <a:gd name="connsiteY20" fmla="*/ 59531 h 1012031"/>
                <a:gd name="connsiteX21" fmla="*/ 628650 w 759618"/>
                <a:gd name="connsiteY21" fmla="*/ 78581 h 1012031"/>
                <a:gd name="connsiteX22" fmla="*/ 614362 w 759618"/>
                <a:gd name="connsiteY22" fmla="*/ 102394 h 1012031"/>
                <a:gd name="connsiteX23" fmla="*/ 588168 w 759618"/>
                <a:gd name="connsiteY23" fmla="*/ 114300 h 1012031"/>
                <a:gd name="connsiteX24" fmla="*/ 576262 w 759618"/>
                <a:gd name="connsiteY24" fmla="*/ 107156 h 1012031"/>
                <a:gd name="connsiteX25" fmla="*/ 592931 w 759618"/>
                <a:gd name="connsiteY25" fmla="*/ 85725 h 1012031"/>
                <a:gd name="connsiteX26" fmla="*/ 621506 w 759618"/>
                <a:gd name="connsiteY26" fmla="*/ 50006 h 1012031"/>
                <a:gd name="connsiteX27" fmla="*/ 585787 w 759618"/>
                <a:gd name="connsiteY27" fmla="*/ 33338 h 1012031"/>
                <a:gd name="connsiteX28" fmla="*/ 557212 w 759618"/>
                <a:gd name="connsiteY28" fmla="*/ 38100 h 1012031"/>
                <a:gd name="connsiteX29" fmla="*/ 540543 w 759618"/>
                <a:gd name="connsiteY29" fmla="*/ 16669 h 1012031"/>
                <a:gd name="connsiteX30" fmla="*/ 526256 w 759618"/>
                <a:gd name="connsiteY30" fmla="*/ 16669 h 1012031"/>
                <a:gd name="connsiteX31" fmla="*/ 519112 w 759618"/>
                <a:gd name="connsiteY31" fmla="*/ 28575 h 1012031"/>
                <a:gd name="connsiteX32" fmla="*/ 533400 w 759618"/>
                <a:gd name="connsiteY32" fmla="*/ 61913 h 1012031"/>
                <a:gd name="connsiteX33" fmla="*/ 519112 w 759618"/>
                <a:gd name="connsiteY33" fmla="*/ 69056 h 1012031"/>
                <a:gd name="connsiteX34" fmla="*/ 500062 w 759618"/>
                <a:gd name="connsiteY34" fmla="*/ 33338 h 1012031"/>
                <a:gd name="connsiteX35" fmla="*/ 495300 w 759618"/>
                <a:gd name="connsiteY35" fmla="*/ 0 h 1012031"/>
                <a:gd name="connsiteX36" fmla="*/ 466725 w 759618"/>
                <a:gd name="connsiteY36" fmla="*/ 40481 h 1012031"/>
                <a:gd name="connsiteX37" fmla="*/ 466725 w 759618"/>
                <a:gd name="connsiteY37" fmla="*/ 61913 h 1012031"/>
                <a:gd name="connsiteX38" fmla="*/ 490537 w 759618"/>
                <a:gd name="connsiteY38" fmla="*/ 80963 h 1012031"/>
                <a:gd name="connsiteX39" fmla="*/ 490537 w 759618"/>
                <a:gd name="connsiteY39" fmla="*/ 100013 h 1012031"/>
                <a:gd name="connsiteX40" fmla="*/ 464343 w 759618"/>
                <a:gd name="connsiteY40" fmla="*/ 95250 h 1012031"/>
                <a:gd name="connsiteX41" fmla="*/ 442912 w 759618"/>
                <a:gd name="connsiteY41" fmla="*/ 64294 h 1012031"/>
                <a:gd name="connsiteX42" fmla="*/ 433387 w 759618"/>
                <a:gd name="connsiteY42" fmla="*/ 40481 h 1012031"/>
                <a:gd name="connsiteX43" fmla="*/ 414337 w 759618"/>
                <a:gd name="connsiteY43" fmla="*/ 33338 h 1012031"/>
                <a:gd name="connsiteX44" fmla="*/ 383381 w 759618"/>
                <a:gd name="connsiteY44" fmla="*/ 38100 h 1012031"/>
                <a:gd name="connsiteX45" fmla="*/ 376237 w 759618"/>
                <a:gd name="connsiteY45" fmla="*/ 42863 h 1012031"/>
                <a:gd name="connsiteX46" fmla="*/ 378618 w 759618"/>
                <a:gd name="connsiteY46" fmla="*/ 69056 h 1012031"/>
                <a:gd name="connsiteX47" fmla="*/ 402431 w 759618"/>
                <a:gd name="connsiteY47" fmla="*/ 88106 h 1012031"/>
                <a:gd name="connsiteX48" fmla="*/ 416718 w 759618"/>
                <a:gd name="connsiteY48" fmla="*/ 109538 h 1012031"/>
                <a:gd name="connsiteX49" fmla="*/ 402431 w 759618"/>
                <a:gd name="connsiteY49" fmla="*/ 145256 h 1012031"/>
                <a:gd name="connsiteX50" fmla="*/ 385762 w 759618"/>
                <a:gd name="connsiteY50" fmla="*/ 135731 h 1012031"/>
                <a:gd name="connsiteX51" fmla="*/ 381000 w 759618"/>
                <a:gd name="connsiteY51" fmla="*/ 104775 h 1012031"/>
                <a:gd name="connsiteX52" fmla="*/ 352425 w 759618"/>
                <a:gd name="connsiteY52" fmla="*/ 59531 h 1012031"/>
                <a:gd name="connsiteX53" fmla="*/ 333375 w 759618"/>
                <a:gd name="connsiteY53" fmla="*/ 69056 h 1012031"/>
                <a:gd name="connsiteX54" fmla="*/ 323850 w 759618"/>
                <a:gd name="connsiteY54" fmla="*/ 50006 h 1012031"/>
                <a:gd name="connsiteX55" fmla="*/ 302418 w 759618"/>
                <a:gd name="connsiteY55" fmla="*/ 42863 h 1012031"/>
                <a:gd name="connsiteX56" fmla="*/ 290512 w 759618"/>
                <a:gd name="connsiteY56" fmla="*/ 64294 h 1012031"/>
                <a:gd name="connsiteX57" fmla="*/ 304800 w 759618"/>
                <a:gd name="connsiteY57" fmla="*/ 76200 h 1012031"/>
                <a:gd name="connsiteX58" fmla="*/ 323850 w 759618"/>
                <a:gd name="connsiteY58" fmla="*/ 92869 h 1012031"/>
                <a:gd name="connsiteX59" fmla="*/ 335756 w 759618"/>
                <a:gd name="connsiteY59" fmla="*/ 100013 h 1012031"/>
                <a:gd name="connsiteX60" fmla="*/ 328612 w 759618"/>
                <a:gd name="connsiteY60" fmla="*/ 111919 h 1012031"/>
                <a:gd name="connsiteX61" fmla="*/ 307181 w 759618"/>
                <a:gd name="connsiteY61" fmla="*/ 100013 h 1012031"/>
                <a:gd name="connsiteX62" fmla="*/ 264318 w 759618"/>
                <a:gd name="connsiteY62" fmla="*/ 76200 h 1012031"/>
                <a:gd name="connsiteX63" fmla="*/ 280987 w 759618"/>
                <a:gd name="connsiteY63" fmla="*/ 114300 h 1012031"/>
                <a:gd name="connsiteX64" fmla="*/ 292893 w 759618"/>
                <a:gd name="connsiteY64" fmla="*/ 130969 h 1012031"/>
                <a:gd name="connsiteX65" fmla="*/ 280987 w 759618"/>
                <a:gd name="connsiteY65" fmla="*/ 140494 h 1012031"/>
                <a:gd name="connsiteX66" fmla="*/ 247650 w 759618"/>
                <a:gd name="connsiteY66" fmla="*/ 100013 h 1012031"/>
                <a:gd name="connsiteX67" fmla="*/ 261937 w 759618"/>
                <a:gd name="connsiteY67" fmla="*/ 142875 h 1012031"/>
                <a:gd name="connsiteX68" fmla="*/ 242887 w 759618"/>
                <a:gd name="connsiteY68" fmla="*/ 150019 h 1012031"/>
                <a:gd name="connsiteX69" fmla="*/ 257175 w 759618"/>
                <a:gd name="connsiteY69" fmla="*/ 178594 h 1012031"/>
                <a:gd name="connsiteX70" fmla="*/ 278606 w 759618"/>
                <a:gd name="connsiteY70" fmla="*/ 195263 h 1012031"/>
                <a:gd name="connsiteX71" fmla="*/ 307181 w 759618"/>
                <a:gd name="connsiteY71" fmla="*/ 228600 h 1012031"/>
                <a:gd name="connsiteX72" fmla="*/ 316706 w 759618"/>
                <a:gd name="connsiteY72" fmla="*/ 254794 h 1012031"/>
                <a:gd name="connsiteX73" fmla="*/ 316706 w 759618"/>
                <a:gd name="connsiteY73" fmla="*/ 254794 h 1012031"/>
                <a:gd name="connsiteX74" fmla="*/ 285750 w 759618"/>
                <a:gd name="connsiteY74" fmla="*/ 235744 h 1012031"/>
                <a:gd name="connsiteX75" fmla="*/ 238125 w 759618"/>
                <a:gd name="connsiteY75" fmla="*/ 221456 h 1012031"/>
                <a:gd name="connsiteX76" fmla="*/ 223837 w 759618"/>
                <a:gd name="connsiteY76" fmla="*/ 195263 h 1012031"/>
                <a:gd name="connsiteX77" fmla="*/ 204787 w 759618"/>
                <a:gd name="connsiteY77" fmla="*/ 166688 h 1012031"/>
                <a:gd name="connsiteX78" fmla="*/ 166687 w 759618"/>
                <a:gd name="connsiteY78" fmla="*/ 130969 h 1012031"/>
                <a:gd name="connsiteX79" fmla="*/ 166687 w 759618"/>
                <a:gd name="connsiteY79" fmla="*/ 157163 h 1012031"/>
                <a:gd name="connsiteX80" fmla="*/ 173831 w 759618"/>
                <a:gd name="connsiteY80" fmla="*/ 176213 h 1012031"/>
                <a:gd name="connsiteX81" fmla="*/ 171450 w 759618"/>
                <a:gd name="connsiteY81" fmla="*/ 188119 h 1012031"/>
                <a:gd name="connsiteX82" fmla="*/ 152400 w 759618"/>
                <a:gd name="connsiteY82" fmla="*/ 195263 h 1012031"/>
                <a:gd name="connsiteX83" fmla="*/ 128587 w 759618"/>
                <a:gd name="connsiteY83" fmla="*/ 190500 h 1012031"/>
                <a:gd name="connsiteX84" fmla="*/ 178593 w 759618"/>
                <a:gd name="connsiteY84" fmla="*/ 214313 h 1012031"/>
                <a:gd name="connsiteX85" fmla="*/ 188118 w 759618"/>
                <a:gd name="connsiteY85" fmla="*/ 228600 h 1012031"/>
                <a:gd name="connsiteX86" fmla="*/ 185737 w 759618"/>
                <a:gd name="connsiteY86" fmla="*/ 250031 h 1012031"/>
                <a:gd name="connsiteX87" fmla="*/ 157162 w 759618"/>
                <a:gd name="connsiteY87" fmla="*/ 228600 h 1012031"/>
                <a:gd name="connsiteX88" fmla="*/ 121443 w 759618"/>
                <a:gd name="connsiteY88" fmla="*/ 223838 h 1012031"/>
                <a:gd name="connsiteX89" fmla="*/ 97631 w 759618"/>
                <a:gd name="connsiteY89" fmla="*/ 211931 h 1012031"/>
                <a:gd name="connsiteX90" fmla="*/ 73818 w 759618"/>
                <a:gd name="connsiteY90" fmla="*/ 235744 h 1012031"/>
                <a:gd name="connsiteX91" fmla="*/ 73818 w 759618"/>
                <a:gd name="connsiteY91" fmla="*/ 257175 h 1012031"/>
                <a:gd name="connsiteX92" fmla="*/ 52387 w 759618"/>
                <a:gd name="connsiteY92" fmla="*/ 273844 h 1012031"/>
                <a:gd name="connsiteX93" fmla="*/ 35718 w 759618"/>
                <a:gd name="connsiteY93" fmla="*/ 254794 h 1012031"/>
                <a:gd name="connsiteX94" fmla="*/ 19050 w 759618"/>
                <a:gd name="connsiteY94" fmla="*/ 264319 h 1012031"/>
                <a:gd name="connsiteX95" fmla="*/ 0 w 759618"/>
                <a:gd name="connsiteY95" fmla="*/ 297656 h 1012031"/>
                <a:gd name="connsiteX96" fmla="*/ 26193 w 759618"/>
                <a:gd name="connsiteY96" fmla="*/ 283369 h 1012031"/>
                <a:gd name="connsiteX97" fmla="*/ 38100 w 759618"/>
                <a:gd name="connsiteY97" fmla="*/ 273844 h 1012031"/>
                <a:gd name="connsiteX98" fmla="*/ 52387 w 759618"/>
                <a:gd name="connsiteY98" fmla="*/ 288131 h 1012031"/>
                <a:gd name="connsiteX99" fmla="*/ 30956 w 759618"/>
                <a:gd name="connsiteY99" fmla="*/ 323850 h 1012031"/>
                <a:gd name="connsiteX100" fmla="*/ 69056 w 759618"/>
                <a:gd name="connsiteY100" fmla="*/ 300038 h 1012031"/>
                <a:gd name="connsiteX101" fmla="*/ 92868 w 759618"/>
                <a:gd name="connsiteY101" fmla="*/ 295275 h 1012031"/>
                <a:gd name="connsiteX102" fmla="*/ 114300 w 759618"/>
                <a:gd name="connsiteY102" fmla="*/ 300038 h 1012031"/>
                <a:gd name="connsiteX103" fmla="*/ 111918 w 759618"/>
                <a:gd name="connsiteY103" fmla="*/ 316706 h 1012031"/>
                <a:gd name="connsiteX104" fmla="*/ 92868 w 759618"/>
                <a:gd name="connsiteY104" fmla="*/ 311944 h 1012031"/>
                <a:gd name="connsiteX105" fmla="*/ 66675 w 759618"/>
                <a:gd name="connsiteY105" fmla="*/ 338138 h 1012031"/>
                <a:gd name="connsiteX106" fmla="*/ 69056 w 759618"/>
                <a:gd name="connsiteY106" fmla="*/ 359569 h 1012031"/>
                <a:gd name="connsiteX107" fmla="*/ 50006 w 759618"/>
                <a:gd name="connsiteY107" fmla="*/ 369094 h 1012031"/>
                <a:gd name="connsiteX108" fmla="*/ 59531 w 759618"/>
                <a:gd name="connsiteY108" fmla="*/ 385763 h 1012031"/>
                <a:gd name="connsiteX109" fmla="*/ 88106 w 759618"/>
                <a:gd name="connsiteY109" fmla="*/ 376238 h 1012031"/>
                <a:gd name="connsiteX110" fmla="*/ 116681 w 759618"/>
                <a:gd name="connsiteY110" fmla="*/ 378619 h 1012031"/>
                <a:gd name="connsiteX111" fmla="*/ 138112 w 759618"/>
                <a:gd name="connsiteY111" fmla="*/ 354806 h 1012031"/>
                <a:gd name="connsiteX112" fmla="*/ 164306 w 759618"/>
                <a:gd name="connsiteY112" fmla="*/ 335756 h 1012031"/>
                <a:gd name="connsiteX113" fmla="*/ 178593 w 759618"/>
                <a:gd name="connsiteY113" fmla="*/ 340519 h 1012031"/>
                <a:gd name="connsiteX114" fmla="*/ 157162 w 759618"/>
                <a:gd name="connsiteY114" fmla="*/ 366713 h 1012031"/>
                <a:gd name="connsiteX115" fmla="*/ 114300 w 759618"/>
                <a:gd name="connsiteY115" fmla="*/ 407194 h 1012031"/>
                <a:gd name="connsiteX116" fmla="*/ 73818 w 759618"/>
                <a:gd name="connsiteY116" fmla="*/ 411956 h 1012031"/>
                <a:gd name="connsiteX117" fmla="*/ 102393 w 759618"/>
                <a:gd name="connsiteY117" fmla="*/ 447675 h 1012031"/>
                <a:gd name="connsiteX118" fmla="*/ 133350 w 759618"/>
                <a:gd name="connsiteY118" fmla="*/ 419100 h 1012031"/>
                <a:gd name="connsiteX119" fmla="*/ 169068 w 759618"/>
                <a:gd name="connsiteY119" fmla="*/ 378619 h 1012031"/>
                <a:gd name="connsiteX120" fmla="*/ 209550 w 759618"/>
                <a:gd name="connsiteY120" fmla="*/ 371475 h 1012031"/>
                <a:gd name="connsiteX121" fmla="*/ 223837 w 759618"/>
                <a:gd name="connsiteY121" fmla="*/ 373856 h 1012031"/>
                <a:gd name="connsiteX122" fmla="*/ 183356 w 759618"/>
                <a:gd name="connsiteY122" fmla="*/ 402431 h 1012031"/>
                <a:gd name="connsiteX123" fmla="*/ 154781 w 759618"/>
                <a:gd name="connsiteY123" fmla="*/ 428625 h 1012031"/>
                <a:gd name="connsiteX124" fmla="*/ 147637 w 759618"/>
                <a:gd name="connsiteY124" fmla="*/ 454819 h 1012031"/>
                <a:gd name="connsiteX125" fmla="*/ 169068 w 759618"/>
                <a:gd name="connsiteY125" fmla="*/ 466725 h 1012031"/>
                <a:gd name="connsiteX126" fmla="*/ 197643 w 759618"/>
                <a:gd name="connsiteY126" fmla="*/ 454819 h 1012031"/>
                <a:gd name="connsiteX127" fmla="*/ 197643 w 759618"/>
                <a:gd name="connsiteY127" fmla="*/ 423863 h 1012031"/>
                <a:gd name="connsiteX128" fmla="*/ 211931 w 759618"/>
                <a:gd name="connsiteY128" fmla="*/ 411956 h 1012031"/>
                <a:gd name="connsiteX129" fmla="*/ 228600 w 759618"/>
                <a:gd name="connsiteY129" fmla="*/ 428625 h 1012031"/>
                <a:gd name="connsiteX130" fmla="*/ 254793 w 759618"/>
                <a:gd name="connsiteY130" fmla="*/ 423863 h 1012031"/>
                <a:gd name="connsiteX131" fmla="*/ 240506 w 759618"/>
                <a:gd name="connsiteY131" fmla="*/ 445294 h 1012031"/>
                <a:gd name="connsiteX132" fmla="*/ 216693 w 759618"/>
                <a:gd name="connsiteY132" fmla="*/ 452438 h 1012031"/>
                <a:gd name="connsiteX133" fmla="*/ 242887 w 759618"/>
                <a:gd name="connsiteY133" fmla="*/ 464344 h 1012031"/>
                <a:gd name="connsiteX134" fmla="*/ 304800 w 759618"/>
                <a:gd name="connsiteY134" fmla="*/ 411956 h 1012031"/>
                <a:gd name="connsiteX135" fmla="*/ 307181 w 759618"/>
                <a:gd name="connsiteY135" fmla="*/ 364331 h 1012031"/>
                <a:gd name="connsiteX136" fmla="*/ 378618 w 759618"/>
                <a:gd name="connsiteY136" fmla="*/ 311944 h 1012031"/>
                <a:gd name="connsiteX137" fmla="*/ 385762 w 759618"/>
                <a:gd name="connsiteY137" fmla="*/ 335756 h 1012031"/>
                <a:gd name="connsiteX138" fmla="*/ 357187 w 759618"/>
                <a:gd name="connsiteY138" fmla="*/ 359569 h 1012031"/>
                <a:gd name="connsiteX139" fmla="*/ 333375 w 759618"/>
                <a:gd name="connsiteY139" fmla="*/ 400050 h 1012031"/>
                <a:gd name="connsiteX140" fmla="*/ 333375 w 759618"/>
                <a:gd name="connsiteY140" fmla="*/ 414338 h 1012031"/>
                <a:gd name="connsiteX141" fmla="*/ 359568 w 759618"/>
                <a:gd name="connsiteY141" fmla="*/ 407194 h 1012031"/>
                <a:gd name="connsiteX142" fmla="*/ 381000 w 759618"/>
                <a:gd name="connsiteY142" fmla="*/ 414338 h 1012031"/>
                <a:gd name="connsiteX143" fmla="*/ 369093 w 759618"/>
                <a:gd name="connsiteY143" fmla="*/ 419100 h 1012031"/>
                <a:gd name="connsiteX144" fmla="*/ 338137 w 759618"/>
                <a:gd name="connsiteY144" fmla="*/ 428625 h 1012031"/>
                <a:gd name="connsiteX145" fmla="*/ 300037 w 759618"/>
                <a:gd name="connsiteY145" fmla="*/ 454819 h 1012031"/>
                <a:gd name="connsiteX146" fmla="*/ 345281 w 759618"/>
                <a:gd name="connsiteY146" fmla="*/ 461963 h 1012031"/>
                <a:gd name="connsiteX147" fmla="*/ 342900 w 759618"/>
                <a:gd name="connsiteY147" fmla="*/ 476250 h 1012031"/>
                <a:gd name="connsiteX148" fmla="*/ 292893 w 759618"/>
                <a:gd name="connsiteY148" fmla="*/ 478631 h 1012031"/>
                <a:gd name="connsiteX149" fmla="*/ 261937 w 759618"/>
                <a:gd name="connsiteY149" fmla="*/ 495300 h 1012031"/>
                <a:gd name="connsiteX150" fmla="*/ 228600 w 759618"/>
                <a:gd name="connsiteY150" fmla="*/ 504825 h 1012031"/>
                <a:gd name="connsiteX151" fmla="*/ 240506 w 759618"/>
                <a:gd name="connsiteY151" fmla="*/ 540544 h 1012031"/>
                <a:gd name="connsiteX152" fmla="*/ 257175 w 759618"/>
                <a:gd name="connsiteY152" fmla="*/ 557213 h 1012031"/>
                <a:gd name="connsiteX153" fmla="*/ 259556 w 759618"/>
                <a:gd name="connsiteY153" fmla="*/ 578644 h 1012031"/>
                <a:gd name="connsiteX154" fmla="*/ 290512 w 759618"/>
                <a:gd name="connsiteY154" fmla="*/ 585788 h 1012031"/>
                <a:gd name="connsiteX155" fmla="*/ 292893 w 759618"/>
                <a:gd name="connsiteY155" fmla="*/ 597694 h 1012031"/>
                <a:gd name="connsiteX156" fmla="*/ 273843 w 759618"/>
                <a:gd name="connsiteY156" fmla="*/ 616744 h 1012031"/>
                <a:gd name="connsiteX157" fmla="*/ 252412 w 759618"/>
                <a:gd name="connsiteY157" fmla="*/ 609600 h 1012031"/>
                <a:gd name="connsiteX158" fmla="*/ 235743 w 759618"/>
                <a:gd name="connsiteY158" fmla="*/ 607219 h 1012031"/>
                <a:gd name="connsiteX159" fmla="*/ 228600 w 759618"/>
                <a:gd name="connsiteY159" fmla="*/ 581025 h 1012031"/>
                <a:gd name="connsiteX160" fmla="*/ 204787 w 759618"/>
                <a:gd name="connsiteY160" fmla="*/ 547688 h 1012031"/>
                <a:gd name="connsiteX161" fmla="*/ 192881 w 759618"/>
                <a:gd name="connsiteY161" fmla="*/ 519113 h 1012031"/>
                <a:gd name="connsiteX162" fmla="*/ 166687 w 759618"/>
                <a:gd name="connsiteY162" fmla="*/ 507206 h 1012031"/>
                <a:gd name="connsiteX163" fmla="*/ 130968 w 759618"/>
                <a:gd name="connsiteY163" fmla="*/ 495300 h 1012031"/>
                <a:gd name="connsiteX164" fmla="*/ 135731 w 759618"/>
                <a:gd name="connsiteY164" fmla="*/ 535781 h 1012031"/>
                <a:gd name="connsiteX165" fmla="*/ 171450 w 759618"/>
                <a:gd name="connsiteY165" fmla="*/ 554831 h 1012031"/>
                <a:gd name="connsiteX166" fmla="*/ 164306 w 759618"/>
                <a:gd name="connsiteY166" fmla="*/ 569119 h 1012031"/>
                <a:gd name="connsiteX167" fmla="*/ 138112 w 759618"/>
                <a:gd name="connsiteY167" fmla="*/ 554831 h 1012031"/>
                <a:gd name="connsiteX168" fmla="*/ 173831 w 759618"/>
                <a:gd name="connsiteY168" fmla="*/ 595313 h 1012031"/>
                <a:gd name="connsiteX169" fmla="*/ 188118 w 759618"/>
                <a:gd name="connsiteY169" fmla="*/ 621506 h 1012031"/>
                <a:gd name="connsiteX170" fmla="*/ 197643 w 759618"/>
                <a:gd name="connsiteY170" fmla="*/ 642938 h 1012031"/>
                <a:gd name="connsiteX171" fmla="*/ 207168 w 759618"/>
                <a:gd name="connsiteY171" fmla="*/ 659606 h 1012031"/>
                <a:gd name="connsiteX172" fmla="*/ 207168 w 759618"/>
                <a:gd name="connsiteY172" fmla="*/ 659606 h 1012031"/>
                <a:gd name="connsiteX173" fmla="*/ 176212 w 759618"/>
                <a:gd name="connsiteY173" fmla="*/ 664369 h 1012031"/>
                <a:gd name="connsiteX174" fmla="*/ 200025 w 759618"/>
                <a:gd name="connsiteY174" fmla="*/ 681038 h 1012031"/>
                <a:gd name="connsiteX175" fmla="*/ 228600 w 759618"/>
                <a:gd name="connsiteY175" fmla="*/ 690563 h 1012031"/>
                <a:gd name="connsiteX176" fmla="*/ 242887 w 759618"/>
                <a:gd name="connsiteY176" fmla="*/ 685800 h 1012031"/>
                <a:gd name="connsiteX177" fmla="*/ 252412 w 759618"/>
                <a:gd name="connsiteY177" fmla="*/ 678656 h 1012031"/>
                <a:gd name="connsiteX178" fmla="*/ 264318 w 759618"/>
                <a:gd name="connsiteY178" fmla="*/ 704850 h 1012031"/>
                <a:gd name="connsiteX179" fmla="*/ 252412 w 759618"/>
                <a:gd name="connsiteY179" fmla="*/ 719138 h 1012031"/>
                <a:gd name="connsiteX180" fmla="*/ 235743 w 759618"/>
                <a:gd name="connsiteY180" fmla="*/ 745331 h 1012031"/>
                <a:gd name="connsiteX181" fmla="*/ 209550 w 759618"/>
                <a:gd name="connsiteY181" fmla="*/ 716756 h 1012031"/>
                <a:gd name="connsiteX182" fmla="*/ 185737 w 759618"/>
                <a:gd name="connsiteY182" fmla="*/ 704850 h 1012031"/>
                <a:gd name="connsiteX183" fmla="*/ 147637 w 759618"/>
                <a:gd name="connsiteY183" fmla="*/ 707231 h 1012031"/>
                <a:gd name="connsiteX184" fmla="*/ 135731 w 759618"/>
                <a:gd name="connsiteY184" fmla="*/ 716756 h 1012031"/>
                <a:gd name="connsiteX185" fmla="*/ 123825 w 759618"/>
                <a:gd name="connsiteY185" fmla="*/ 735806 h 1012031"/>
                <a:gd name="connsiteX186" fmla="*/ 114300 w 759618"/>
                <a:gd name="connsiteY186" fmla="*/ 766763 h 1012031"/>
                <a:gd name="connsiteX187" fmla="*/ 126206 w 759618"/>
                <a:gd name="connsiteY187" fmla="*/ 781050 h 1012031"/>
                <a:gd name="connsiteX188" fmla="*/ 145256 w 759618"/>
                <a:gd name="connsiteY188" fmla="*/ 757238 h 1012031"/>
                <a:gd name="connsiteX189" fmla="*/ 145256 w 759618"/>
                <a:gd name="connsiteY189" fmla="*/ 757238 h 1012031"/>
                <a:gd name="connsiteX190" fmla="*/ 152400 w 759618"/>
                <a:gd name="connsiteY190" fmla="*/ 778669 h 1012031"/>
                <a:gd name="connsiteX191" fmla="*/ 142875 w 759618"/>
                <a:gd name="connsiteY191" fmla="*/ 790575 h 1012031"/>
                <a:gd name="connsiteX192" fmla="*/ 173831 w 759618"/>
                <a:gd name="connsiteY192" fmla="*/ 776288 h 1012031"/>
                <a:gd name="connsiteX193" fmla="*/ 169068 w 759618"/>
                <a:gd name="connsiteY193" fmla="*/ 752475 h 1012031"/>
                <a:gd name="connsiteX194" fmla="*/ 183356 w 759618"/>
                <a:gd name="connsiteY194" fmla="*/ 747713 h 1012031"/>
                <a:gd name="connsiteX195" fmla="*/ 183356 w 759618"/>
                <a:gd name="connsiteY195" fmla="*/ 766763 h 1012031"/>
                <a:gd name="connsiteX196" fmla="*/ 188118 w 759618"/>
                <a:gd name="connsiteY196" fmla="*/ 778669 h 1012031"/>
                <a:gd name="connsiteX197" fmla="*/ 200025 w 759618"/>
                <a:gd name="connsiteY197" fmla="*/ 783431 h 1012031"/>
                <a:gd name="connsiteX198" fmla="*/ 197643 w 759618"/>
                <a:gd name="connsiteY198" fmla="*/ 797719 h 1012031"/>
                <a:gd name="connsiteX199" fmla="*/ 178593 w 759618"/>
                <a:gd name="connsiteY199" fmla="*/ 802481 h 1012031"/>
                <a:gd name="connsiteX200" fmla="*/ 166687 w 759618"/>
                <a:gd name="connsiteY200" fmla="*/ 812006 h 1012031"/>
                <a:gd name="connsiteX201" fmla="*/ 180975 w 759618"/>
                <a:gd name="connsiteY201" fmla="*/ 816769 h 1012031"/>
                <a:gd name="connsiteX202" fmla="*/ 173831 w 759618"/>
                <a:gd name="connsiteY202" fmla="*/ 838200 h 1012031"/>
                <a:gd name="connsiteX203" fmla="*/ 190500 w 759618"/>
                <a:gd name="connsiteY203" fmla="*/ 842963 h 1012031"/>
                <a:gd name="connsiteX204" fmla="*/ 190500 w 759618"/>
                <a:gd name="connsiteY204" fmla="*/ 842963 h 1012031"/>
                <a:gd name="connsiteX205" fmla="*/ 226218 w 759618"/>
                <a:gd name="connsiteY205" fmla="*/ 814388 h 1012031"/>
                <a:gd name="connsiteX206" fmla="*/ 230981 w 759618"/>
                <a:gd name="connsiteY206" fmla="*/ 795338 h 1012031"/>
                <a:gd name="connsiteX207" fmla="*/ 247650 w 759618"/>
                <a:gd name="connsiteY207" fmla="*/ 804863 h 1012031"/>
                <a:gd name="connsiteX208" fmla="*/ 228600 w 759618"/>
                <a:gd name="connsiteY208" fmla="*/ 842963 h 1012031"/>
                <a:gd name="connsiteX209" fmla="*/ 204787 w 759618"/>
                <a:gd name="connsiteY209" fmla="*/ 869156 h 1012031"/>
                <a:gd name="connsiteX210" fmla="*/ 192881 w 759618"/>
                <a:gd name="connsiteY210" fmla="*/ 873919 h 1012031"/>
                <a:gd name="connsiteX211" fmla="*/ 171450 w 759618"/>
                <a:gd name="connsiteY211" fmla="*/ 888206 h 1012031"/>
                <a:gd name="connsiteX212" fmla="*/ 142875 w 759618"/>
                <a:gd name="connsiteY212" fmla="*/ 859631 h 1012031"/>
                <a:gd name="connsiteX213" fmla="*/ 126206 w 759618"/>
                <a:gd name="connsiteY213" fmla="*/ 831056 h 1012031"/>
                <a:gd name="connsiteX214" fmla="*/ 104775 w 759618"/>
                <a:gd name="connsiteY214" fmla="*/ 828675 h 1012031"/>
                <a:gd name="connsiteX215" fmla="*/ 85725 w 759618"/>
                <a:gd name="connsiteY215" fmla="*/ 845344 h 1012031"/>
                <a:gd name="connsiteX216" fmla="*/ 100012 w 759618"/>
                <a:gd name="connsiteY216" fmla="*/ 864394 h 1012031"/>
                <a:gd name="connsiteX217" fmla="*/ 111918 w 759618"/>
                <a:gd name="connsiteY217" fmla="*/ 878681 h 1012031"/>
                <a:gd name="connsiteX218" fmla="*/ 123825 w 759618"/>
                <a:gd name="connsiteY218" fmla="*/ 888206 h 1012031"/>
                <a:gd name="connsiteX219" fmla="*/ 133350 w 759618"/>
                <a:gd name="connsiteY219" fmla="*/ 909638 h 1012031"/>
                <a:gd name="connsiteX220" fmla="*/ 109537 w 759618"/>
                <a:gd name="connsiteY220" fmla="*/ 921544 h 1012031"/>
                <a:gd name="connsiteX221" fmla="*/ 90487 w 759618"/>
                <a:gd name="connsiteY221" fmla="*/ 909638 h 1012031"/>
                <a:gd name="connsiteX222" fmla="*/ 71437 w 759618"/>
                <a:gd name="connsiteY222" fmla="*/ 935831 h 1012031"/>
                <a:gd name="connsiteX223" fmla="*/ 61912 w 759618"/>
                <a:gd name="connsiteY223" fmla="*/ 971550 h 1012031"/>
                <a:gd name="connsiteX224" fmla="*/ 80962 w 759618"/>
                <a:gd name="connsiteY224" fmla="*/ 954881 h 1012031"/>
                <a:gd name="connsiteX225" fmla="*/ 95250 w 759618"/>
                <a:gd name="connsiteY225" fmla="*/ 978694 h 1012031"/>
                <a:gd name="connsiteX226" fmla="*/ 109537 w 759618"/>
                <a:gd name="connsiteY226" fmla="*/ 964406 h 1012031"/>
                <a:gd name="connsiteX227" fmla="*/ 119062 w 759618"/>
                <a:gd name="connsiteY227" fmla="*/ 981075 h 1012031"/>
                <a:gd name="connsiteX228" fmla="*/ 126206 w 759618"/>
                <a:gd name="connsiteY228" fmla="*/ 959644 h 1012031"/>
                <a:gd name="connsiteX229" fmla="*/ 145256 w 759618"/>
                <a:gd name="connsiteY229" fmla="*/ 985838 h 1012031"/>
                <a:gd name="connsiteX230" fmla="*/ 169068 w 759618"/>
                <a:gd name="connsiteY230" fmla="*/ 1004888 h 1012031"/>
                <a:gd name="connsiteX231" fmla="*/ 161925 w 759618"/>
                <a:gd name="connsiteY231" fmla="*/ 978694 h 1012031"/>
                <a:gd name="connsiteX232" fmla="*/ 171450 w 759618"/>
                <a:gd name="connsiteY232" fmla="*/ 964406 h 1012031"/>
                <a:gd name="connsiteX233" fmla="*/ 180975 w 759618"/>
                <a:gd name="connsiteY233" fmla="*/ 973931 h 1012031"/>
                <a:gd name="connsiteX234" fmla="*/ 188118 w 759618"/>
                <a:gd name="connsiteY234" fmla="*/ 962025 h 1012031"/>
                <a:gd name="connsiteX235" fmla="*/ 197643 w 759618"/>
                <a:gd name="connsiteY235" fmla="*/ 981075 h 1012031"/>
                <a:gd name="connsiteX236" fmla="*/ 209550 w 759618"/>
                <a:gd name="connsiteY236" fmla="*/ 962025 h 1012031"/>
                <a:gd name="connsiteX237" fmla="*/ 228600 w 759618"/>
                <a:gd name="connsiteY237" fmla="*/ 983456 h 1012031"/>
                <a:gd name="connsiteX238" fmla="*/ 235743 w 759618"/>
                <a:gd name="connsiteY238" fmla="*/ 959644 h 1012031"/>
                <a:gd name="connsiteX239" fmla="*/ 254793 w 759618"/>
                <a:gd name="connsiteY239" fmla="*/ 973931 h 1012031"/>
                <a:gd name="connsiteX240" fmla="*/ 271462 w 759618"/>
                <a:gd name="connsiteY240" fmla="*/ 983456 h 1012031"/>
                <a:gd name="connsiteX241" fmla="*/ 278606 w 759618"/>
                <a:gd name="connsiteY241" fmla="*/ 1000125 h 1012031"/>
                <a:gd name="connsiteX242" fmla="*/ 269081 w 759618"/>
                <a:gd name="connsiteY242" fmla="*/ 1012031 h 1012031"/>
                <a:gd name="connsiteX243" fmla="*/ 316706 w 759618"/>
                <a:gd name="connsiteY243" fmla="*/ 976313 h 1012031"/>
                <a:gd name="connsiteX244" fmla="*/ 335756 w 759618"/>
                <a:gd name="connsiteY244" fmla="*/ 969169 h 1012031"/>
                <a:gd name="connsiteX245" fmla="*/ 342900 w 759618"/>
                <a:gd name="connsiteY245" fmla="*/ 950119 h 1012031"/>
                <a:gd name="connsiteX246" fmla="*/ 342900 w 759618"/>
                <a:gd name="connsiteY246" fmla="*/ 926306 h 1012031"/>
                <a:gd name="connsiteX247" fmla="*/ 321468 w 759618"/>
                <a:gd name="connsiteY247" fmla="*/ 935831 h 1012031"/>
                <a:gd name="connsiteX248" fmla="*/ 307181 w 759618"/>
                <a:gd name="connsiteY248" fmla="*/ 926306 h 1012031"/>
                <a:gd name="connsiteX249" fmla="*/ 307181 w 759618"/>
                <a:gd name="connsiteY249" fmla="*/ 900113 h 1012031"/>
                <a:gd name="connsiteX250" fmla="*/ 290512 w 759618"/>
                <a:gd name="connsiteY250" fmla="*/ 916781 h 1012031"/>
                <a:gd name="connsiteX251" fmla="*/ 269081 w 759618"/>
                <a:gd name="connsiteY251" fmla="*/ 892969 h 1012031"/>
                <a:gd name="connsiteX252" fmla="*/ 252412 w 759618"/>
                <a:gd name="connsiteY252" fmla="*/ 919163 h 1012031"/>
                <a:gd name="connsiteX253" fmla="*/ 233362 w 759618"/>
                <a:gd name="connsiteY253" fmla="*/ 902494 h 1012031"/>
                <a:gd name="connsiteX254" fmla="*/ 254793 w 759618"/>
                <a:gd name="connsiteY254" fmla="*/ 888206 h 1012031"/>
                <a:gd name="connsiteX255" fmla="*/ 254793 w 759618"/>
                <a:gd name="connsiteY255" fmla="*/ 862013 h 1012031"/>
                <a:gd name="connsiteX256" fmla="*/ 278606 w 759618"/>
                <a:gd name="connsiteY256" fmla="*/ 876300 h 1012031"/>
                <a:gd name="connsiteX257" fmla="*/ 307181 w 759618"/>
                <a:gd name="connsiteY257" fmla="*/ 885825 h 1012031"/>
                <a:gd name="connsiteX258" fmla="*/ 323850 w 759618"/>
                <a:gd name="connsiteY258" fmla="*/ 878681 h 1012031"/>
                <a:gd name="connsiteX259" fmla="*/ 338137 w 759618"/>
                <a:gd name="connsiteY259" fmla="*/ 869156 h 1012031"/>
                <a:gd name="connsiteX260" fmla="*/ 338137 w 759618"/>
                <a:gd name="connsiteY260" fmla="*/ 847725 h 1012031"/>
                <a:gd name="connsiteX261" fmla="*/ 335756 w 759618"/>
                <a:gd name="connsiteY261" fmla="*/ 823913 h 1012031"/>
                <a:gd name="connsiteX262" fmla="*/ 338137 w 759618"/>
                <a:gd name="connsiteY262" fmla="*/ 797719 h 1012031"/>
                <a:gd name="connsiteX263" fmla="*/ 364331 w 759618"/>
                <a:gd name="connsiteY263" fmla="*/ 814388 h 1012031"/>
                <a:gd name="connsiteX264" fmla="*/ 392906 w 759618"/>
                <a:gd name="connsiteY264" fmla="*/ 795338 h 1012031"/>
                <a:gd name="connsiteX265" fmla="*/ 373856 w 759618"/>
                <a:gd name="connsiteY265" fmla="*/ 783431 h 1012031"/>
                <a:gd name="connsiteX266" fmla="*/ 395287 w 759618"/>
                <a:gd name="connsiteY266" fmla="*/ 776288 h 1012031"/>
                <a:gd name="connsiteX267" fmla="*/ 407193 w 759618"/>
                <a:gd name="connsiteY267" fmla="*/ 762000 h 1012031"/>
                <a:gd name="connsiteX268" fmla="*/ 388143 w 759618"/>
                <a:gd name="connsiteY268" fmla="*/ 752475 h 1012031"/>
                <a:gd name="connsiteX269" fmla="*/ 404812 w 759618"/>
                <a:gd name="connsiteY269" fmla="*/ 738188 h 1012031"/>
                <a:gd name="connsiteX270" fmla="*/ 423862 w 759618"/>
                <a:gd name="connsiteY270" fmla="*/ 707231 h 1012031"/>
                <a:gd name="connsiteX271" fmla="*/ 383381 w 759618"/>
                <a:gd name="connsiteY271" fmla="*/ 697706 h 1012031"/>
                <a:gd name="connsiteX272" fmla="*/ 381000 w 759618"/>
                <a:gd name="connsiteY272" fmla="*/ 690563 h 1012031"/>
                <a:gd name="connsiteX273" fmla="*/ 350043 w 759618"/>
                <a:gd name="connsiteY273" fmla="*/ 690563 h 1012031"/>
                <a:gd name="connsiteX274" fmla="*/ 335756 w 759618"/>
                <a:gd name="connsiteY274" fmla="*/ 676275 h 1012031"/>
                <a:gd name="connsiteX275" fmla="*/ 354806 w 759618"/>
                <a:gd name="connsiteY275" fmla="*/ 654844 h 1012031"/>
                <a:gd name="connsiteX276" fmla="*/ 390525 w 759618"/>
                <a:gd name="connsiteY276" fmla="*/ 657225 h 1012031"/>
                <a:gd name="connsiteX277" fmla="*/ 416718 w 759618"/>
                <a:gd name="connsiteY277" fmla="*/ 683419 h 1012031"/>
                <a:gd name="connsiteX278" fmla="*/ 428625 w 759618"/>
                <a:gd name="connsiteY278" fmla="*/ 647700 h 1012031"/>
                <a:gd name="connsiteX279" fmla="*/ 397668 w 759618"/>
                <a:gd name="connsiteY279" fmla="*/ 640556 h 1012031"/>
                <a:gd name="connsiteX280" fmla="*/ 359568 w 759618"/>
                <a:gd name="connsiteY280" fmla="*/ 631031 h 1012031"/>
                <a:gd name="connsiteX281" fmla="*/ 371475 w 759618"/>
                <a:gd name="connsiteY281" fmla="*/ 619125 h 1012031"/>
                <a:gd name="connsiteX282" fmla="*/ 395287 w 759618"/>
                <a:gd name="connsiteY282" fmla="*/ 616744 h 1012031"/>
                <a:gd name="connsiteX283" fmla="*/ 416718 w 759618"/>
                <a:gd name="connsiteY283" fmla="*/ 628650 h 1012031"/>
                <a:gd name="connsiteX284" fmla="*/ 442912 w 759618"/>
                <a:gd name="connsiteY284" fmla="*/ 607219 h 1012031"/>
                <a:gd name="connsiteX285" fmla="*/ 452437 w 759618"/>
                <a:gd name="connsiteY285" fmla="*/ 592931 h 1012031"/>
                <a:gd name="connsiteX286" fmla="*/ 428625 w 759618"/>
                <a:gd name="connsiteY286" fmla="*/ 576263 h 1012031"/>
                <a:gd name="connsiteX287" fmla="*/ 440531 w 759618"/>
                <a:gd name="connsiteY287" fmla="*/ 564356 h 1012031"/>
                <a:gd name="connsiteX288" fmla="*/ 464343 w 759618"/>
                <a:gd name="connsiteY288" fmla="*/ 578644 h 1012031"/>
                <a:gd name="connsiteX289" fmla="*/ 497681 w 759618"/>
                <a:gd name="connsiteY289" fmla="*/ 590550 h 1012031"/>
                <a:gd name="connsiteX290" fmla="*/ 511968 w 759618"/>
                <a:gd name="connsiteY290" fmla="*/ 557213 h 1012031"/>
                <a:gd name="connsiteX291" fmla="*/ 526256 w 759618"/>
                <a:gd name="connsiteY291" fmla="*/ 528638 h 1012031"/>
                <a:gd name="connsiteX292" fmla="*/ 502443 w 759618"/>
                <a:gd name="connsiteY292" fmla="*/ 531019 h 1012031"/>
                <a:gd name="connsiteX293" fmla="*/ 488156 w 759618"/>
                <a:gd name="connsiteY293" fmla="*/ 519113 h 1012031"/>
                <a:gd name="connsiteX294" fmla="*/ 492918 w 759618"/>
                <a:gd name="connsiteY294" fmla="*/ 461963 h 1012031"/>
                <a:gd name="connsiteX0" fmla="*/ 542924 w 759618"/>
                <a:gd name="connsiteY0" fmla="*/ 511969 h 1012031"/>
                <a:gd name="connsiteX1" fmla="*/ 504825 w 759618"/>
                <a:gd name="connsiteY1" fmla="*/ 426244 h 1012031"/>
                <a:gd name="connsiteX2" fmla="*/ 616743 w 759618"/>
                <a:gd name="connsiteY2" fmla="*/ 383381 h 1012031"/>
                <a:gd name="connsiteX3" fmla="*/ 626268 w 759618"/>
                <a:gd name="connsiteY3" fmla="*/ 357188 h 1012031"/>
                <a:gd name="connsiteX4" fmla="*/ 678656 w 759618"/>
                <a:gd name="connsiteY4" fmla="*/ 307181 h 1012031"/>
                <a:gd name="connsiteX5" fmla="*/ 600075 w 759618"/>
                <a:gd name="connsiteY5" fmla="*/ 335756 h 1012031"/>
                <a:gd name="connsiteX6" fmla="*/ 554831 w 759618"/>
                <a:gd name="connsiteY6" fmla="*/ 373856 h 1012031"/>
                <a:gd name="connsiteX7" fmla="*/ 535781 w 759618"/>
                <a:gd name="connsiteY7" fmla="*/ 369094 h 1012031"/>
                <a:gd name="connsiteX8" fmla="*/ 597693 w 759618"/>
                <a:gd name="connsiteY8" fmla="*/ 309563 h 1012031"/>
                <a:gd name="connsiteX9" fmla="*/ 573881 w 759618"/>
                <a:gd name="connsiteY9" fmla="*/ 288131 h 1012031"/>
                <a:gd name="connsiteX10" fmla="*/ 561975 w 759618"/>
                <a:gd name="connsiteY10" fmla="*/ 261938 h 1012031"/>
                <a:gd name="connsiteX11" fmla="*/ 614362 w 759618"/>
                <a:gd name="connsiteY11" fmla="*/ 292894 h 1012031"/>
                <a:gd name="connsiteX12" fmla="*/ 650081 w 759618"/>
                <a:gd name="connsiteY12" fmla="*/ 290513 h 1012031"/>
                <a:gd name="connsiteX13" fmla="*/ 650081 w 759618"/>
                <a:gd name="connsiteY13" fmla="*/ 273844 h 1012031"/>
                <a:gd name="connsiteX14" fmla="*/ 678656 w 759618"/>
                <a:gd name="connsiteY14" fmla="*/ 271463 h 1012031"/>
                <a:gd name="connsiteX15" fmla="*/ 721518 w 759618"/>
                <a:gd name="connsiteY15" fmla="*/ 221456 h 1012031"/>
                <a:gd name="connsiteX16" fmla="*/ 759618 w 759618"/>
                <a:gd name="connsiteY16" fmla="*/ 150019 h 1012031"/>
                <a:gd name="connsiteX17" fmla="*/ 738187 w 759618"/>
                <a:gd name="connsiteY17" fmla="*/ 126206 h 1012031"/>
                <a:gd name="connsiteX18" fmla="*/ 704850 w 759618"/>
                <a:gd name="connsiteY18" fmla="*/ 121444 h 1012031"/>
                <a:gd name="connsiteX19" fmla="*/ 692943 w 759618"/>
                <a:gd name="connsiteY19" fmla="*/ 73819 h 1012031"/>
                <a:gd name="connsiteX20" fmla="*/ 669131 w 759618"/>
                <a:gd name="connsiteY20" fmla="*/ 59531 h 1012031"/>
                <a:gd name="connsiteX21" fmla="*/ 628650 w 759618"/>
                <a:gd name="connsiteY21" fmla="*/ 78581 h 1012031"/>
                <a:gd name="connsiteX22" fmla="*/ 614362 w 759618"/>
                <a:gd name="connsiteY22" fmla="*/ 102394 h 1012031"/>
                <a:gd name="connsiteX23" fmla="*/ 588168 w 759618"/>
                <a:gd name="connsiteY23" fmla="*/ 114300 h 1012031"/>
                <a:gd name="connsiteX24" fmla="*/ 576262 w 759618"/>
                <a:gd name="connsiteY24" fmla="*/ 107156 h 1012031"/>
                <a:gd name="connsiteX25" fmla="*/ 592931 w 759618"/>
                <a:gd name="connsiteY25" fmla="*/ 85725 h 1012031"/>
                <a:gd name="connsiteX26" fmla="*/ 621506 w 759618"/>
                <a:gd name="connsiteY26" fmla="*/ 50006 h 1012031"/>
                <a:gd name="connsiteX27" fmla="*/ 585787 w 759618"/>
                <a:gd name="connsiteY27" fmla="*/ 33338 h 1012031"/>
                <a:gd name="connsiteX28" fmla="*/ 557212 w 759618"/>
                <a:gd name="connsiteY28" fmla="*/ 38100 h 1012031"/>
                <a:gd name="connsiteX29" fmla="*/ 540543 w 759618"/>
                <a:gd name="connsiteY29" fmla="*/ 16669 h 1012031"/>
                <a:gd name="connsiteX30" fmla="*/ 526256 w 759618"/>
                <a:gd name="connsiteY30" fmla="*/ 16669 h 1012031"/>
                <a:gd name="connsiteX31" fmla="*/ 519112 w 759618"/>
                <a:gd name="connsiteY31" fmla="*/ 28575 h 1012031"/>
                <a:gd name="connsiteX32" fmla="*/ 533400 w 759618"/>
                <a:gd name="connsiteY32" fmla="*/ 61913 h 1012031"/>
                <a:gd name="connsiteX33" fmla="*/ 519112 w 759618"/>
                <a:gd name="connsiteY33" fmla="*/ 69056 h 1012031"/>
                <a:gd name="connsiteX34" fmla="*/ 500062 w 759618"/>
                <a:gd name="connsiteY34" fmla="*/ 33338 h 1012031"/>
                <a:gd name="connsiteX35" fmla="*/ 495300 w 759618"/>
                <a:gd name="connsiteY35" fmla="*/ 0 h 1012031"/>
                <a:gd name="connsiteX36" fmla="*/ 466725 w 759618"/>
                <a:gd name="connsiteY36" fmla="*/ 40481 h 1012031"/>
                <a:gd name="connsiteX37" fmla="*/ 466725 w 759618"/>
                <a:gd name="connsiteY37" fmla="*/ 61913 h 1012031"/>
                <a:gd name="connsiteX38" fmla="*/ 490537 w 759618"/>
                <a:gd name="connsiteY38" fmla="*/ 80963 h 1012031"/>
                <a:gd name="connsiteX39" fmla="*/ 490537 w 759618"/>
                <a:gd name="connsiteY39" fmla="*/ 100013 h 1012031"/>
                <a:gd name="connsiteX40" fmla="*/ 464343 w 759618"/>
                <a:gd name="connsiteY40" fmla="*/ 95250 h 1012031"/>
                <a:gd name="connsiteX41" fmla="*/ 442912 w 759618"/>
                <a:gd name="connsiteY41" fmla="*/ 64294 h 1012031"/>
                <a:gd name="connsiteX42" fmla="*/ 433387 w 759618"/>
                <a:gd name="connsiteY42" fmla="*/ 40481 h 1012031"/>
                <a:gd name="connsiteX43" fmla="*/ 414337 w 759618"/>
                <a:gd name="connsiteY43" fmla="*/ 33338 h 1012031"/>
                <a:gd name="connsiteX44" fmla="*/ 383381 w 759618"/>
                <a:gd name="connsiteY44" fmla="*/ 38100 h 1012031"/>
                <a:gd name="connsiteX45" fmla="*/ 376237 w 759618"/>
                <a:gd name="connsiteY45" fmla="*/ 42863 h 1012031"/>
                <a:gd name="connsiteX46" fmla="*/ 378618 w 759618"/>
                <a:gd name="connsiteY46" fmla="*/ 69056 h 1012031"/>
                <a:gd name="connsiteX47" fmla="*/ 402431 w 759618"/>
                <a:gd name="connsiteY47" fmla="*/ 88106 h 1012031"/>
                <a:gd name="connsiteX48" fmla="*/ 416718 w 759618"/>
                <a:gd name="connsiteY48" fmla="*/ 109538 h 1012031"/>
                <a:gd name="connsiteX49" fmla="*/ 402431 w 759618"/>
                <a:gd name="connsiteY49" fmla="*/ 145256 h 1012031"/>
                <a:gd name="connsiteX50" fmla="*/ 385762 w 759618"/>
                <a:gd name="connsiteY50" fmla="*/ 135731 h 1012031"/>
                <a:gd name="connsiteX51" fmla="*/ 381000 w 759618"/>
                <a:gd name="connsiteY51" fmla="*/ 104775 h 1012031"/>
                <a:gd name="connsiteX52" fmla="*/ 352425 w 759618"/>
                <a:gd name="connsiteY52" fmla="*/ 59531 h 1012031"/>
                <a:gd name="connsiteX53" fmla="*/ 333375 w 759618"/>
                <a:gd name="connsiteY53" fmla="*/ 69056 h 1012031"/>
                <a:gd name="connsiteX54" fmla="*/ 323850 w 759618"/>
                <a:gd name="connsiteY54" fmla="*/ 50006 h 1012031"/>
                <a:gd name="connsiteX55" fmla="*/ 302418 w 759618"/>
                <a:gd name="connsiteY55" fmla="*/ 42863 h 1012031"/>
                <a:gd name="connsiteX56" fmla="*/ 290512 w 759618"/>
                <a:gd name="connsiteY56" fmla="*/ 64294 h 1012031"/>
                <a:gd name="connsiteX57" fmla="*/ 304800 w 759618"/>
                <a:gd name="connsiteY57" fmla="*/ 76200 h 1012031"/>
                <a:gd name="connsiteX58" fmla="*/ 323850 w 759618"/>
                <a:gd name="connsiteY58" fmla="*/ 92869 h 1012031"/>
                <a:gd name="connsiteX59" fmla="*/ 335756 w 759618"/>
                <a:gd name="connsiteY59" fmla="*/ 100013 h 1012031"/>
                <a:gd name="connsiteX60" fmla="*/ 328612 w 759618"/>
                <a:gd name="connsiteY60" fmla="*/ 111919 h 1012031"/>
                <a:gd name="connsiteX61" fmla="*/ 307181 w 759618"/>
                <a:gd name="connsiteY61" fmla="*/ 100013 h 1012031"/>
                <a:gd name="connsiteX62" fmla="*/ 264318 w 759618"/>
                <a:gd name="connsiteY62" fmla="*/ 76200 h 1012031"/>
                <a:gd name="connsiteX63" fmla="*/ 280987 w 759618"/>
                <a:gd name="connsiteY63" fmla="*/ 114300 h 1012031"/>
                <a:gd name="connsiteX64" fmla="*/ 292893 w 759618"/>
                <a:gd name="connsiteY64" fmla="*/ 130969 h 1012031"/>
                <a:gd name="connsiteX65" fmla="*/ 280987 w 759618"/>
                <a:gd name="connsiteY65" fmla="*/ 140494 h 1012031"/>
                <a:gd name="connsiteX66" fmla="*/ 247650 w 759618"/>
                <a:gd name="connsiteY66" fmla="*/ 100013 h 1012031"/>
                <a:gd name="connsiteX67" fmla="*/ 261937 w 759618"/>
                <a:gd name="connsiteY67" fmla="*/ 142875 h 1012031"/>
                <a:gd name="connsiteX68" fmla="*/ 242887 w 759618"/>
                <a:gd name="connsiteY68" fmla="*/ 150019 h 1012031"/>
                <a:gd name="connsiteX69" fmla="*/ 257175 w 759618"/>
                <a:gd name="connsiteY69" fmla="*/ 178594 h 1012031"/>
                <a:gd name="connsiteX70" fmla="*/ 278606 w 759618"/>
                <a:gd name="connsiteY70" fmla="*/ 195263 h 1012031"/>
                <a:gd name="connsiteX71" fmla="*/ 307181 w 759618"/>
                <a:gd name="connsiteY71" fmla="*/ 228600 h 1012031"/>
                <a:gd name="connsiteX72" fmla="*/ 316706 w 759618"/>
                <a:gd name="connsiteY72" fmla="*/ 254794 h 1012031"/>
                <a:gd name="connsiteX73" fmla="*/ 316706 w 759618"/>
                <a:gd name="connsiteY73" fmla="*/ 254794 h 1012031"/>
                <a:gd name="connsiteX74" fmla="*/ 285750 w 759618"/>
                <a:gd name="connsiteY74" fmla="*/ 235744 h 1012031"/>
                <a:gd name="connsiteX75" fmla="*/ 238125 w 759618"/>
                <a:gd name="connsiteY75" fmla="*/ 221456 h 1012031"/>
                <a:gd name="connsiteX76" fmla="*/ 223837 w 759618"/>
                <a:gd name="connsiteY76" fmla="*/ 195263 h 1012031"/>
                <a:gd name="connsiteX77" fmla="*/ 204787 w 759618"/>
                <a:gd name="connsiteY77" fmla="*/ 166688 h 1012031"/>
                <a:gd name="connsiteX78" fmla="*/ 166687 w 759618"/>
                <a:gd name="connsiteY78" fmla="*/ 130969 h 1012031"/>
                <a:gd name="connsiteX79" fmla="*/ 166687 w 759618"/>
                <a:gd name="connsiteY79" fmla="*/ 157163 h 1012031"/>
                <a:gd name="connsiteX80" fmla="*/ 173831 w 759618"/>
                <a:gd name="connsiteY80" fmla="*/ 176213 h 1012031"/>
                <a:gd name="connsiteX81" fmla="*/ 171450 w 759618"/>
                <a:gd name="connsiteY81" fmla="*/ 188119 h 1012031"/>
                <a:gd name="connsiteX82" fmla="*/ 152400 w 759618"/>
                <a:gd name="connsiteY82" fmla="*/ 195263 h 1012031"/>
                <a:gd name="connsiteX83" fmla="*/ 128587 w 759618"/>
                <a:gd name="connsiteY83" fmla="*/ 190500 h 1012031"/>
                <a:gd name="connsiteX84" fmla="*/ 178593 w 759618"/>
                <a:gd name="connsiteY84" fmla="*/ 214313 h 1012031"/>
                <a:gd name="connsiteX85" fmla="*/ 188118 w 759618"/>
                <a:gd name="connsiteY85" fmla="*/ 228600 h 1012031"/>
                <a:gd name="connsiteX86" fmla="*/ 185737 w 759618"/>
                <a:gd name="connsiteY86" fmla="*/ 250031 h 1012031"/>
                <a:gd name="connsiteX87" fmla="*/ 157162 w 759618"/>
                <a:gd name="connsiteY87" fmla="*/ 228600 h 1012031"/>
                <a:gd name="connsiteX88" fmla="*/ 121443 w 759618"/>
                <a:gd name="connsiteY88" fmla="*/ 223838 h 1012031"/>
                <a:gd name="connsiteX89" fmla="*/ 97631 w 759618"/>
                <a:gd name="connsiteY89" fmla="*/ 211931 h 1012031"/>
                <a:gd name="connsiteX90" fmla="*/ 73818 w 759618"/>
                <a:gd name="connsiteY90" fmla="*/ 235744 h 1012031"/>
                <a:gd name="connsiteX91" fmla="*/ 73818 w 759618"/>
                <a:gd name="connsiteY91" fmla="*/ 257175 h 1012031"/>
                <a:gd name="connsiteX92" fmla="*/ 52387 w 759618"/>
                <a:gd name="connsiteY92" fmla="*/ 273844 h 1012031"/>
                <a:gd name="connsiteX93" fmla="*/ 35718 w 759618"/>
                <a:gd name="connsiteY93" fmla="*/ 254794 h 1012031"/>
                <a:gd name="connsiteX94" fmla="*/ 19050 w 759618"/>
                <a:gd name="connsiteY94" fmla="*/ 264319 h 1012031"/>
                <a:gd name="connsiteX95" fmla="*/ 0 w 759618"/>
                <a:gd name="connsiteY95" fmla="*/ 297656 h 1012031"/>
                <a:gd name="connsiteX96" fmla="*/ 26193 w 759618"/>
                <a:gd name="connsiteY96" fmla="*/ 283369 h 1012031"/>
                <a:gd name="connsiteX97" fmla="*/ 38100 w 759618"/>
                <a:gd name="connsiteY97" fmla="*/ 273844 h 1012031"/>
                <a:gd name="connsiteX98" fmla="*/ 52387 w 759618"/>
                <a:gd name="connsiteY98" fmla="*/ 288131 h 1012031"/>
                <a:gd name="connsiteX99" fmla="*/ 30956 w 759618"/>
                <a:gd name="connsiteY99" fmla="*/ 323850 h 1012031"/>
                <a:gd name="connsiteX100" fmla="*/ 69056 w 759618"/>
                <a:gd name="connsiteY100" fmla="*/ 300038 h 1012031"/>
                <a:gd name="connsiteX101" fmla="*/ 92868 w 759618"/>
                <a:gd name="connsiteY101" fmla="*/ 295275 h 1012031"/>
                <a:gd name="connsiteX102" fmla="*/ 114300 w 759618"/>
                <a:gd name="connsiteY102" fmla="*/ 300038 h 1012031"/>
                <a:gd name="connsiteX103" fmla="*/ 111918 w 759618"/>
                <a:gd name="connsiteY103" fmla="*/ 316706 h 1012031"/>
                <a:gd name="connsiteX104" fmla="*/ 92868 w 759618"/>
                <a:gd name="connsiteY104" fmla="*/ 311944 h 1012031"/>
                <a:gd name="connsiteX105" fmla="*/ 66675 w 759618"/>
                <a:gd name="connsiteY105" fmla="*/ 338138 h 1012031"/>
                <a:gd name="connsiteX106" fmla="*/ 69056 w 759618"/>
                <a:gd name="connsiteY106" fmla="*/ 359569 h 1012031"/>
                <a:gd name="connsiteX107" fmla="*/ 50006 w 759618"/>
                <a:gd name="connsiteY107" fmla="*/ 369094 h 1012031"/>
                <a:gd name="connsiteX108" fmla="*/ 59531 w 759618"/>
                <a:gd name="connsiteY108" fmla="*/ 385763 h 1012031"/>
                <a:gd name="connsiteX109" fmla="*/ 88106 w 759618"/>
                <a:gd name="connsiteY109" fmla="*/ 376238 h 1012031"/>
                <a:gd name="connsiteX110" fmla="*/ 116681 w 759618"/>
                <a:gd name="connsiteY110" fmla="*/ 378619 h 1012031"/>
                <a:gd name="connsiteX111" fmla="*/ 138112 w 759618"/>
                <a:gd name="connsiteY111" fmla="*/ 354806 h 1012031"/>
                <a:gd name="connsiteX112" fmla="*/ 164306 w 759618"/>
                <a:gd name="connsiteY112" fmla="*/ 335756 h 1012031"/>
                <a:gd name="connsiteX113" fmla="*/ 178593 w 759618"/>
                <a:gd name="connsiteY113" fmla="*/ 340519 h 1012031"/>
                <a:gd name="connsiteX114" fmla="*/ 157162 w 759618"/>
                <a:gd name="connsiteY114" fmla="*/ 366713 h 1012031"/>
                <a:gd name="connsiteX115" fmla="*/ 114300 w 759618"/>
                <a:gd name="connsiteY115" fmla="*/ 407194 h 1012031"/>
                <a:gd name="connsiteX116" fmla="*/ 73818 w 759618"/>
                <a:gd name="connsiteY116" fmla="*/ 411956 h 1012031"/>
                <a:gd name="connsiteX117" fmla="*/ 102393 w 759618"/>
                <a:gd name="connsiteY117" fmla="*/ 447675 h 1012031"/>
                <a:gd name="connsiteX118" fmla="*/ 133350 w 759618"/>
                <a:gd name="connsiteY118" fmla="*/ 419100 h 1012031"/>
                <a:gd name="connsiteX119" fmla="*/ 169068 w 759618"/>
                <a:gd name="connsiteY119" fmla="*/ 378619 h 1012031"/>
                <a:gd name="connsiteX120" fmla="*/ 209550 w 759618"/>
                <a:gd name="connsiteY120" fmla="*/ 371475 h 1012031"/>
                <a:gd name="connsiteX121" fmla="*/ 223837 w 759618"/>
                <a:gd name="connsiteY121" fmla="*/ 373856 h 1012031"/>
                <a:gd name="connsiteX122" fmla="*/ 183356 w 759618"/>
                <a:gd name="connsiteY122" fmla="*/ 402431 h 1012031"/>
                <a:gd name="connsiteX123" fmla="*/ 154781 w 759618"/>
                <a:gd name="connsiteY123" fmla="*/ 428625 h 1012031"/>
                <a:gd name="connsiteX124" fmla="*/ 147637 w 759618"/>
                <a:gd name="connsiteY124" fmla="*/ 454819 h 1012031"/>
                <a:gd name="connsiteX125" fmla="*/ 169068 w 759618"/>
                <a:gd name="connsiteY125" fmla="*/ 466725 h 1012031"/>
                <a:gd name="connsiteX126" fmla="*/ 197643 w 759618"/>
                <a:gd name="connsiteY126" fmla="*/ 454819 h 1012031"/>
                <a:gd name="connsiteX127" fmla="*/ 197643 w 759618"/>
                <a:gd name="connsiteY127" fmla="*/ 423863 h 1012031"/>
                <a:gd name="connsiteX128" fmla="*/ 211931 w 759618"/>
                <a:gd name="connsiteY128" fmla="*/ 411956 h 1012031"/>
                <a:gd name="connsiteX129" fmla="*/ 228600 w 759618"/>
                <a:gd name="connsiteY129" fmla="*/ 428625 h 1012031"/>
                <a:gd name="connsiteX130" fmla="*/ 254793 w 759618"/>
                <a:gd name="connsiteY130" fmla="*/ 423863 h 1012031"/>
                <a:gd name="connsiteX131" fmla="*/ 240506 w 759618"/>
                <a:gd name="connsiteY131" fmla="*/ 445294 h 1012031"/>
                <a:gd name="connsiteX132" fmla="*/ 216693 w 759618"/>
                <a:gd name="connsiteY132" fmla="*/ 452438 h 1012031"/>
                <a:gd name="connsiteX133" fmla="*/ 242887 w 759618"/>
                <a:gd name="connsiteY133" fmla="*/ 464344 h 1012031"/>
                <a:gd name="connsiteX134" fmla="*/ 304800 w 759618"/>
                <a:gd name="connsiteY134" fmla="*/ 411956 h 1012031"/>
                <a:gd name="connsiteX135" fmla="*/ 307181 w 759618"/>
                <a:gd name="connsiteY135" fmla="*/ 364331 h 1012031"/>
                <a:gd name="connsiteX136" fmla="*/ 378618 w 759618"/>
                <a:gd name="connsiteY136" fmla="*/ 311944 h 1012031"/>
                <a:gd name="connsiteX137" fmla="*/ 385762 w 759618"/>
                <a:gd name="connsiteY137" fmla="*/ 335756 h 1012031"/>
                <a:gd name="connsiteX138" fmla="*/ 357187 w 759618"/>
                <a:gd name="connsiteY138" fmla="*/ 359569 h 1012031"/>
                <a:gd name="connsiteX139" fmla="*/ 333375 w 759618"/>
                <a:gd name="connsiteY139" fmla="*/ 400050 h 1012031"/>
                <a:gd name="connsiteX140" fmla="*/ 333375 w 759618"/>
                <a:gd name="connsiteY140" fmla="*/ 414338 h 1012031"/>
                <a:gd name="connsiteX141" fmla="*/ 359568 w 759618"/>
                <a:gd name="connsiteY141" fmla="*/ 407194 h 1012031"/>
                <a:gd name="connsiteX142" fmla="*/ 381000 w 759618"/>
                <a:gd name="connsiteY142" fmla="*/ 414338 h 1012031"/>
                <a:gd name="connsiteX143" fmla="*/ 369093 w 759618"/>
                <a:gd name="connsiteY143" fmla="*/ 419100 h 1012031"/>
                <a:gd name="connsiteX144" fmla="*/ 338137 w 759618"/>
                <a:gd name="connsiteY144" fmla="*/ 428625 h 1012031"/>
                <a:gd name="connsiteX145" fmla="*/ 300037 w 759618"/>
                <a:gd name="connsiteY145" fmla="*/ 454819 h 1012031"/>
                <a:gd name="connsiteX146" fmla="*/ 345281 w 759618"/>
                <a:gd name="connsiteY146" fmla="*/ 461963 h 1012031"/>
                <a:gd name="connsiteX147" fmla="*/ 342900 w 759618"/>
                <a:gd name="connsiteY147" fmla="*/ 476250 h 1012031"/>
                <a:gd name="connsiteX148" fmla="*/ 292893 w 759618"/>
                <a:gd name="connsiteY148" fmla="*/ 478631 h 1012031"/>
                <a:gd name="connsiteX149" fmla="*/ 261937 w 759618"/>
                <a:gd name="connsiteY149" fmla="*/ 495300 h 1012031"/>
                <a:gd name="connsiteX150" fmla="*/ 228600 w 759618"/>
                <a:gd name="connsiteY150" fmla="*/ 504825 h 1012031"/>
                <a:gd name="connsiteX151" fmla="*/ 240506 w 759618"/>
                <a:gd name="connsiteY151" fmla="*/ 540544 h 1012031"/>
                <a:gd name="connsiteX152" fmla="*/ 257175 w 759618"/>
                <a:gd name="connsiteY152" fmla="*/ 557213 h 1012031"/>
                <a:gd name="connsiteX153" fmla="*/ 259556 w 759618"/>
                <a:gd name="connsiteY153" fmla="*/ 578644 h 1012031"/>
                <a:gd name="connsiteX154" fmla="*/ 290512 w 759618"/>
                <a:gd name="connsiteY154" fmla="*/ 585788 h 1012031"/>
                <a:gd name="connsiteX155" fmla="*/ 292893 w 759618"/>
                <a:gd name="connsiteY155" fmla="*/ 597694 h 1012031"/>
                <a:gd name="connsiteX156" fmla="*/ 273843 w 759618"/>
                <a:gd name="connsiteY156" fmla="*/ 616744 h 1012031"/>
                <a:gd name="connsiteX157" fmla="*/ 252412 w 759618"/>
                <a:gd name="connsiteY157" fmla="*/ 609600 h 1012031"/>
                <a:gd name="connsiteX158" fmla="*/ 235743 w 759618"/>
                <a:gd name="connsiteY158" fmla="*/ 607219 h 1012031"/>
                <a:gd name="connsiteX159" fmla="*/ 228600 w 759618"/>
                <a:gd name="connsiteY159" fmla="*/ 581025 h 1012031"/>
                <a:gd name="connsiteX160" fmla="*/ 204787 w 759618"/>
                <a:gd name="connsiteY160" fmla="*/ 547688 h 1012031"/>
                <a:gd name="connsiteX161" fmla="*/ 192881 w 759618"/>
                <a:gd name="connsiteY161" fmla="*/ 519113 h 1012031"/>
                <a:gd name="connsiteX162" fmla="*/ 166687 w 759618"/>
                <a:gd name="connsiteY162" fmla="*/ 507206 h 1012031"/>
                <a:gd name="connsiteX163" fmla="*/ 130968 w 759618"/>
                <a:gd name="connsiteY163" fmla="*/ 495300 h 1012031"/>
                <a:gd name="connsiteX164" fmla="*/ 135731 w 759618"/>
                <a:gd name="connsiteY164" fmla="*/ 535781 h 1012031"/>
                <a:gd name="connsiteX165" fmla="*/ 171450 w 759618"/>
                <a:gd name="connsiteY165" fmla="*/ 554831 h 1012031"/>
                <a:gd name="connsiteX166" fmla="*/ 164306 w 759618"/>
                <a:gd name="connsiteY166" fmla="*/ 569119 h 1012031"/>
                <a:gd name="connsiteX167" fmla="*/ 138112 w 759618"/>
                <a:gd name="connsiteY167" fmla="*/ 554831 h 1012031"/>
                <a:gd name="connsiteX168" fmla="*/ 173831 w 759618"/>
                <a:gd name="connsiteY168" fmla="*/ 595313 h 1012031"/>
                <a:gd name="connsiteX169" fmla="*/ 188118 w 759618"/>
                <a:gd name="connsiteY169" fmla="*/ 621506 h 1012031"/>
                <a:gd name="connsiteX170" fmla="*/ 197643 w 759618"/>
                <a:gd name="connsiteY170" fmla="*/ 642938 h 1012031"/>
                <a:gd name="connsiteX171" fmla="*/ 207168 w 759618"/>
                <a:gd name="connsiteY171" fmla="*/ 659606 h 1012031"/>
                <a:gd name="connsiteX172" fmla="*/ 207168 w 759618"/>
                <a:gd name="connsiteY172" fmla="*/ 659606 h 1012031"/>
                <a:gd name="connsiteX173" fmla="*/ 176212 w 759618"/>
                <a:gd name="connsiteY173" fmla="*/ 664369 h 1012031"/>
                <a:gd name="connsiteX174" fmla="*/ 200025 w 759618"/>
                <a:gd name="connsiteY174" fmla="*/ 681038 h 1012031"/>
                <a:gd name="connsiteX175" fmla="*/ 228600 w 759618"/>
                <a:gd name="connsiteY175" fmla="*/ 690563 h 1012031"/>
                <a:gd name="connsiteX176" fmla="*/ 242887 w 759618"/>
                <a:gd name="connsiteY176" fmla="*/ 685800 h 1012031"/>
                <a:gd name="connsiteX177" fmla="*/ 252412 w 759618"/>
                <a:gd name="connsiteY177" fmla="*/ 678656 h 1012031"/>
                <a:gd name="connsiteX178" fmla="*/ 264318 w 759618"/>
                <a:gd name="connsiteY178" fmla="*/ 704850 h 1012031"/>
                <a:gd name="connsiteX179" fmla="*/ 252412 w 759618"/>
                <a:gd name="connsiteY179" fmla="*/ 719138 h 1012031"/>
                <a:gd name="connsiteX180" fmla="*/ 235743 w 759618"/>
                <a:gd name="connsiteY180" fmla="*/ 745331 h 1012031"/>
                <a:gd name="connsiteX181" fmla="*/ 209550 w 759618"/>
                <a:gd name="connsiteY181" fmla="*/ 716756 h 1012031"/>
                <a:gd name="connsiteX182" fmla="*/ 185737 w 759618"/>
                <a:gd name="connsiteY182" fmla="*/ 704850 h 1012031"/>
                <a:gd name="connsiteX183" fmla="*/ 147637 w 759618"/>
                <a:gd name="connsiteY183" fmla="*/ 707231 h 1012031"/>
                <a:gd name="connsiteX184" fmla="*/ 135731 w 759618"/>
                <a:gd name="connsiteY184" fmla="*/ 716756 h 1012031"/>
                <a:gd name="connsiteX185" fmla="*/ 123825 w 759618"/>
                <a:gd name="connsiteY185" fmla="*/ 735806 h 1012031"/>
                <a:gd name="connsiteX186" fmla="*/ 114300 w 759618"/>
                <a:gd name="connsiteY186" fmla="*/ 766763 h 1012031"/>
                <a:gd name="connsiteX187" fmla="*/ 126206 w 759618"/>
                <a:gd name="connsiteY187" fmla="*/ 781050 h 1012031"/>
                <a:gd name="connsiteX188" fmla="*/ 145256 w 759618"/>
                <a:gd name="connsiteY188" fmla="*/ 757238 h 1012031"/>
                <a:gd name="connsiteX189" fmla="*/ 145256 w 759618"/>
                <a:gd name="connsiteY189" fmla="*/ 757238 h 1012031"/>
                <a:gd name="connsiteX190" fmla="*/ 152400 w 759618"/>
                <a:gd name="connsiteY190" fmla="*/ 778669 h 1012031"/>
                <a:gd name="connsiteX191" fmla="*/ 142875 w 759618"/>
                <a:gd name="connsiteY191" fmla="*/ 790575 h 1012031"/>
                <a:gd name="connsiteX192" fmla="*/ 173831 w 759618"/>
                <a:gd name="connsiteY192" fmla="*/ 776288 h 1012031"/>
                <a:gd name="connsiteX193" fmla="*/ 169068 w 759618"/>
                <a:gd name="connsiteY193" fmla="*/ 752475 h 1012031"/>
                <a:gd name="connsiteX194" fmla="*/ 183356 w 759618"/>
                <a:gd name="connsiteY194" fmla="*/ 747713 h 1012031"/>
                <a:gd name="connsiteX195" fmla="*/ 183356 w 759618"/>
                <a:gd name="connsiteY195" fmla="*/ 766763 h 1012031"/>
                <a:gd name="connsiteX196" fmla="*/ 188118 w 759618"/>
                <a:gd name="connsiteY196" fmla="*/ 778669 h 1012031"/>
                <a:gd name="connsiteX197" fmla="*/ 200025 w 759618"/>
                <a:gd name="connsiteY197" fmla="*/ 783431 h 1012031"/>
                <a:gd name="connsiteX198" fmla="*/ 197643 w 759618"/>
                <a:gd name="connsiteY198" fmla="*/ 797719 h 1012031"/>
                <a:gd name="connsiteX199" fmla="*/ 178593 w 759618"/>
                <a:gd name="connsiteY199" fmla="*/ 802481 h 1012031"/>
                <a:gd name="connsiteX200" fmla="*/ 166687 w 759618"/>
                <a:gd name="connsiteY200" fmla="*/ 812006 h 1012031"/>
                <a:gd name="connsiteX201" fmla="*/ 180975 w 759618"/>
                <a:gd name="connsiteY201" fmla="*/ 816769 h 1012031"/>
                <a:gd name="connsiteX202" fmla="*/ 173831 w 759618"/>
                <a:gd name="connsiteY202" fmla="*/ 838200 h 1012031"/>
                <a:gd name="connsiteX203" fmla="*/ 190500 w 759618"/>
                <a:gd name="connsiteY203" fmla="*/ 842963 h 1012031"/>
                <a:gd name="connsiteX204" fmla="*/ 190500 w 759618"/>
                <a:gd name="connsiteY204" fmla="*/ 842963 h 1012031"/>
                <a:gd name="connsiteX205" fmla="*/ 226218 w 759618"/>
                <a:gd name="connsiteY205" fmla="*/ 814388 h 1012031"/>
                <a:gd name="connsiteX206" fmla="*/ 230981 w 759618"/>
                <a:gd name="connsiteY206" fmla="*/ 795338 h 1012031"/>
                <a:gd name="connsiteX207" fmla="*/ 247650 w 759618"/>
                <a:gd name="connsiteY207" fmla="*/ 804863 h 1012031"/>
                <a:gd name="connsiteX208" fmla="*/ 228600 w 759618"/>
                <a:gd name="connsiteY208" fmla="*/ 842963 h 1012031"/>
                <a:gd name="connsiteX209" fmla="*/ 204787 w 759618"/>
                <a:gd name="connsiteY209" fmla="*/ 869156 h 1012031"/>
                <a:gd name="connsiteX210" fmla="*/ 192881 w 759618"/>
                <a:gd name="connsiteY210" fmla="*/ 873919 h 1012031"/>
                <a:gd name="connsiteX211" fmla="*/ 171450 w 759618"/>
                <a:gd name="connsiteY211" fmla="*/ 888206 h 1012031"/>
                <a:gd name="connsiteX212" fmla="*/ 142875 w 759618"/>
                <a:gd name="connsiteY212" fmla="*/ 859631 h 1012031"/>
                <a:gd name="connsiteX213" fmla="*/ 126206 w 759618"/>
                <a:gd name="connsiteY213" fmla="*/ 831056 h 1012031"/>
                <a:gd name="connsiteX214" fmla="*/ 104775 w 759618"/>
                <a:gd name="connsiteY214" fmla="*/ 828675 h 1012031"/>
                <a:gd name="connsiteX215" fmla="*/ 85725 w 759618"/>
                <a:gd name="connsiteY215" fmla="*/ 845344 h 1012031"/>
                <a:gd name="connsiteX216" fmla="*/ 100012 w 759618"/>
                <a:gd name="connsiteY216" fmla="*/ 864394 h 1012031"/>
                <a:gd name="connsiteX217" fmla="*/ 111918 w 759618"/>
                <a:gd name="connsiteY217" fmla="*/ 878681 h 1012031"/>
                <a:gd name="connsiteX218" fmla="*/ 123825 w 759618"/>
                <a:gd name="connsiteY218" fmla="*/ 888206 h 1012031"/>
                <a:gd name="connsiteX219" fmla="*/ 133350 w 759618"/>
                <a:gd name="connsiteY219" fmla="*/ 909638 h 1012031"/>
                <a:gd name="connsiteX220" fmla="*/ 109537 w 759618"/>
                <a:gd name="connsiteY220" fmla="*/ 921544 h 1012031"/>
                <a:gd name="connsiteX221" fmla="*/ 90487 w 759618"/>
                <a:gd name="connsiteY221" fmla="*/ 909638 h 1012031"/>
                <a:gd name="connsiteX222" fmla="*/ 71437 w 759618"/>
                <a:gd name="connsiteY222" fmla="*/ 935831 h 1012031"/>
                <a:gd name="connsiteX223" fmla="*/ 61912 w 759618"/>
                <a:gd name="connsiteY223" fmla="*/ 971550 h 1012031"/>
                <a:gd name="connsiteX224" fmla="*/ 80962 w 759618"/>
                <a:gd name="connsiteY224" fmla="*/ 954881 h 1012031"/>
                <a:gd name="connsiteX225" fmla="*/ 95250 w 759618"/>
                <a:gd name="connsiteY225" fmla="*/ 978694 h 1012031"/>
                <a:gd name="connsiteX226" fmla="*/ 109537 w 759618"/>
                <a:gd name="connsiteY226" fmla="*/ 964406 h 1012031"/>
                <a:gd name="connsiteX227" fmla="*/ 119062 w 759618"/>
                <a:gd name="connsiteY227" fmla="*/ 981075 h 1012031"/>
                <a:gd name="connsiteX228" fmla="*/ 126206 w 759618"/>
                <a:gd name="connsiteY228" fmla="*/ 959644 h 1012031"/>
                <a:gd name="connsiteX229" fmla="*/ 145256 w 759618"/>
                <a:gd name="connsiteY229" fmla="*/ 985838 h 1012031"/>
                <a:gd name="connsiteX230" fmla="*/ 169068 w 759618"/>
                <a:gd name="connsiteY230" fmla="*/ 1004888 h 1012031"/>
                <a:gd name="connsiteX231" fmla="*/ 161925 w 759618"/>
                <a:gd name="connsiteY231" fmla="*/ 978694 h 1012031"/>
                <a:gd name="connsiteX232" fmla="*/ 171450 w 759618"/>
                <a:gd name="connsiteY232" fmla="*/ 964406 h 1012031"/>
                <a:gd name="connsiteX233" fmla="*/ 180975 w 759618"/>
                <a:gd name="connsiteY233" fmla="*/ 973931 h 1012031"/>
                <a:gd name="connsiteX234" fmla="*/ 188118 w 759618"/>
                <a:gd name="connsiteY234" fmla="*/ 962025 h 1012031"/>
                <a:gd name="connsiteX235" fmla="*/ 197643 w 759618"/>
                <a:gd name="connsiteY235" fmla="*/ 981075 h 1012031"/>
                <a:gd name="connsiteX236" fmla="*/ 209550 w 759618"/>
                <a:gd name="connsiteY236" fmla="*/ 962025 h 1012031"/>
                <a:gd name="connsiteX237" fmla="*/ 228600 w 759618"/>
                <a:gd name="connsiteY237" fmla="*/ 983456 h 1012031"/>
                <a:gd name="connsiteX238" fmla="*/ 235743 w 759618"/>
                <a:gd name="connsiteY238" fmla="*/ 959644 h 1012031"/>
                <a:gd name="connsiteX239" fmla="*/ 254793 w 759618"/>
                <a:gd name="connsiteY239" fmla="*/ 973931 h 1012031"/>
                <a:gd name="connsiteX240" fmla="*/ 271462 w 759618"/>
                <a:gd name="connsiteY240" fmla="*/ 983456 h 1012031"/>
                <a:gd name="connsiteX241" fmla="*/ 278606 w 759618"/>
                <a:gd name="connsiteY241" fmla="*/ 1000125 h 1012031"/>
                <a:gd name="connsiteX242" fmla="*/ 269081 w 759618"/>
                <a:gd name="connsiteY242" fmla="*/ 1012031 h 1012031"/>
                <a:gd name="connsiteX243" fmla="*/ 316706 w 759618"/>
                <a:gd name="connsiteY243" fmla="*/ 976313 h 1012031"/>
                <a:gd name="connsiteX244" fmla="*/ 335756 w 759618"/>
                <a:gd name="connsiteY244" fmla="*/ 969169 h 1012031"/>
                <a:gd name="connsiteX245" fmla="*/ 342900 w 759618"/>
                <a:gd name="connsiteY245" fmla="*/ 950119 h 1012031"/>
                <a:gd name="connsiteX246" fmla="*/ 342900 w 759618"/>
                <a:gd name="connsiteY246" fmla="*/ 926306 h 1012031"/>
                <a:gd name="connsiteX247" fmla="*/ 321468 w 759618"/>
                <a:gd name="connsiteY247" fmla="*/ 935831 h 1012031"/>
                <a:gd name="connsiteX248" fmla="*/ 307181 w 759618"/>
                <a:gd name="connsiteY248" fmla="*/ 926306 h 1012031"/>
                <a:gd name="connsiteX249" fmla="*/ 307181 w 759618"/>
                <a:gd name="connsiteY249" fmla="*/ 900113 h 1012031"/>
                <a:gd name="connsiteX250" fmla="*/ 290512 w 759618"/>
                <a:gd name="connsiteY250" fmla="*/ 916781 h 1012031"/>
                <a:gd name="connsiteX251" fmla="*/ 269081 w 759618"/>
                <a:gd name="connsiteY251" fmla="*/ 892969 h 1012031"/>
                <a:gd name="connsiteX252" fmla="*/ 252412 w 759618"/>
                <a:gd name="connsiteY252" fmla="*/ 919163 h 1012031"/>
                <a:gd name="connsiteX253" fmla="*/ 233362 w 759618"/>
                <a:gd name="connsiteY253" fmla="*/ 902494 h 1012031"/>
                <a:gd name="connsiteX254" fmla="*/ 254793 w 759618"/>
                <a:gd name="connsiteY254" fmla="*/ 888206 h 1012031"/>
                <a:gd name="connsiteX255" fmla="*/ 254793 w 759618"/>
                <a:gd name="connsiteY255" fmla="*/ 862013 h 1012031"/>
                <a:gd name="connsiteX256" fmla="*/ 278606 w 759618"/>
                <a:gd name="connsiteY256" fmla="*/ 876300 h 1012031"/>
                <a:gd name="connsiteX257" fmla="*/ 307181 w 759618"/>
                <a:gd name="connsiteY257" fmla="*/ 885825 h 1012031"/>
                <a:gd name="connsiteX258" fmla="*/ 323850 w 759618"/>
                <a:gd name="connsiteY258" fmla="*/ 878681 h 1012031"/>
                <a:gd name="connsiteX259" fmla="*/ 338137 w 759618"/>
                <a:gd name="connsiteY259" fmla="*/ 869156 h 1012031"/>
                <a:gd name="connsiteX260" fmla="*/ 338137 w 759618"/>
                <a:gd name="connsiteY260" fmla="*/ 847725 h 1012031"/>
                <a:gd name="connsiteX261" fmla="*/ 335756 w 759618"/>
                <a:gd name="connsiteY261" fmla="*/ 823913 h 1012031"/>
                <a:gd name="connsiteX262" fmla="*/ 338137 w 759618"/>
                <a:gd name="connsiteY262" fmla="*/ 797719 h 1012031"/>
                <a:gd name="connsiteX263" fmla="*/ 364331 w 759618"/>
                <a:gd name="connsiteY263" fmla="*/ 814388 h 1012031"/>
                <a:gd name="connsiteX264" fmla="*/ 392906 w 759618"/>
                <a:gd name="connsiteY264" fmla="*/ 795338 h 1012031"/>
                <a:gd name="connsiteX265" fmla="*/ 373856 w 759618"/>
                <a:gd name="connsiteY265" fmla="*/ 783431 h 1012031"/>
                <a:gd name="connsiteX266" fmla="*/ 395287 w 759618"/>
                <a:gd name="connsiteY266" fmla="*/ 776288 h 1012031"/>
                <a:gd name="connsiteX267" fmla="*/ 407193 w 759618"/>
                <a:gd name="connsiteY267" fmla="*/ 762000 h 1012031"/>
                <a:gd name="connsiteX268" fmla="*/ 388143 w 759618"/>
                <a:gd name="connsiteY268" fmla="*/ 752475 h 1012031"/>
                <a:gd name="connsiteX269" fmla="*/ 404812 w 759618"/>
                <a:gd name="connsiteY269" fmla="*/ 738188 h 1012031"/>
                <a:gd name="connsiteX270" fmla="*/ 423862 w 759618"/>
                <a:gd name="connsiteY270" fmla="*/ 707231 h 1012031"/>
                <a:gd name="connsiteX271" fmla="*/ 383381 w 759618"/>
                <a:gd name="connsiteY271" fmla="*/ 697706 h 1012031"/>
                <a:gd name="connsiteX272" fmla="*/ 381000 w 759618"/>
                <a:gd name="connsiteY272" fmla="*/ 690563 h 1012031"/>
                <a:gd name="connsiteX273" fmla="*/ 350043 w 759618"/>
                <a:gd name="connsiteY273" fmla="*/ 690563 h 1012031"/>
                <a:gd name="connsiteX274" fmla="*/ 335756 w 759618"/>
                <a:gd name="connsiteY274" fmla="*/ 676275 h 1012031"/>
                <a:gd name="connsiteX275" fmla="*/ 354806 w 759618"/>
                <a:gd name="connsiteY275" fmla="*/ 654844 h 1012031"/>
                <a:gd name="connsiteX276" fmla="*/ 390525 w 759618"/>
                <a:gd name="connsiteY276" fmla="*/ 657225 h 1012031"/>
                <a:gd name="connsiteX277" fmla="*/ 416718 w 759618"/>
                <a:gd name="connsiteY277" fmla="*/ 683419 h 1012031"/>
                <a:gd name="connsiteX278" fmla="*/ 428625 w 759618"/>
                <a:gd name="connsiteY278" fmla="*/ 647700 h 1012031"/>
                <a:gd name="connsiteX279" fmla="*/ 397668 w 759618"/>
                <a:gd name="connsiteY279" fmla="*/ 640556 h 1012031"/>
                <a:gd name="connsiteX280" fmla="*/ 359568 w 759618"/>
                <a:gd name="connsiteY280" fmla="*/ 631031 h 1012031"/>
                <a:gd name="connsiteX281" fmla="*/ 371475 w 759618"/>
                <a:gd name="connsiteY281" fmla="*/ 619125 h 1012031"/>
                <a:gd name="connsiteX282" fmla="*/ 395287 w 759618"/>
                <a:gd name="connsiteY282" fmla="*/ 616744 h 1012031"/>
                <a:gd name="connsiteX283" fmla="*/ 416718 w 759618"/>
                <a:gd name="connsiteY283" fmla="*/ 628650 h 1012031"/>
                <a:gd name="connsiteX284" fmla="*/ 442912 w 759618"/>
                <a:gd name="connsiteY284" fmla="*/ 607219 h 1012031"/>
                <a:gd name="connsiteX285" fmla="*/ 452437 w 759618"/>
                <a:gd name="connsiteY285" fmla="*/ 592931 h 1012031"/>
                <a:gd name="connsiteX286" fmla="*/ 428625 w 759618"/>
                <a:gd name="connsiteY286" fmla="*/ 576263 h 1012031"/>
                <a:gd name="connsiteX287" fmla="*/ 440531 w 759618"/>
                <a:gd name="connsiteY287" fmla="*/ 564356 h 1012031"/>
                <a:gd name="connsiteX288" fmla="*/ 464343 w 759618"/>
                <a:gd name="connsiteY288" fmla="*/ 578644 h 1012031"/>
                <a:gd name="connsiteX289" fmla="*/ 497681 w 759618"/>
                <a:gd name="connsiteY289" fmla="*/ 590550 h 1012031"/>
                <a:gd name="connsiteX290" fmla="*/ 511968 w 759618"/>
                <a:gd name="connsiteY290" fmla="*/ 557213 h 1012031"/>
                <a:gd name="connsiteX291" fmla="*/ 526256 w 759618"/>
                <a:gd name="connsiteY291" fmla="*/ 528638 h 1012031"/>
                <a:gd name="connsiteX292" fmla="*/ 502443 w 759618"/>
                <a:gd name="connsiteY292" fmla="*/ 531019 h 1012031"/>
                <a:gd name="connsiteX293" fmla="*/ 488156 w 759618"/>
                <a:gd name="connsiteY293" fmla="*/ 519113 h 1012031"/>
                <a:gd name="connsiteX294" fmla="*/ 542924 w 759618"/>
                <a:gd name="connsiteY294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616743 w 759618"/>
                <a:gd name="connsiteY2" fmla="*/ 383381 h 1012031"/>
                <a:gd name="connsiteX3" fmla="*/ 626268 w 759618"/>
                <a:gd name="connsiteY3" fmla="*/ 357188 h 1012031"/>
                <a:gd name="connsiteX4" fmla="*/ 678656 w 759618"/>
                <a:gd name="connsiteY4" fmla="*/ 307181 h 1012031"/>
                <a:gd name="connsiteX5" fmla="*/ 600075 w 759618"/>
                <a:gd name="connsiteY5" fmla="*/ 335756 h 1012031"/>
                <a:gd name="connsiteX6" fmla="*/ 554831 w 759618"/>
                <a:gd name="connsiteY6" fmla="*/ 373856 h 1012031"/>
                <a:gd name="connsiteX7" fmla="*/ 535781 w 759618"/>
                <a:gd name="connsiteY7" fmla="*/ 369094 h 1012031"/>
                <a:gd name="connsiteX8" fmla="*/ 597693 w 759618"/>
                <a:gd name="connsiteY8" fmla="*/ 309563 h 1012031"/>
                <a:gd name="connsiteX9" fmla="*/ 573881 w 759618"/>
                <a:gd name="connsiteY9" fmla="*/ 288131 h 1012031"/>
                <a:gd name="connsiteX10" fmla="*/ 561975 w 759618"/>
                <a:gd name="connsiteY10" fmla="*/ 261938 h 1012031"/>
                <a:gd name="connsiteX11" fmla="*/ 614362 w 759618"/>
                <a:gd name="connsiteY11" fmla="*/ 292894 h 1012031"/>
                <a:gd name="connsiteX12" fmla="*/ 650081 w 759618"/>
                <a:gd name="connsiteY12" fmla="*/ 290513 h 1012031"/>
                <a:gd name="connsiteX13" fmla="*/ 650081 w 759618"/>
                <a:gd name="connsiteY13" fmla="*/ 273844 h 1012031"/>
                <a:gd name="connsiteX14" fmla="*/ 678656 w 759618"/>
                <a:gd name="connsiteY14" fmla="*/ 271463 h 1012031"/>
                <a:gd name="connsiteX15" fmla="*/ 721518 w 759618"/>
                <a:gd name="connsiteY15" fmla="*/ 221456 h 1012031"/>
                <a:gd name="connsiteX16" fmla="*/ 759618 w 759618"/>
                <a:gd name="connsiteY16" fmla="*/ 150019 h 1012031"/>
                <a:gd name="connsiteX17" fmla="*/ 738187 w 759618"/>
                <a:gd name="connsiteY17" fmla="*/ 126206 h 1012031"/>
                <a:gd name="connsiteX18" fmla="*/ 704850 w 759618"/>
                <a:gd name="connsiteY18" fmla="*/ 121444 h 1012031"/>
                <a:gd name="connsiteX19" fmla="*/ 692943 w 759618"/>
                <a:gd name="connsiteY19" fmla="*/ 73819 h 1012031"/>
                <a:gd name="connsiteX20" fmla="*/ 669131 w 759618"/>
                <a:gd name="connsiteY20" fmla="*/ 59531 h 1012031"/>
                <a:gd name="connsiteX21" fmla="*/ 628650 w 759618"/>
                <a:gd name="connsiteY21" fmla="*/ 78581 h 1012031"/>
                <a:gd name="connsiteX22" fmla="*/ 614362 w 759618"/>
                <a:gd name="connsiteY22" fmla="*/ 102394 h 1012031"/>
                <a:gd name="connsiteX23" fmla="*/ 588168 w 759618"/>
                <a:gd name="connsiteY23" fmla="*/ 114300 h 1012031"/>
                <a:gd name="connsiteX24" fmla="*/ 576262 w 759618"/>
                <a:gd name="connsiteY24" fmla="*/ 107156 h 1012031"/>
                <a:gd name="connsiteX25" fmla="*/ 592931 w 759618"/>
                <a:gd name="connsiteY25" fmla="*/ 85725 h 1012031"/>
                <a:gd name="connsiteX26" fmla="*/ 621506 w 759618"/>
                <a:gd name="connsiteY26" fmla="*/ 50006 h 1012031"/>
                <a:gd name="connsiteX27" fmla="*/ 585787 w 759618"/>
                <a:gd name="connsiteY27" fmla="*/ 33338 h 1012031"/>
                <a:gd name="connsiteX28" fmla="*/ 557212 w 759618"/>
                <a:gd name="connsiteY28" fmla="*/ 38100 h 1012031"/>
                <a:gd name="connsiteX29" fmla="*/ 540543 w 759618"/>
                <a:gd name="connsiteY29" fmla="*/ 16669 h 1012031"/>
                <a:gd name="connsiteX30" fmla="*/ 526256 w 759618"/>
                <a:gd name="connsiteY30" fmla="*/ 16669 h 1012031"/>
                <a:gd name="connsiteX31" fmla="*/ 519112 w 759618"/>
                <a:gd name="connsiteY31" fmla="*/ 28575 h 1012031"/>
                <a:gd name="connsiteX32" fmla="*/ 533400 w 759618"/>
                <a:gd name="connsiteY32" fmla="*/ 61913 h 1012031"/>
                <a:gd name="connsiteX33" fmla="*/ 519112 w 759618"/>
                <a:gd name="connsiteY33" fmla="*/ 69056 h 1012031"/>
                <a:gd name="connsiteX34" fmla="*/ 500062 w 759618"/>
                <a:gd name="connsiteY34" fmla="*/ 33338 h 1012031"/>
                <a:gd name="connsiteX35" fmla="*/ 495300 w 759618"/>
                <a:gd name="connsiteY35" fmla="*/ 0 h 1012031"/>
                <a:gd name="connsiteX36" fmla="*/ 466725 w 759618"/>
                <a:gd name="connsiteY36" fmla="*/ 40481 h 1012031"/>
                <a:gd name="connsiteX37" fmla="*/ 466725 w 759618"/>
                <a:gd name="connsiteY37" fmla="*/ 61913 h 1012031"/>
                <a:gd name="connsiteX38" fmla="*/ 490537 w 759618"/>
                <a:gd name="connsiteY38" fmla="*/ 80963 h 1012031"/>
                <a:gd name="connsiteX39" fmla="*/ 490537 w 759618"/>
                <a:gd name="connsiteY39" fmla="*/ 100013 h 1012031"/>
                <a:gd name="connsiteX40" fmla="*/ 464343 w 759618"/>
                <a:gd name="connsiteY40" fmla="*/ 95250 h 1012031"/>
                <a:gd name="connsiteX41" fmla="*/ 442912 w 759618"/>
                <a:gd name="connsiteY41" fmla="*/ 64294 h 1012031"/>
                <a:gd name="connsiteX42" fmla="*/ 433387 w 759618"/>
                <a:gd name="connsiteY42" fmla="*/ 40481 h 1012031"/>
                <a:gd name="connsiteX43" fmla="*/ 414337 w 759618"/>
                <a:gd name="connsiteY43" fmla="*/ 33338 h 1012031"/>
                <a:gd name="connsiteX44" fmla="*/ 383381 w 759618"/>
                <a:gd name="connsiteY44" fmla="*/ 38100 h 1012031"/>
                <a:gd name="connsiteX45" fmla="*/ 376237 w 759618"/>
                <a:gd name="connsiteY45" fmla="*/ 42863 h 1012031"/>
                <a:gd name="connsiteX46" fmla="*/ 378618 w 759618"/>
                <a:gd name="connsiteY46" fmla="*/ 69056 h 1012031"/>
                <a:gd name="connsiteX47" fmla="*/ 402431 w 759618"/>
                <a:gd name="connsiteY47" fmla="*/ 88106 h 1012031"/>
                <a:gd name="connsiteX48" fmla="*/ 416718 w 759618"/>
                <a:gd name="connsiteY48" fmla="*/ 109538 h 1012031"/>
                <a:gd name="connsiteX49" fmla="*/ 402431 w 759618"/>
                <a:gd name="connsiteY49" fmla="*/ 145256 h 1012031"/>
                <a:gd name="connsiteX50" fmla="*/ 385762 w 759618"/>
                <a:gd name="connsiteY50" fmla="*/ 135731 h 1012031"/>
                <a:gd name="connsiteX51" fmla="*/ 381000 w 759618"/>
                <a:gd name="connsiteY51" fmla="*/ 104775 h 1012031"/>
                <a:gd name="connsiteX52" fmla="*/ 352425 w 759618"/>
                <a:gd name="connsiteY52" fmla="*/ 59531 h 1012031"/>
                <a:gd name="connsiteX53" fmla="*/ 333375 w 759618"/>
                <a:gd name="connsiteY53" fmla="*/ 69056 h 1012031"/>
                <a:gd name="connsiteX54" fmla="*/ 323850 w 759618"/>
                <a:gd name="connsiteY54" fmla="*/ 50006 h 1012031"/>
                <a:gd name="connsiteX55" fmla="*/ 302418 w 759618"/>
                <a:gd name="connsiteY55" fmla="*/ 42863 h 1012031"/>
                <a:gd name="connsiteX56" fmla="*/ 290512 w 759618"/>
                <a:gd name="connsiteY56" fmla="*/ 64294 h 1012031"/>
                <a:gd name="connsiteX57" fmla="*/ 304800 w 759618"/>
                <a:gd name="connsiteY57" fmla="*/ 76200 h 1012031"/>
                <a:gd name="connsiteX58" fmla="*/ 323850 w 759618"/>
                <a:gd name="connsiteY58" fmla="*/ 92869 h 1012031"/>
                <a:gd name="connsiteX59" fmla="*/ 335756 w 759618"/>
                <a:gd name="connsiteY59" fmla="*/ 100013 h 1012031"/>
                <a:gd name="connsiteX60" fmla="*/ 328612 w 759618"/>
                <a:gd name="connsiteY60" fmla="*/ 111919 h 1012031"/>
                <a:gd name="connsiteX61" fmla="*/ 307181 w 759618"/>
                <a:gd name="connsiteY61" fmla="*/ 100013 h 1012031"/>
                <a:gd name="connsiteX62" fmla="*/ 264318 w 759618"/>
                <a:gd name="connsiteY62" fmla="*/ 76200 h 1012031"/>
                <a:gd name="connsiteX63" fmla="*/ 280987 w 759618"/>
                <a:gd name="connsiteY63" fmla="*/ 114300 h 1012031"/>
                <a:gd name="connsiteX64" fmla="*/ 292893 w 759618"/>
                <a:gd name="connsiteY64" fmla="*/ 130969 h 1012031"/>
                <a:gd name="connsiteX65" fmla="*/ 280987 w 759618"/>
                <a:gd name="connsiteY65" fmla="*/ 140494 h 1012031"/>
                <a:gd name="connsiteX66" fmla="*/ 247650 w 759618"/>
                <a:gd name="connsiteY66" fmla="*/ 100013 h 1012031"/>
                <a:gd name="connsiteX67" fmla="*/ 261937 w 759618"/>
                <a:gd name="connsiteY67" fmla="*/ 142875 h 1012031"/>
                <a:gd name="connsiteX68" fmla="*/ 242887 w 759618"/>
                <a:gd name="connsiteY68" fmla="*/ 150019 h 1012031"/>
                <a:gd name="connsiteX69" fmla="*/ 257175 w 759618"/>
                <a:gd name="connsiteY69" fmla="*/ 178594 h 1012031"/>
                <a:gd name="connsiteX70" fmla="*/ 278606 w 759618"/>
                <a:gd name="connsiteY70" fmla="*/ 195263 h 1012031"/>
                <a:gd name="connsiteX71" fmla="*/ 307181 w 759618"/>
                <a:gd name="connsiteY71" fmla="*/ 228600 h 1012031"/>
                <a:gd name="connsiteX72" fmla="*/ 316706 w 759618"/>
                <a:gd name="connsiteY72" fmla="*/ 254794 h 1012031"/>
                <a:gd name="connsiteX73" fmla="*/ 316706 w 759618"/>
                <a:gd name="connsiteY73" fmla="*/ 254794 h 1012031"/>
                <a:gd name="connsiteX74" fmla="*/ 285750 w 759618"/>
                <a:gd name="connsiteY74" fmla="*/ 235744 h 1012031"/>
                <a:gd name="connsiteX75" fmla="*/ 238125 w 759618"/>
                <a:gd name="connsiteY75" fmla="*/ 221456 h 1012031"/>
                <a:gd name="connsiteX76" fmla="*/ 223837 w 759618"/>
                <a:gd name="connsiteY76" fmla="*/ 195263 h 1012031"/>
                <a:gd name="connsiteX77" fmla="*/ 204787 w 759618"/>
                <a:gd name="connsiteY77" fmla="*/ 166688 h 1012031"/>
                <a:gd name="connsiteX78" fmla="*/ 166687 w 759618"/>
                <a:gd name="connsiteY78" fmla="*/ 130969 h 1012031"/>
                <a:gd name="connsiteX79" fmla="*/ 166687 w 759618"/>
                <a:gd name="connsiteY79" fmla="*/ 157163 h 1012031"/>
                <a:gd name="connsiteX80" fmla="*/ 173831 w 759618"/>
                <a:gd name="connsiteY80" fmla="*/ 176213 h 1012031"/>
                <a:gd name="connsiteX81" fmla="*/ 171450 w 759618"/>
                <a:gd name="connsiteY81" fmla="*/ 188119 h 1012031"/>
                <a:gd name="connsiteX82" fmla="*/ 152400 w 759618"/>
                <a:gd name="connsiteY82" fmla="*/ 195263 h 1012031"/>
                <a:gd name="connsiteX83" fmla="*/ 128587 w 759618"/>
                <a:gd name="connsiteY83" fmla="*/ 190500 h 1012031"/>
                <a:gd name="connsiteX84" fmla="*/ 178593 w 759618"/>
                <a:gd name="connsiteY84" fmla="*/ 214313 h 1012031"/>
                <a:gd name="connsiteX85" fmla="*/ 188118 w 759618"/>
                <a:gd name="connsiteY85" fmla="*/ 228600 h 1012031"/>
                <a:gd name="connsiteX86" fmla="*/ 185737 w 759618"/>
                <a:gd name="connsiteY86" fmla="*/ 250031 h 1012031"/>
                <a:gd name="connsiteX87" fmla="*/ 157162 w 759618"/>
                <a:gd name="connsiteY87" fmla="*/ 228600 h 1012031"/>
                <a:gd name="connsiteX88" fmla="*/ 121443 w 759618"/>
                <a:gd name="connsiteY88" fmla="*/ 223838 h 1012031"/>
                <a:gd name="connsiteX89" fmla="*/ 97631 w 759618"/>
                <a:gd name="connsiteY89" fmla="*/ 211931 h 1012031"/>
                <a:gd name="connsiteX90" fmla="*/ 73818 w 759618"/>
                <a:gd name="connsiteY90" fmla="*/ 235744 h 1012031"/>
                <a:gd name="connsiteX91" fmla="*/ 73818 w 759618"/>
                <a:gd name="connsiteY91" fmla="*/ 257175 h 1012031"/>
                <a:gd name="connsiteX92" fmla="*/ 52387 w 759618"/>
                <a:gd name="connsiteY92" fmla="*/ 273844 h 1012031"/>
                <a:gd name="connsiteX93" fmla="*/ 35718 w 759618"/>
                <a:gd name="connsiteY93" fmla="*/ 254794 h 1012031"/>
                <a:gd name="connsiteX94" fmla="*/ 19050 w 759618"/>
                <a:gd name="connsiteY94" fmla="*/ 264319 h 1012031"/>
                <a:gd name="connsiteX95" fmla="*/ 0 w 759618"/>
                <a:gd name="connsiteY95" fmla="*/ 297656 h 1012031"/>
                <a:gd name="connsiteX96" fmla="*/ 26193 w 759618"/>
                <a:gd name="connsiteY96" fmla="*/ 283369 h 1012031"/>
                <a:gd name="connsiteX97" fmla="*/ 38100 w 759618"/>
                <a:gd name="connsiteY97" fmla="*/ 273844 h 1012031"/>
                <a:gd name="connsiteX98" fmla="*/ 52387 w 759618"/>
                <a:gd name="connsiteY98" fmla="*/ 288131 h 1012031"/>
                <a:gd name="connsiteX99" fmla="*/ 30956 w 759618"/>
                <a:gd name="connsiteY99" fmla="*/ 323850 h 1012031"/>
                <a:gd name="connsiteX100" fmla="*/ 69056 w 759618"/>
                <a:gd name="connsiteY100" fmla="*/ 300038 h 1012031"/>
                <a:gd name="connsiteX101" fmla="*/ 92868 w 759618"/>
                <a:gd name="connsiteY101" fmla="*/ 295275 h 1012031"/>
                <a:gd name="connsiteX102" fmla="*/ 114300 w 759618"/>
                <a:gd name="connsiteY102" fmla="*/ 300038 h 1012031"/>
                <a:gd name="connsiteX103" fmla="*/ 111918 w 759618"/>
                <a:gd name="connsiteY103" fmla="*/ 316706 h 1012031"/>
                <a:gd name="connsiteX104" fmla="*/ 92868 w 759618"/>
                <a:gd name="connsiteY104" fmla="*/ 311944 h 1012031"/>
                <a:gd name="connsiteX105" fmla="*/ 66675 w 759618"/>
                <a:gd name="connsiteY105" fmla="*/ 338138 h 1012031"/>
                <a:gd name="connsiteX106" fmla="*/ 69056 w 759618"/>
                <a:gd name="connsiteY106" fmla="*/ 359569 h 1012031"/>
                <a:gd name="connsiteX107" fmla="*/ 50006 w 759618"/>
                <a:gd name="connsiteY107" fmla="*/ 369094 h 1012031"/>
                <a:gd name="connsiteX108" fmla="*/ 59531 w 759618"/>
                <a:gd name="connsiteY108" fmla="*/ 385763 h 1012031"/>
                <a:gd name="connsiteX109" fmla="*/ 88106 w 759618"/>
                <a:gd name="connsiteY109" fmla="*/ 376238 h 1012031"/>
                <a:gd name="connsiteX110" fmla="*/ 116681 w 759618"/>
                <a:gd name="connsiteY110" fmla="*/ 378619 h 1012031"/>
                <a:gd name="connsiteX111" fmla="*/ 138112 w 759618"/>
                <a:gd name="connsiteY111" fmla="*/ 354806 h 1012031"/>
                <a:gd name="connsiteX112" fmla="*/ 164306 w 759618"/>
                <a:gd name="connsiteY112" fmla="*/ 335756 h 1012031"/>
                <a:gd name="connsiteX113" fmla="*/ 178593 w 759618"/>
                <a:gd name="connsiteY113" fmla="*/ 340519 h 1012031"/>
                <a:gd name="connsiteX114" fmla="*/ 157162 w 759618"/>
                <a:gd name="connsiteY114" fmla="*/ 366713 h 1012031"/>
                <a:gd name="connsiteX115" fmla="*/ 114300 w 759618"/>
                <a:gd name="connsiteY115" fmla="*/ 407194 h 1012031"/>
                <a:gd name="connsiteX116" fmla="*/ 73818 w 759618"/>
                <a:gd name="connsiteY116" fmla="*/ 411956 h 1012031"/>
                <a:gd name="connsiteX117" fmla="*/ 102393 w 759618"/>
                <a:gd name="connsiteY117" fmla="*/ 447675 h 1012031"/>
                <a:gd name="connsiteX118" fmla="*/ 133350 w 759618"/>
                <a:gd name="connsiteY118" fmla="*/ 419100 h 1012031"/>
                <a:gd name="connsiteX119" fmla="*/ 169068 w 759618"/>
                <a:gd name="connsiteY119" fmla="*/ 378619 h 1012031"/>
                <a:gd name="connsiteX120" fmla="*/ 209550 w 759618"/>
                <a:gd name="connsiteY120" fmla="*/ 371475 h 1012031"/>
                <a:gd name="connsiteX121" fmla="*/ 223837 w 759618"/>
                <a:gd name="connsiteY121" fmla="*/ 373856 h 1012031"/>
                <a:gd name="connsiteX122" fmla="*/ 183356 w 759618"/>
                <a:gd name="connsiteY122" fmla="*/ 402431 h 1012031"/>
                <a:gd name="connsiteX123" fmla="*/ 154781 w 759618"/>
                <a:gd name="connsiteY123" fmla="*/ 428625 h 1012031"/>
                <a:gd name="connsiteX124" fmla="*/ 147637 w 759618"/>
                <a:gd name="connsiteY124" fmla="*/ 454819 h 1012031"/>
                <a:gd name="connsiteX125" fmla="*/ 169068 w 759618"/>
                <a:gd name="connsiteY125" fmla="*/ 466725 h 1012031"/>
                <a:gd name="connsiteX126" fmla="*/ 197643 w 759618"/>
                <a:gd name="connsiteY126" fmla="*/ 454819 h 1012031"/>
                <a:gd name="connsiteX127" fmla="*/ 197643 w 759618"/>
                <a:gd name="connsiteY127" fmla="*/ 423863 h 1012031"/>
                <a:gd name="connsiteX128" fmla="*/ 211931 w 759618"/>
                <a:gd name="connsiteY128" fmla="*/ 411956 h 1012031"/>
                <a:gd name="connsiteX129" fmla="*/ 228600 w 759618"/>
                <a:gd name="connsiteY129" fmla="*/ 428625 h 1012031"/>
                <a:gd name="connsiteX130" fmla="*/ 254793 w 759618"/>
                <a:gd name="connsiteY130" fmla="*/ 423863 h 1012031"/>
                <a:gd name="connsiteX131" fmla="*/ 240506 w 759618"/>
                <a:gd name="connsiteY131" fmla="*/ 445294 h 1012031"/>
                <a:gd name="connsiteX132" fmla="*/ 216693 w 759618"/>
                <a:gd name="connsiteY132" fmla="*/ 452438 h 1012031"/>
                <a:gd name="connsiteX133" fmla="*/ 242887 w 759618"/>
                <a:gd name="connsiteY133" fmla="*/ 464344 h 1012031"/>
                <a:gd name="connsiteX134" fmla="*/ 304800 w 759618"/>
                <a:gd name="connsiteY134" fmla="*/ 411956 h 1012031"/>
                <a:gd name="connsiteX135" fmla="*/ 307181 w 759618"/>
                <a:gd name="connsiteY135" fmla="*/ 364331 h 1012031"/>
                <a:gd name="connsiteX136" fmla="*/ 378618 w 759618"/>
                <a:gd name="connsiteY136" fmla="*/ 311944 h 1012031"/>
                <a:gd name="connsiteX137" fmla="*/ 385762 w 759618"/>
                <a:gd name="connsiteY137" fmla="*/ 335756 h 1012031"/>
                <a:gd name="connsiteX138" fmla="*/ 357187 w 759618"/>
                <a:gd name="connsiteY138" fmla="*/ 359569 h 1012031"/>
                <a:gd name="connsiteX139" fmla="*/ 333375 w 759618"/>
                <a:gd name="connsiteY139" fmla="*/ 400050 h 1012031"/>
                <a:gd name="connsiteX140" fmla="*/ 333375 w 759618"/>
                <a:gd name="connsiteY140" fmla="*/ 414338 h 1012031"/>
                <a:gd name="connsiteX141" fmla="*/ 359568 w 759618"/>
                <a:gd name="connsiteY141" fmla="*/ 407194 h 1012031"/>
                <a:gd name="connsiteX142" fmla="*/ 381000 w 759618"/>
                <a:gd name="connsiteY142" fmla="*/ 414338 h 1012031"/>
                <a:gd name="connsiteX143" fmla="*/ 369093 w 759618"/>
                <a:gd name="connsiteY143" fmla="*/ 419100 h 1012031"/>
                <a:gd name="connsiteX144" fmla="*/ 338137 w 759618"/>
                <a:gd name="connsiteY144" fmla="*/ 428625 h 1012031"/>
                <a:gd name="connsiteX145" fmla="*/ 300037 w 759618"/>
                <a:gd name="connsiteY145" fmla="*/ 454819 h 1012031"/>
                <a:gd name="connsiteX146" fmla="*/ 345281 w 759618"/>
                <a:gd name="connsiteY146" fmla="*/ 461963 h 1012031"/>
                <a:gd name="connsiteX147" fmla="*/ 342900 w 759618"/>
                <a:gd name="connsiteY147" fmla="*/ 476250 h 1012031"/>
                <a:gd name="connsiteX148" fmla="*/ 292893 w 759618"/>
                <a:gd name="connsiteY148" fmla="*/ 478631 h 1012031"/>
                <a:gd name="connsiteX149" fmla="*/ 261937 w 759618"/>
                <a:gd name="connsiteY149" fmla="*/ 495300 h 1012031"/>
                <a:gd name="connsiteX150" fmla="*/ 228600 w 759618"/>
                <a:gd name="connsiteY150" fmla="*/ 504825 h 1012031"/>
                <a:gd name="connsiteX151" fmla="*/ 240506 w 759618"/>
                <a:gd name="connsiteY151" fmla="*/ 540544 h 1012031"/>
                <a:gd name="connsiteX152" fmla="*/ 257175 w 759618"/>
                <a:gd name="connsiteY152" fmla="*/ 557213 h 1012031"/>
                <a:gd name="connsiteX153" fmla="*/ 259556 w 759618"/>
                <a:gd name="connsiteY153" fmla="*/ 578644 h 1012031"/>
                <a:gd name="connsiteX154" fmla="*/ 290512 w 759618"/>
                <a:gd name="connsiteY154" fmla="*/ 585788 h 1012031"/>
                <a:gd name="connsiteX155" fmla="*/ 292893 w 759618"/>
                <a:gd name="connsiteY155" fmla="*/ 597694 h 1012031"/>
                <a:gd name="connsiteX156" fmla="*/ 273843 w 759618"/>
                <a:gd name="connsiteY156" fmla="*/ 616744 h 1012031"/>
                <a:gd name="connsiteX157" fmla="*/ 252412 w 759618"/>
                <a:gd name="connsiteY157" fmla="*/ 609600 h 1012031"/>
                <a:gd name="connsiteX158" fmla="*/ 235743 w 759618"/>
                <a:gd name="connsiteY158" fmla="*/ 607219 h 1012031"/>
                <a:gd name="connsiteX159" fmla="*/ 228600 w 759618"/>
                <a:gd name="connsiteY159" fmla="*/ 581025 h 1012031"/>
                <a:gd name="connsiteX160" fmla="*/ 204787 w 759618"/>
                <a:gd name="connsiteY160" fmla="*/ 547688 h 1012031"/>
                <a:gd name="connsiteX161" fmla="*/ 192881 w 759618"/>
                <a:gd name="connsiteY161" fmla="*/ 519113 h 1012031"/>
                <a:gd name="connsiteX162" fmla="*/ 166687 w 759618"/>
                <a:gd name="connsiteY162" fmla="*/ 507206 h 1012031"/>
                <a:gd name="connsiteX163" fmla="*/ 130968 w 759618"/>
                <a:gd name="connsiteY163" fmla="*/ 495300 h 1012031"/>
                <a:gd name="connsiteX164" fmla="*/ 135731 w 759618"/>
                <a:gd name="connsiteY164" fmla="*/ 535781 h 1012031"/>
                <a:gd name="connsiteX165" fmla="*/ 171450 w 759618"/>
                <a:gd name="connsiteY165" fmla="*/ 554831 h 1012031"/>
                <a:gd name="connsiteX166" fmla="*/ 164306 w 759618"/>
                <a:gd name="connsiteY166" fmla="*/ 569119 h 1012031"/>
                <a:gd name="connsiteX167" fmla="*/ 138112 w 759618"/>
                <a:gd name="connsiteY167" fmla="*/ 554831 h 1012031"/>
                <a:gd name="connsiteX168" fmla="*/ 173831 w 759618"/>
                <a:gd name="connsiteY168" fmla="*/ 595313 h 1012031"/>
                <a:gd name="connsiteX169" fmla="*/ 188118 w 759618"/>
                <a:gd name="connsiteY169" fmla="*/ 621506 h 1012031"/>
                <a:gd name="connsiteX170" fmla="*/ 197643 w 759618"/>
                <a:gd name="connsiteY170" fmla="*/ 642938 h 1012031"/>
                <a:gd name="connsiteX171" fmla="*/ 207168 w 759618"/>
                <a:gd name="connsiteY171" fmla="*/ 659606 h 1012031"/>
                <a:gd name="connsiteX172" fmla="*/ 207168 w 759618"/>
                <a:gd name="connsiteY172" fmla="*/ 659606 h 1012031"/>
                <a:gd name="connsiteX173" fmla="*/ 176212 w 759618"/>
                <a:gd name="connsiteY173" fmla="*/ 664369 h 1012031"/>
                <a:gd name="connsiteX174" fmla="*/ 200025 w 759618"/>
                <a:gd name="connsiteY174" fmla="*/ 681038 h 1012031"/>
                <a:gd name="connsiteX175" fmla="*/ 228600 w 759618"/>
                <a:gd name="connsiteY175" fmla="*/ 690563 h 1012031"/>
                <a:gd name="connsiteX176" fmla="*/ 242887 w 759618"/>
                <a:gd name="connsiteY176" fmla="*/ 685800 h 1012031"/>
                <a:gd name="connsiteX177" fmla="*/ 252412 w 759618"/>
                <a:gd name="connsiteY177" fmla="*/ 678656 h 1012031"/>
                <a:gd name="connsiteX178" fmla="*/ 264318 w 759618"/>
                <a:gd name="connsiteY178" fmla="*/ 704850 h 1012031"/>
                <a:gd name="connsiteX179" fmla="*/ 252412 w 759618"/>
                <a:gd name="connsiteY179" fmla="*/ 719138 h 1012031"/>
                <a:gd name="connsiteX180" fmla="*/ 235743 w 759618"/>
                <a:gd name="connsiteY180" fmla="*/ 745331 h 1012031"/>
                <a:gd name="connsiteX181" fmla="*/ 209550 w 759618"/>
                <a:gd name="connsiteY181" fmla="*/ 716756 h 1012031"/>
                <a:gd name="connsiteX182" fmla="*/ 185737 w 759618"/>
                <a:gd name="connsiteY182" fmla="*/ 704850 h 1012031"/>
                <a:gd name="connsiteX183" fmla="*/ 147637 w 759618"/>
                <a:gd name="connsiteY183" fmla="*/ 707231 h 1012031"/>
                <a:gd name="connsiteX184" fmla="*/ 135731 w 759618"/>
                <a:gd name="connsiteY184" fmla="*/ 716756 h 1012031"/>
                <a:gd name="connsiteX185" fmla="*/ 123825 w 759618"/>
                <a:gd name="connsiteY185" fmla="*/ 735806 h 1012031"/>
                <a:gd name="connsiteX186" fmla="*/ 114300 w 759618"/>
                <a:gd name="connsiteY186" fmla="*/ 766763 h 1012031"/>
                <a:gd name="connsiteX187" fmla="*/ 126206 w 759618"/>
                <a:gd name="connsiteY187" fmla="*/ 781050 h 1012031"/>
                <a:gd name="connsiteX188" fmla="*/ 145256 w 759618"/>
                <a:gd name="connsiteY188" fmla="*/ 757238 h 1012031"/>
                <a:gd name="connsiteX189" fmla="*/ 145256 w 759618"/>
                <a:gd name="connsiteY189" fmla="*/ 757238 h 1012031"/>
                <a:gd name="connsiteX190" fmla="*/ 152400 w 759618"/>
                <a:gd name="connsiteY190" fmla="*/ 778669 h 1012031"/>
                <a:gd name="connsiteX191" fmla="*/ 142875 w 759618"/>
                <a:gd name="connsiteY191" fmla="*/ 790575 h 1012031"/>
                <a:gd name="connsiteX192" fmla="*/ 173831 w 759618"/>
                <a:gd name="connsiteY192" fmla="*/ 776288 h 1012031"/>
                <a:gd name="connsiteX193" fmla="*/ 169068 w 759618"/>
                <a:gd name="connsiteY193" fmla="*/ 752475 h 1012031"/>
                <a:gd name="connsiteX194" fmla="*/ 183356 w 759618"/>
                <a:gd name="connsiteY194" fmla="*/ 747713 h 1012031"/>
                <a:gd name="connsiteX195" fmla="*/ 183356 w 759618"/>
                <a:gd name="connsiteY195" fmla="*/ 766763 h 1012031"/>
                <a:gd name="connsiteX196" fmla="*/ 188118 w 759618"/>
                <a:gd name="connsiteY196" fmla="*/ 778669 h 1012031"/>
                <a:gd name="connsiteX197" fmla="*/ 200025 w 759618"/>
                <a:gd name="connsiteY197" fmla="*/ 783431 h 1012031"/>
                <a:gd name="connsiteX198" fmla="*/ 197643 w 759618"/>
                <a:gd name="connsiteY198" fmla="*/ 797719 h 1012031"/>
                <a:gd name="connsiteX199" fmla="*/ 178593 w 759618"/>
                <a:gd name="connsiteY199" fmla="*/ 802481 h 1012031"/>
                <a:gd name="connsiteX200" fmla="*/ 166687 w 759618"/>
                <a:gd name="connsiteY200" fmla="*/ 812006 h 1012031"/>
                <a:gd name="connsiteX201" fmla="*/ 180975 w 759618"/>
                <a:gd name="connsiteY201" fmla="*/ 816769 h 1012031"/>
                <a:gd name="connsiteX202" fmla="*/ 173831 w 759618"/>
                <a:gd name="connsiteY202" fmla="*/ 838200 h 1012031"/>
                <a:gd name="connsiteX203" fmla="*/ 190500 w 759618"/>
                <a:gd name="connsiteY203" fmla="*/ 842963 h 1012031"/>
                <a:gd name="connsiteX204" fmla="*/ 190500 w 759618"/>
                <a:gd name="connsiteY204" fmla="*/ 842963 h 1012031"/>
                <a:gd name="connsiteX205" fmla="*/ 226218 w 759618"/>
                <a:gd name="connsiteY205" fmla="*/ 814388 h 1012031"/>
                <a:gd name="connsiteX206" fmla="*/ 230981 w 759618"/>
                <a:gd name="connsiteY206" fmla="*/ 795338 h 1012031"/>
                <a:gd name="connsiteX207" fmla="*/ 247650 w 759618"/>
                <a:gd name="connsiteY207" fmla="*/ 804863 h 1012031"/>
                <a:gd name="connsiteX208" fmla="*/ 228600 w 759618"/>
                <a:gd name="connsiteY208" fmla="*/ 842963 h 1012031"/>
                <a:gd name="connsiteX209" fmla="*/ 204787 w 759618"/>
                <a:gd name="connsiteY209" fmla="*/ 869156 h 1012031"/>
                <a:gd name="connsiteX210" fmla="*/ 192881 w 759618"/>
                <a:gd name="connsiteY210" fmla="*/ 873919 h 1012031"/>
                <a:gd name="connsiteX211" fmla="*/ 171450 w 759618"/>
                <a:gd name="connsiteY211" fmla="*/ 888206 h 1012031"/>
                <a:gd name="connsiteX212" fmla="*/ 142875 w 759618"/>
                <a:gd name="connsiteY212" fmla="*/ 859631 h 1012031"/>
                <a:gd name="connsiteX213" fmla="*/ 126206 w 759618"/>
                <a:gd name="connsiteY213" fmla="*/ 831056 h 1012031"/>
                <a:gd name="connsiteX214" fmla="*/ 104775 w 759618"/>
                <a:gd name="connsiteY214" fmla="*/ 828675 h 1012031"/>
                <a:gd name="connsiteX215" fmla="*/ 85725 w 759618"/>
                <a:gd name="connsiteY215" fmla="*/ 845344 h 1012031"/>
                <a:gd name="connsiteX216" fmla="*/ 100012 w 759618"/>
                <a:gd name="connsiteY216" fmla="*/ 864394 h 1012031"/>
                <a:gd name="connsiteX217" fmla="*/ 111918 w 759618"/>
                <a:gd name="connsiteY217" fmla="*/ 878681 h 1012031"/>
                <a:gd name="connsiteX218" fmla="*/ 123825 w 759618"/>
                <a:gd name="connsiteY218" fmla="*/ 888206 h 1012031"/>
                <a:gd name="connsiteX219" fmla="*/ 133350 w 759618"/>
                <a:gd name="connsiteY219" fmla="*/ 909638 h 1012031"/>
                <a:gd name="connsiteX220" fmla="*/ 109537 w 759618"/>
                <a:gd name="connsiteY220" fmla="*/ 921544 h 1012031"/>
                <a:gd name="connsiteX221" fmla="*/ 90487 w 759618"/>
                <a:gd name="connsiteY221" fmla="*/ 909638 h 1012031"/>
                <a:gd name="connsiteX222" fmla="*/ 71437 w 759618"/>
                <a:gd name="connsiteY222" fmla="*/ 935831 h 1012031"/>
                <a:gd name="connsiteX223" fmla="*/ 61912 w 759618"/>
                <a:gd name="connsiteY223" fmla="*/ 971550 h 1012031"/>
                <a:gd name="connsiteX224" fmla="*/ 80962 w 759618"/>
                <a:gd name="connsiteY224" fmla="*/ 954881 h 1012031"/>
                <a:gd name="connsiteX225" fmla="*/ 95250 w 759618"/>
                <a:gd name="connsiteY225" fmla="*/ 978694 h 1012031"/>
                <a:gd name="connsiteX226" fmla="*/ 109537 w 759618"/>
                <a:gd name="connsiteY226" fmla="*/ 964406 h 1012031"/>
                <a:gd name="connsiteX227" fmla="*/ 119062 w 759618"/>
                <a:gd name="connsiteY227" fmla="*/ 981075 h 1012031"/>
                <a:gd name="connsiteX228" fmla="*/ 126206 w 759618"/>
                <a:gd name="connsiteY228" fmla="*/ 959644 h 1012031"/>
                <a:gd name="connsiteX229" fmla="*/ 145256 w 759618"/>
                <a:gd name="connsiteY229" fmla="*/ 985838 h 1012031"/>
                <a:gd name="connsiteX230" fmla="*/ 169068 w 759618"/>
                <a:gd name="connsiteY230" fmla="*/ 1004888 h 1012031"/>
                <a:gd name="connsiteX231" fmla="*/ 161925 w 759618"/>
                <a:gd name="connsiteY231" fmla="*/ 978694 h 1012031"/>
                <a:gd name="connsiteX232" fmla="*/ 171450 w 759618"/>
                <a:gd name="connsiteY232" fmla="*/ 964406 h 1012031"/>
                <a:gd name="connsiteX233" fmla="*/ 180975 w 759618"/>
                <a:gd name="connsiteY233" fmla="*/ 973931 h 1012031"/>
                <a:gd name="connsiteX234" fmla="*/ 188118 w 759618"/>
                <a:gd name="connsiteY234" fmla="*/ 962025 h 1012031"/>
                <a:gd name="connsiteX235" fmla="*/ 197643 w 759618"/>
                <a:gd name="connsiteY235" fmla="*/ 981075 h 1012031"/>
                <a:gd name="connsiteX236" fmla="*/ 209550 w 759618"/>
                <a:gd name="connsiteY236" fmla="*/ 962025 h 1012031"/>
                <a:gd name="connsiteX237" fmla="*/ 228600 w 759618"/>
                <a:gd name="connsiteY237" fmla="*/ 983456 h 1012031"/>
                <a:gd name="connsiteX238" fmla="*/ 235743 w 759618"/>
                <a:gd name="connsiteY238" fmla="*/ 959644 h 1012031"/>
                <a:gd name="connsiteX239" fmla="*/ 254793 w 759618"/>
                <a:gd name="connsiteY239" fmla="*/ 973931 h 1012031"/>
                <a:gd name="connsiteX240" fmla="*/ 271462 w 759618"/>
                <a:gd name="connsiteY240" fmla="*/ 983456 h 1012031"/>
                <a:gd name="connsiteX241" fmla="*/ 278606 w 759618"/>
                <a:gd name="connsiteY241" fmla="*/ 1000125 h 1012031"/>
                <a:gd name="connsiteX242" fmla="*/ 269081 w 759618"/>
                <a:gd name="connsiteY242" fmla="*/ 1012031 h 1012031"/>
                <a:gd name="connsiteX243" fmla="*/ 316706 w 759618"/>
                <a:gd name="connsiteY243" fmla="*/ 976313 h 1012031"/>
                <a:gd name="connsiteX244" fmla="*/ 335756 w 759618"/>
                <a:gd name="connsiteY244" fmla="*/ 969169 h 1012031"/>
                <a:gd name="connsiteX245" fmla="*/ 342900 w 759618"/>
                <a:gd name="connsiteY245" fmla="*/ 950119 h 1012031"/>
                <a:gd name="connsiteX246" fmla="*/ 342900 w 759618"/>
                <a:gd name="connsiteY246" fmla="*/ 926306 h 1012031"/>
                <a:gd name="connsiteX247" fmla="*/ 321468 w 759618"/>
                <a:gd name="connsiteY247" fmla="*/ 935831 h 1012031"/>
                <a:gd name="connsiteX248" fmla="*/ 307181 w 759618"/>
                <a:gd name="connsiteY248" fmla="*/ 926306 h 1012031"/>
                <a:gd name="connsiteX249" fmla="*/ 307181 w 759618"/>
                <a:gd name="connsiteY249" fmla="*/ 900113 h 1012031"/>
                <a:gd name="connsiteX250" fmla="*/ 290512 w 759618"/>
                <a:gd name="connsiteY250" fmla="*/ 916781 h 1012031"/>
                <a:gd name="connsiteX251" fmla="*/ 269081 w 759618"/>
                <a:gd name="connsiteY251" fmla="*/ 892969 h 1012031"/>
                <a:gd name="connsiteX252" fmla="*/ 252412 w 759618"/>
                <a:gd name="connsiteY252" fmla="*/ 919163 h 1012031"/>
                <a:gd name="connsiteX253" fmla="*/ 233362 w 759618"/>
                <a:gd name="connsiteY253" fmla="*/ 902494 h 1012031"/>
                <a:gd name="connsiteX254" fmla="*/ 254793 w 759618"/>
                <a:gd name="connsiteY254" fmla="*/ 888206 h 1012031"/>
                <a:gd name="connsiteX255" fmla="*/ 254793 w 759618"/>
                <a:gd name="connsiteY255" fmla="*/ 862013 h 1012031"/>
                <a:gd name="connsiteX256" fmla="*/ 278606 w 759618"/>
                <a:gd name="connsiteY256" fmla="*/ 876300 h 1012031"/>
                <a:gd name="connsiteX257" fmla="*/ 307181 w 759618"/>
                <a:gd name="connsiteY257" fmla="*/ 885825 h 1012031"/>
                <a:gd name="connsiteX258" fmla="*/ 323850 w 759618"/>
                <a:gd name="connsiteY258" fmla="*/ 878681 h 1012031"/>
                <a:gd name="connsiteX259" fmla="*/ 338137 w 759618"/>
                <a:gd name="connsiteY259" fmla="*/ 869156 h 1012031"/>
                <a:gd name="connsiteX260" fmla="*/ 338137 w 759618"/>
                <a:gd name="connsiteY260" fmla="*/ 847725 h 1012031"/>
                <a:gd name="connsiteX261" fmla="*/ 335756 w 759618"/>
                <a:gd name="connsiteY261" fmla="*/ 823913 h 1012031"/>
                <a:gd name="connsiteX262" fmla="*/ 338137 w 759618"/>
                <a:gd name="connsiteY262" fmla="*/ 797719 h 1012031"/>
                <a:gd name="connsiteX263" fmla="*/ 364331 w 759618"/>
                <a:gd name="connsiteY263" fmla="*/ 814388 h 1012031"/>
                <a:gd name="connsiteX264" fmla="*/ 392906 w 759618"/>
                <a:gd name="connsiteY264" fmla="*/ 795338 h 1012031"/>
                <a:gd name="connsiteX265" fmla="*/ 373856 w 759618"/>
                <a:gd name="connsiteY265" fmla="*/ 783431 h 1012031"/>
                <a:gd name="connsiteX266" fmla="*/ 395287 w 759618"/>
                <a:gd name="connsiteY266" fmla="*/ 776288 h 1012031"/>
                <a:gd name="connsiteX267" fmla="*/ 407193 w 759618"/>
                <a:gd name="connsiteY267" fmla="*/ 762000 h 1012031"/>
                <a:gd name="connsiteX268" fmla="*/ 388143 w 759618"/>
                <a:gd name="connsiteY268" fmla="*/ 752475 h 1012031"/>
                <a:gd name="connsiteX269" fmla="*/ 404812 w 759618"/>
                <a:gd name="connsiteY269" fmla="*/ 738188 h 1012031"/>
                <a:gd name="connsiteX270" fmla="*/ 423862 w 759618"/>
                <a:gd name="connsiteY270" fmla="*/ 707231 h 1012031"/>
                <a:gd name="connsiteX271" fmla="*/ 383381 w 759618"/>
                <a:gd name="connsiteY271" fmla="*/ 697706 h 1012031"/>
                <a:gd name="connsiteX272" fmla="*/ 381000 w 759618"/>
                <a:gd name="connsiteY272" fmla="*/ 690563 h 1012031"/>
                <a:gd name="connsiteX273" fmla="*/ 350043 w 759618"/>
                <a:gd name="connsiteY273" fmla="*/ 690563 h 1012031"/>
                <a:gd name="connsiteX274" fmla="*/ 335756 w 759618"/>
                <a:gd name="connsiteY274" fmla="*/ 676275 h 1012031"/>
                <a:gd name="connsiteX275" fmla="*/ 354806 w 759618"/>
                <a:gd name="connsiteY275" fmla="*/ 654844 h 1012031"/>
                <a:gd name="connsiteX276" fmla="*/ 390525 w 759618"/>
                <a:gd name="connsiteY276" fmla="*/ 657225 h 1012031"/>
                <a:gd name="connsiteX277" fmla="*/ 416718 w 759618"/>
                <a:gd name="connsiteY277" fmla="*/ 683419 h 1012031"/>
                <a:gd name="connsiteX278" fmla="*/ 428625 w 759618"/>
                <a:gd name="connsiteY278" fmla="*/ 647700 h 1012031"/>
                <a:gd name="connsiteX279" fmla="*/ 397668 w 759618"/>
                <a:gd name="connsiteY279" fmla="*/ 640556 h 1012031"/>
                <a:gd name="connsiteX280" fmla="*/ 359568 w 759618"/>
                <a:gd name="connsiteY280" fmla="*/ 631031 h 1012031"/>
                <a:gd name="connsiteX281" fmla="*/ 371475 w 759618"/>
                <a:gd name="connsiteY281" fmla="*/ 619125 h 1012031"/>
                <a:gd name="connsiteX282" fmla="*/ 395287 w 759618"/>
                <a:gd name="connsiteY282" fmla="*/ 616744 h 1012031"/>
                <a:gd name="connsiteX283" fmla="*/ 416718 w 759618"/>
                <a:gd name="connsiteY283" fmla="*/ 628650 h 1012031"/>
                <a:gd name="connsiteX284" fmla="*/ 442912 w 759618"/>
                <a:gd name="connsiteY284" fmla="*/ 607219 h 1012031"/>
                <a:gd name="connsiteX285" fmla="*/ 452437 w 759618"/>
                <a:gd name="connsiteY285" fmla="*/ 592931 h 1012031"/>
                <a:gd name="connsiteX286" fmla="*/ 428625 w 759618"/>
                <a:gd name="connsiteY286" fmla="*/ 576263 h 1012031"/>
                <a:gd name="connsiteX287" fmla="*/ 440531 w 759618"/>
                <a:gd name="connsiteY287" fmla="*/ 564356 h 1012031"/>
                <a:gd name="connsiteX288" fmla="*/ 464343 w 759618"/>
                <a:gd name="connsiteY288" fmla="*/ 578644 h 1012031"/>
                <a:gd name="connsiteX289" fmla="*/ 497681 w 759618"/>
                <a:gd name="connsiteY289" fmla="*/ 590550 h 1012031"/>
                <a:gd name="connsiteX290" fmla="*/ 511968 w 759618"/>
                <a:gd name="connsiteY290" fmla="*/ 557213 h 1012031"/>
                <a:gd name="connsiteX291" fmla="*/ 526256 w 759618"/>
                <a:gd name="connsiteY291" fmla="*/ 528638 h 1012031"/>
                <a:gd name="connsiteX292" fmla="*/ 502443 w 759618"/>
                <a:gd name="connsiteY292" fmla="*/ 531019 h 1012031"/>
                <a:gd name="connsiteX293" fmla="*/ 488156 w 759618"/>
                <a:gd name="connsiteY293" fmla="*/ 519113 h 1012031"/>
                <a:gd name="connsiteX294" fmla="*/ 542924 w 759618"/>
                <a:gd name="connsiteY294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616743 w 759618"/>
                <a:gd name="connsiteY2" fmla="*/ 383381 h 1012031"/>
                <a:gd name="connsiteX3" fmla="*/ 545306 w 759618"/>
                <a:gd name="connsiteY3" fmla="*/ 428625 h 1012031"/>
                <a:gd name="connsiteX4" fmla="*/ 626268 w 759618"/>
                <a:gd name="connsiteY4" fmla="*/ 357188 h 1012031"/>
                <a:gd name="connsiteX5" fmla="*/ 678656 w 759618"/>
                <a:gd name="connsiteY5" fmla="*/ 307181 h 1012031"/>
                <a:gd name="connsiteX6" fmla="*/ 600075 w 759618"/>
                <a:gd name="connsiteY6" fmla="*/ 335756 h 1012031"/>
                <a:gd name="connsiteX7" fmla="*/ 554831 w 759618"/>
                <a:gd name="connsiteY7" fmla="*/ 373856 h 1012031"/>
                <a:gd name="connsiteX8" fmla="*/ 535781 w 759618"/>
                <a:gd name="connsiteY8" fmla="*/ 369094 h 1012031"/>
                <a:gd name="connsiteX9" fmla="*/ 597693 w 759618"/>
                <a:gd name="connsiteY9" fmla="*/ 309563 h 1012031"/>
                <a:gd name="connsiteX10" fmla="*/ 573881 w 759618"/>
                <a:gd name="connsiteY10" fmla="*/ 288131 h 1012031"/>
                <a:gd name="connsiteX11" fmla="*/ 561975 w 759618"/>
                <a:gd name="connsiteY11" fmla="*/ 261938 h 1012031"/>
                <a:gd name="connsiteX12" fmla="*/ 614362 w 759618"/>
                <a:gd name="connsiteY12" fmla="*/ 292894 h 1012031"/>
                <a:gd name="connsiteX13" fmla="*/ 650081 w 759618"/>
                <a:gd name="connsiteY13" fmla="*/ 290513 h 1012031"/>
                <a:gd name="connsiteX14" fmla="*/ 650081 w 759618"/>
                <a:gd name="connsiteY14" fmla="*/ 273844 h 1012031"/>
                <a:gd name="connsiteX15" fmla="*/ 678656 w 759618"/>
                <a:gd name="connsiteY15" fmla="*/ 271463 h 1012031"/>
                <a:gd name="connsiteX16" fmla="*/ 721518 w 759618"/>
                <a:gd name="connsiteY16" fmla="*/ 221456 h 1012031"/>
                <a:gd name="connsiteX17" fmla="*/ 759618 w 759618"/>
                <a:gd name="connsiteY17" fmla="*/ 150019 h 1012031"/>
                <a:gd name="connsiteX18" fmla="*/ 738187 w 759618"/>
                <a:gd name="connsiteY18" fmla="*/ 126206 h 1012031"/>
                <a:gd name="connsiteX19" fmla="*/ 704850 w 759618"/>
                <a:gd name="connsiteY19" fmla="*/ 121444 h 1012031"/>
                <a:gd name="connsiteX20" fmla="*/ 692943 w 759618"/>
                <a:gd name="connsiteY20" fmla="*/ 73819 h 1012031"/>
                <a:gd name="connsiteX21" fmla="*/ 669131 w 759618"/>
                <a:gd name="connsiteY21" fmla="*/ 59531 h 1012031"/>
                <a:gd name="connsiteX22" fmla="*/ 628650 w 759618"/>
                <a:gd name="connsiteY22" fmla="*/ 78581 h 1012031"/>
                <a:gd name="connsiteX23" fmla="*/ 614362 w 759618"/>
                <a:gd name="connsiteY23" fmla="*/ 102394 h 1012031"/>
                <a:gd name="connsiteX24" fmla="*/ 588168 w 759618"/>
                <a:gd name="connsiteY24" fmla="*/ 114300 h 1012031"/>
                <a:gd name="connsiteX25" fmla="*/ 576262 w 759618"/>
                <a:gd name="connsiteY25" fmla="*/ 107156 h 1012031"/>
                <a:gd name="connsiteX26" fmla="*/ 592931 w 759618"/>
                <a:gd name="connsiteY26" fmla="*/ 85725 h 1012031"/>
                <a:gd name="connsiteX27" fmla="*/ 621506 w 759618"/>
                <a:gd name="connsiteY27" fmla="*/ 50006 h 1012031"/>
                <a:gd name="connsiteX28" fmla="*/ 585787 w 759618"/>
                <a:gd name="connsiteY28" fmla="*/ 33338 h 1012031"/>
                <a:gd name="connsiteX29" fmla="*/ 557212 w 759618"/>
                <a:gd name="connsiteY29" fmla="*/ 38100 h 1012031"/>
                <a:gd name="connsiteX30" fmla="*/ 540543 w 759618"/>
                <a:gd name="connsiteY30" fmla="*/ 16669 h 1012031"/>
                <a:gd name="connsiteX31" fmla="*/ 526256 w 759618"/>
                <a:gd name="connsiteY31" fmla="*/ 16669 h 1012031"/>
                <a:gd name="connsiteX32" fmla="*/ 519112 w 759618"/>
                <a:gd name="connsiteY32" fmla="*/ 28575 h 1012031"/>
                <a:gd name="connsiteX33" fmla="*/ 533400 w 759618"/>
                <a:gd name="connsiteY33" fmla="*/ 61913 h 1012031"/>
                <a:gd name="connsiteX34" fmla="*/ 519112 w 759618"/>
                <a:gd name="connsiteY34" fmla="*/ 69056 h 1012031"/>
                <a:gd name="connsiteX35" fmla="*/ 500062 w 759618"/>
                <a:gd name="connsiteY35" fmla="*/ 33338 h 1012031"/>
                <a:gd name="connsiteX36" fmla="*/ 495300 w 759618"/>
                <a:gd name="connsiteY36" fmla="*/ 0 h 1012031"/>
                <a:gd name="connsiteX37" fmla="*/ 466725 w 759618"/>
                <a:gd name="connsiteY37" fmla="*/ 40481 h 1012031"/>
                <a:gd name="connsiteX38" fmla="*/ 466725 w 759618"/>
                <a:gd name="connsiteY38" fmla="*/ 61913 h 1012031"/>
                <a:gd name="connsiteX39" fmla="*/ 490537 w 759618"/>
                <a:gd name="connsiteY39" fmla="*/ 80963 h 1012031"/>
                <a:gd name="connsiteX40" fmla="*/ 490537 w 759618"/>
                <a:gd name="connsiteY40" fmla="*/ 100013 h 1012031"/>
                <a:gd name="connsiteX41" fmla="*/ 464343 w 759618"/>
                <a:gd name="connsiteY41" fmla="*/ 95250 h 1012031"/>
                <a:gd name="connsiteX42" fmla="*/ 442912 w 759618"/>
                <a:gd name="connsiteY42" fmla="*/ 64294 h 1012031"/>
                <a:gd name="connsiteX43" fmla="*/ 433387 w 759618"/>
                <a:gd name="connsiteY43" fmla="*/ 40481 h 1012031"/>
                <a:gd name="connsiteX44" fmla="*/ 414337 w 759618"/>
                <a:gd name="connsiteY44" fmla="*/ 33338 h 1012031"/>
                <a:gd name="connsiteX45" fmla="*/ 383381 w 759618"/>
                <a:gd name="connsiteY45" fmla="*/ 38100 h 1012031"/>
                <a:gd name="connsiteX46" fmla="*/ 376237 w 759618"/>
                <a:gd name="connsiteY46" fmla="*/ 42863 h 1012031"/>
                <a:gd name="connsiteX47" fmla="*/ 378618 w 759618"/>
                <a:gd name="connsiteY47" fmla="*/ 69056 h 1012031"/>
                <a:gd name="connsiteX48" fmla="*/ 402431 w 759618"/>
                <a:gd name="connsiteY48" fmla="*/ 88106 h 1012031"/>
                <a:gd name="connsiteX49" fmla="*/ 416718 w 759618"/>
                <a:gd name="connsiteY49" fmla="*/ 109538 h 1012031"/>
                <a:gd name="connsiteX50" fmla="*/ 402431 w 759618"/>
                <a:gd name="connsiteY50" fmla="*/ 145256 h 1012031"/>
                <a:gd name="connsiteX51" fmla="*/ 385762 w 759618"/>
                <a:gd name="connsiteY51" fmla="*/ 135731 h 1012031"/>
                <a:gd name="connsiteX52" fmla="*/ 381000 w 759618"/>
                <a:gd name="connsiteY52" fmla="*/ 104775 h 1012031"/>
                <a:gd name="connsiteX53" fmla="*/ 352425 w 759618"/>
                <a:gd name="connsiteY53" fmla="*/ 59531 h 1012031"/>
                <a:gd name="connsiteX54" fmla="*/ 333375 w 759618"/>
                <a:gd name="connsiteY54" fmla="*/ 69056 h 1012031"/>
                <a:gd name="connsiteX55" fmla="*/ 323850 w 759618"/>
                <a:gd name="connsiteY55" fmla="*/ 50006 h 1012031"/>
                <a:gd name="connsiteX56" fmla="*/ 302418 w 759618"/>
                <a:gd name="connsiteY56" fmla="*/ 42863 h 1012031"/>
                <a:gd name="connsiteX57" fmla="*/ 290512 w 759618"/>
                <a:gd name="connsiteY57" fmla="*/ 64294 h 1012031"/>
                <a:gd name="connsiteX58" fmla="*/ 304800 w 759618"/>
                <a:gd name="connsiteY58" fmla="*/ 76200 h 1012031"/>
                <a:gd name="connsiteX59" fmla="*/ 323850 w 759618"/>
                <a:gd name="connsiteY59" fmla="*/ 92869 h 1012031"/>
                <a:gd name="connsiteX60" fmla="*/ 335756 w 759618"/>
                <a:gd name="connsiteY60" fmla="*/ 100013 h 1012031"/>
                <a:gd name="connsiteX61" fmla="*/ 328612 w 759618"/>
                <a:gd name="connsiteY61" fmla="*/ 111919 h 1012031"/>
                <a:gd name="connsiteX62" fmla="*/ 307181 w 759618"/>
                <a:gd name="connsiteY62" fmla="*/ 100013 h 1012031"/>
                <a:gd name="connsiteX63" fmla="*/ 264318 w 759618"/>
                <a:gd name="connsiteY63" fmla="*/ 76200 h 1012031"/>
                <a:gd name="connsiteX64" fmla="*/ 280987 w 759618"/>
                <a:gd name="connsiteY64" fmla="*/ 114300 h 1012031"/>
                <a:gd name="connsiteX65" fmla="*/ 292893 w 759618"/>
                <a:gd name="connsiteY65" fmla="*/ 130969 h 1012031"/>
                <a:gd name="connsiteX66" fmla="*/ 280987 w 759618"/>
                <a:gd name="connsiteY66" fmla="*/ 140494 h 1012031"/>
                <a:gd name="connsiteX67" fmla="*/ 247650 w 759618"/>
                <a:gd name="connsiteY67" fmla="*/ 100013 h 1012031"/>
                <a:gd name="connsiteX68" fmla="*/ 261937 w 759618"/>
                <a:gd name="connsiteY68" fmla="*/ 142875 h 1012031"/>
                <a:gd name="connsiteX69" fmla="*/ 242887 w 759618"/>
                <a:gd name="connsiteY69" fmla="*/ 150019 h 1012031"/>
                <a:gd name="connsiteX70" fmla="*/ 257175 w 759618"/>
                <a:gd name="connsiteY70" fmla="*/ 178594 h 1012031"/>
                <a:gd name="connsiteX71" fmla="*/ 278606 w 759618"/>
                <a:gd name="connsiteY71" fmla="*/ 195263 h 1012031"/>
                <a:gd name="connsiteX72" fmla="*/ 307181 w 759618"/>
                <a:gd name="connsiteY72" fmla="*/ 228600 h 1012031"/>
                <a:gd name="connsiteX73" fmla="*/ 316706 w 759618"/>
                <a:gd name="connsiteY73" fmla="*/ 254794 h 1012031"/>
                <a:gd name="connsiteX74" fmla="*/ 316706 w 759618"/>
                <a:gd name="connsiteY74" fmla="*/ 254794 h 1012031"/>
                <a:gd name="connsiteX75" fmla="*/ 285750 w 759618"/>
                <a:gd name="connsiteY75" fmla="*/ 235744 h 1012031"/>
                <a:gd name="connsiteX76" fmla="*/ 238125 w 759618"/>
                <a:gd name="connsiteY76" fmla="*/ 221456 h 1012031"/>
                <a:gd name="connsiteX77" fmla="*/ 223837 w 759618"/>
                <a:gd name="connsiteY77" fmla="*/ 195263 h 1012031"/>
                <a:gd name="connsiteX78" fmla="*/ 204787 w 759618"/>
                <a:gd name="connsiteY78" fmla="*/ 166688 h 1012031"/>
                <a:gd name="connsiteX79" fmla="*/ 166687 w 759618"/>
                <a:gd name="connsiteY79" fmla="*/ 130969 h 1012031"/>
                <a:gd name="connsiteX80" fmla="*/ 166687 w 759618"/>
                <a:gd name="connsiteY80" fmla="*/ 157163 h 1012031"/>
                <a:gd name="connsiteX81" fmla="*/ 173831 w 759618"/>
                <a:gd name="connsiteY81" fmla="*/ 176213 h 1012031"/>
                <a:gd name="connsiteX82" fmla="*/ 171450 w 759618"/>
                <a:gd name="connsiteY82" fmla="*/ 188119 h 1012031"/>
                <a:gd name="connsiteX83" fmla="*/ 152400 w 759618"/>
                <a:gd name="connsiteY83" fmla="*/ 195263 h 1012031"/>
                <a:gd name="connsiteX84" fmla="*/ 128587 w 759618"/>
                <a:gd name="connsiteY84" fmla="*/ 190500 h 1012031"/>
                <a:gd name="connsiteX85" fmla="*/ 178593 w 759618"/>
                <a:gd name="connsiteY85" fmla="*/ 214313 h 1012031"/>
                <a:gd name="connsiteX86" fmla="*/ 188118 w 759618"/>
                <a:gd name="connsiteY86" fmla="*/ 228600 h 1012031"/>
                <a:gd name="connsiteX87" fmla="*/ 185737 w 759618"/>
                <a:gd name="connsiteY87" fmla="*/ 250031 h 1012031"/>
                <a:gd name="connsiteX88" fmla="*/ 157162 w 759618"/>
                <a:gd name="connsiteY88" fmla="*/ 228600 h 1012031"/>
                <a:gd name="connsiteX89" fmla="*/ 121443 w 759618"/>
                <a:gd name="connsiteY89" fmla="*/ 223838 h 1012031"/>
                <a:gd name="connsiteX90" fmla="*/ 97631 w 759618"/>
                <a:gd name="connsiteY90" fmla="*/ 211931 h 1012031"/>
                <a:gd name="connsiteX91" fmla="*/ 73818 w 759618"/>
                <a:gd name="connsiteY91" fmla="*/ 235744 h 1012031"/>
                <a:gd name="connsiteX92" fmla="*/ 73818 w 759618"/>
                <a:gd name="connsiteY92" fmla="*/ 257175 h 1012031"/>
                <a:gd name="connsiteX93" fmla="*/ 52387 w 759618"/>
                <a:gd name="connsiteY93" fmla="*/ 273844 h 1012031"/>
                <a:gd name="connsiteX94" fmla="*/ 35718 w 759618"/>
                <a:gd name="connsiteY94" fmla="*/ 254794 h 1012031"/>
                <a:gd name="connsiteX95" fmla="*/ 19050 w 759618"/>
                <a:gd name="connsiteY95" fmla="*/ 264319 h 1012031"/>
                <a:gd name="connsiteX96" fmla="*/ 0 w 759618"/>
                <a:gd name="connsiteY96" fmla="*/ 297656 h 1012031"/>
                <a:gd name="connsiteX97" fmla="*/ 26193 w 759618"/>
                <a:gd name="connsiteY97" fmla="*/ 283369 h 1012031"/>
                <a:gd name="connsiteX98" fmla="*/ 38100 w 759618"/>
                <a:gd name="connsiteY98" fmla="*/ 273844 h 1012031"/>
                <a:gd name="connsiteX99" fmla="*/ 52387 w 759618"/>
                <a:gd name="connsiteY99" fmla="*/ 288131 h 1012031"/>
                <a:gd name="connsiteX100" fmla="*/ 30956 w 759618"/>
                <a:gd name="connsiteY100" fmla="*/ 323850 h 1012031"/>
                <a:gd name="connsiteX101" fmla="*/ 69056 w 759618"/>
                <a:gd name="connsiteY101" fmla="*/ 300038 h 1012031"/>
                <a:gd name="connsiteX102" fmla="*/ 92868 w 759618"/>
                <a:gd name="connsiteY102" fmla="*/ 295275 h 1012031"/>
                <a:gd name="connsiteX103" fmla="*/ 114300 w 759618"/>
                <a:gd name="connsiteY103" fmla="*/ 300038 h 1012031"/>
                <a:gd name="connsiteX104" fmla="*/ 111918 w 759618"/>
                <a:gd name="connsiteY104" fmla="*/ 316706 h 1012031"/>
                <a:gd name="connsiteX105" fmla="*/ 92868 w 759618"/>
                <a:gd name="connsiteY105" fmla="*/ 311944 h 1012031"/>
                <a:gd name="connsiteX106" fmla="*/ 66675 w 759618"/>
                <a:gd name="connsiteY106" fmla="*/ 338138 h 1012031"/>
                <a:gd name="connsiteX107" fmla="*/ 69056 w 759618"/>
                <a:gd name="connsiteY107" fmla="*/ 359569 h 1012031"/>
                <a:gd name="connsiteX108" fmla="*/ 50006 w 759618"/>
                <a:gd name="connsiteY108" fmla="*/ 369094 h 1012031"/>
                <a:gd name="connsiteX109" fmla="*/ 59531 w 759618"/>
                <a:gd name="connsiteY109" fmla="*/ 385763 h 1012031"/>
                <a:gd name="connsiteX110" fmla="*/ 88106 w 759618"/>
                <a:gd name="connsiteY110" fmla="*/ 376238 h 1012031"/>
                <a:gd name="connsiteX111" fmla="*/ 116681 w 759618"/>
                <a:gd name="connsiteY111" fmla="*/ 378619 h 1012031"/>
                <a:gd name="connsiteX112" fmla="*/ 138112 w 759618"/>
                <a:gd name="connsiteY112" fmla="*/ 354806 h 1012031"/>
                <a:gd name="connsiteX113" fmla="*/ 164306 w 759618"/>
                <a:gd name="connsiteY113" fmla="*/ 335756 h 1012031"/>
                <a:gd name="connsiteX114" fmla="*/ 178593 w 759618"/>
                <a:gd name="connsiteY114" fmla="*/ 340519 h 1012031"/>
                <a:gd name="connsiteX115" fmla="*/ 157162 w 759618"/>
                <a:gd name="connsiteY115" fmla="*/ 366713 h 1012031"/>
                <a:gd name="connsiteX116" fmla="*/ 114300 w 759618"/>
                <a:gd name="connsiteY116" fmla="*/ 407194 h 1012031"/>
                <a:gd name="connsiteX117" fmla="*/ 73818 w 759618"/>
                <a:gd name="connsiteY117" fmla="*/ 411956 h 1012031"/>
                <a:gd name="connsiteX118" fmla="*/ 102393 w 759618"/>
                <a:gd name="connsiteY118" fmla="*/ 447675 h 1012031"/>
                <a:gd name="connsiteX119" fmla="*/ 133350 w 759618"/>
                <a:gd name="connsiteY119" fmla="*/ 419100 h 1012031"/>
                <a:gd name="connsiteX120" fmla="*/ 169068 w 759618"/>
                <a:gd name="connsiteY120" fmla="*/ 378619 h 1012031"/>
                <a:gd name="connsiteX121" fmla="*/ 209550 w 759618"/>
                <a:gd name="connsiteY121" fmla="*/ 371475 h 1012031"/>
                <a:gd name="connsiteX122" fmla="*/ 223837 w 759618"/>
                <a:gd name="connsiteY122" fmla="*/ 373856 h 1012031"/>
                <a:gd name="connsiteX123" fmla="*/ 183356 w 759618"/>
                <a:gd name="connsiteY123" fmla="*/ 402431 h 1012031"/>
                <a:gd name="connsiteX124" fmla="*/ 154781 w 759618"/>
                <a:gd name="connsiteY124" fmla="*/ 428625 h 1012031"/>
                <a:gd name="connsiteX125" fmla="*/ 147637 w 759618"/>
                <a:gd name="connsiteY125" fmla="*/ 454819 h 1012031"/>
                <a:gd name="connsiteX126" fmla="*/ 169068 w 759618"/>
                <a:gd name="connsiteY126" fmla="*/ 466725 h 1012031"/>
                <a:gd name="connsiteX127" fmla="*/ 197643 w 759618"/>
                <a:gd name="connsiteY127" fmla="*/ 454819 h 1012031"/>
                <a:gd name="connsiteX128" fmla="*/ 197643 w 759618"/>
                <a:gd name="connsiteY128" fmla="*/ 423863 h 1012031"/>
                <a:gd name="connsiteX129" fmla="*/ 211931 w 759618"/>
                <a:gd name="connsiteY129" fmla="*/ 411956 h 1012031"/>
                <a:gd name="connsiteX130" fmla="*/ 228600 w 759618"/>
                <a:gd name="connsiteY130" fmla="*/ 428625 h 1012031"/>
                <a:gd name="connsiteX131" fmla="*/ 254793 w 759618"/>
                <a:gd name="connsiteY131" fmla="*/ 423863 h 1012031"/>
                <a:gd name="connsiteX132" fmla="*/ 240506 w 759618"/>
                <a:gd name="connsiteY132" fmla="*/ 445294 h 1012031"/>
                <a:gd name="connsiteX133" fmla="*/ 216693 w 759618"/>
                <a:gd name="connsiteY133" fmla="*/ 452438 h 1012031"/>
                <a:gd name="connsiteX134" fmla="*/ 242887 w 759618"/>
                <a:gd name="connsiteY134" fmla="*/ 464344 h 1012031"/>
                <a:gd name="connsiteX135" fmla="*/ 304800 w 759618"/>
                <a:gd name="connsiteY135" fmla="*/ 411956 h 1012031"/>
                <a:gd name="connsiteX136" fmla="*/ 307181 w 759618"/>
                <a:gd name="connsiteY136" fmla="*/ 364331 h 1012031"/>
                <a:gd name="connsiteX137" fmla="*/ 378618 w 759618"/>
                <a:gd name="connsiteY137" fmla="*/ 311944 h 1012031"/>
                <a:gd name="connsiteX138" fmla="*/ 385762 w 759618"/>
                <a:gd name="connsiteY138" fmla="*/ 335756 h 1012031"/>
                <a:gd name="connsiteX139" fmla="*/ 357187 w 759618"/>
                <a:gd name="connsiteY139" fmla="*/ 359569 h 1012031"/>
                <a:gd name="connsiteX140" fmla="*/ 333375 w 759618"/>
                <a:gd name="connsiteY140" fmla="*/ 400050 h 1012031"/>
                <a:gd name="connsiteX141" fmla="*/ 333375 w 759618"/>
                <a:gd name="connsiteY141" fmla="*/ 414338 h 1012031"/>
                <a:gd name="connsiteX142" fmla="*/ 359568 w 759618"/>
                <a:gd name="connsiteY142" fmla="*/ 407194 h 1012031"/>
                <a:gd name="connsiteX143" fmla="*/ 381000 w 759618"/>
                <a:gd name="connsiteY143" fmla="*/ 414338 h 1012031"/>
                <a:gd name="connsiteX144" fmla="*/ 369093 w 759618"/>
                <a:gd name="connsiteY144" fmla="*/ 419100 h 1012031"/>
                <a:gd name="connsiteX145" fmla="*/ 338137 w 759618"/>
                <a:gd name="connsiteY145" fmla="*/ 428625 h 1012031"/>
                <a:gd name="connsiteX146" fmla="*/ 300037 w 759618"/>
                <a:gd name="connsiteY146" fmla="*/ 454819 h 1012031"/>
                <a:gd name="connsiteX147" fmla="*/ 345281 w 759618"/>
                <a:gd name="connsiteY147" fmla="*/ 461963 h 1012031"/>
                <a:gd name="connsiteX148" fmla="*/ 342900 w 759618"/>
                <a:gd name="connsiteY148" fmla="*/ 476250 h 1012031"/>
                <a:gd name="connsiteX149" fmla="*/ 292893 w 759618"/>
                <a:gd name="connsiteY149" fmla="*/ 478631 h 1012031"/>
                <a:gd name="connsiteX150" fmla="*/ 261937 w 759618"/>
                <a:gd name="connsiteY150" fmla="*/ 495300 h 1012031"/>
                <a:gd name="connsiteX151" fmla="*/ 228600 w 759618"/>
                <a:gd name="connsiteY151" fmla="*/ 504825 h 1012031"/>
                <a:gd name="connsiteX152" fmla="*/ 240506 w 759618"/>
                <a:gd name="connsiteY152" fmla="*/ 540544 h 1012031"/>
                <a:gd name="connsiteX153" fmla="*/ 257175 w 759618"/>
                <a:gd name="connsiteY153" fmla="*/ 557213 h 1012031"/>
                <a:gd name="connsiteX154" fmla="*/ 259556 w 759618"/>
                <a:gd name="connsiteY154" fmla="*/ 578644 h 1012031"/>
                <a:gd name="connsiteX155" fmla="*/ 290512 w 759618"/>
                <a:gd name="connsiteY155" fmla="*/ 585788 h 1012031"/>
                <a:gd name="connsiteX156" fmla="*/ 292893 w 759618"/>
                <a:gd name="connsiteY156" fmla="*/ 597694 h 1012031"/>
                <a:gd name="connsiteX157" fmla="*/ 273843 w 759618"/>
                <a:gd name="connsiteY157" fmla="*/ 616744 h 1012031"/>
                <a:gd name="connsiteX158" fmla="*/ 252412 w 759618"/>
                <a:gd name="connsiteY158" fmla="*/ 609600 h 1012031"/>
                <a:gd name="connsiteX159" fmla="*/ 235743 w 759618"/>
                <a:gd name="connsiteY159" fmla="*/ 607219 h 1012031"/>
                <a:gd name="connsiteX160" fmla="*/ 228600 w 759618"/>
                <a:gd name="connsiteY160" fmla="*/ 581025 h 1012031"/>
                <a:gd name="connsiteX161" fmla="*/ 204787 w 759618"/>
                <a:gd name="connsiteY161" fmla="*/ 547688 h 1012031"/>
                <a:gd name="connsiteX162" fmla="*/ 192881 w 759618"/>
                <a:gd name="connsiteY162" fmla="*/ 519113 h 1012031"/>
                <a:gd name="connsiteX163" fmla="*/ 166687 w 759618"/>
                <a:gd name="connsiteY163" fmla="*/ 507206 h 1012031"/>
                <a:gd name="connsiteX164" fmla="*/ 130968 w 759618"/>
                <a:gd name="connsiteY164" fmla="*/ 495300 h 1012031"/>
                <a:gd name="connsiteX165" fmla="*/ 135731 w 759618"/>
                <a:gd name="connsiteY165" fmla="*/ 535781 h 1012031"/>
                <a:gd name="connsiteX166" fmla="*/ 171450 w 759618"/>
                <a:gd name="connsiteY166" fmla="*/ 554831 h 1012031"/>
                <a:gd name="connsiteX167" fmla="*/ 164306 w 759618"/>
                <a:gd name="connsiteY167" fmla="*/ 569119 h 1012031"/>
                <a:gd name="connsiteX168" fmla="*/ 138112 w 759618"/>
                <a:gd name="connsiteY168" fmla="*/ 554831 h 1012031"/>
                <a:gd name="connsiteX169" fmla="*/ 173831 w 759618"/>
                <a:gd name="connsiteY169" fmla="*/ 595313 h 1012031"/>
                <a:gd name="connsiteX170" fmla="*/ 188118 w 759618"/>
                <a:gd name="connsiteY170" fmla="*/ 621506 h 1012031"/>
                <a:gd name="connsiteX171" fmla="*/ 197643 w 759618"/>
                <a:gd name="connsiteY171" fmla="*/ 642938 h 1012031"/>
                <a:gd name="connsiteX172" fmla="*/ 207168 w 759618"/>
                <a:gd name="connsiteY172" fmla="*/ 659606 h 1012031"/>
                <a:gd name="connsiteX173" fmla="*/ 207168 w 759618"/>
                <a:gd name="connsiteY173" fmla="*/ 659606 h 1012031"/>
                <a:gd name="connsiteX174" fmla="*/ 176212 w 759618"/>
                <a:gd name="connsiteY174" fmla="*/ 664369 h 1012031"/>
                <a:gd name="connsiteX175" fmla="*/ 200025 w 759618"/>
                <a:gd name="connsiteY175" fmla="*/ 681038 h 1012031"/>
                <a:gd name="connsiteX176" fmla="*/ 228600 w 759618"/>
                <a:gd name="connsiteY176" fmla="*/ 690563 h 1012031"/>
                <a:gd name="connsiteX177" fmla="*/ 242887 w 759618"/>
                <a:gd name="connsiteY177" fmla="*/ 685800 h 1012031"/>
                <a:gd name="connsiteX178" fmla="*/ 252412 w 759618"/>
                <a:gd name="connsiteY178" fmla="*/ 678656 h 1012031"/>
                <a:gd name="connsiteX179" fmla="*/ 264318 w 759618"/>
                <a:gd name="connsiteY179" fmla="*/ 704850 h 1012031"/>
                <a:gd name="connsiteX180" fmla="*/ 252412 w 759618"/>
                <a:gd name="connsiteY180" fmla="*/ 719138 h 1012031"/>
                <a:gd name="connsiteX181" fmla="*/ 235743 w 759618"/>
                <a:gd name="connsiteY181" fmla="*/ 745331 h 1012031"/>
                <a:gd name="connsiteX182" fmla="*/ 209550 w 759618"/>
                <a:gd name="connsiteY182" fmla="*/ 716756 h 1012031"/>
                <a:gd name="connsiteX183" fmla="*/ 185737 w 759618"/>
                <a:gd name="connsiteY183" fmla="*/ 704850 h 1012031"/>
                <a:gd name="connsiteX184" fmla="*/ 147637 w 759618"/>
                <a:gd name="connsiteY184" fmla="*/ 707231 h 1012031"/>
                <a:gd name="connsiteX185" fmla="*/ 135731 w 759618"/>
                <a:gd name="connsiteY185" fmla="*/ 716756 h 1012031"/>
                <a:gd name="connsiteX186" fmla="*/ 123825 w 759618"/>
                <a:gd name="connsiteY186" fmla="*/ 735806 h 1012031"/>
                <a:gd name="connsiteX187" fmla="*/ 114300 w 759618"/>
                <a:gd name="connsiteY187" fmla="*/ 766763 h 1012031"/>
                <a:gd name="connsiteX188" fmla="*/ 126206 w 759618"/>
                <a:gd name="connsiteY188" fmla="*/ 781050 h 1012031"/>
                <a:gd name="connsiteX189" fmla="*/ 145256 w 759618"/>
                <a:gd name="connsiteY189" fmla="*/ 757238 h 1012031"/>
                <a:gd name="connsiteX190" fmla="*/ 145256 w 759618"/>
                <a:gd name="connsiteY190" fmla="*/ 757238 h 1012031"/>
                <a:gd name="connsiteX191" fmla="*/ 152400 w 759618"/>
                <a:gd name="connsiteY191" fmla="*/ 778669 h 1012031"/>
                <a:gd name="connsiteX192" fmla="*/ 142875 w 759618"/>
                <a:gd name="connsiteY192" fmla="*/ 790575 h 1012031"/>
                <a:gd name="connsiteX193" fmla="*/ 173831 w 759618"/>
                <a:gd name="connsiteY193" fmla="*/ 776288 h 1012031"/>
                <a:gd name="connsiteX194" fmla="*/ 169068 w 759618"/>
                <a:gd name="connsiteY194" fmla="*/ 752475 h 1012031"/>
                <a:gd name="connsiteX195" fmla="*/ 183356 w 759618"/>
                <a:gd name="connsiteY195" fmla="*/ 747713 h 1012031"/>
                <a:gd name="connsiteX196" fmla="*/ 183356 w 759618"/>
                <a:gd name="connsiteY196" fmla="*/ 766763 h 1012031"/>
                <a:gd name="connsiteX197" fmla="*/ 188118 w 759618"/>
                <a:gd name="connsiteY197" fmla="*/ 778669 h 1012031"/>
                <a:gd name="connsiteX198" fmla="*/ 200025 w 759618"/>
                <a:gd name="connsiteY198" fmla="*/ 783431 h 1012031"/>
                <a:gd name="connsiteX199" fmla="*/ 197643 w 759618"/>
                <a:gd name="connsiteY199" fmla="*/ 797719 h 1012031"/>
                <a:gd name="connsiteX200" fmla="*/ 178593 w 759618"/>
                <a:gd name="connsiteY200" fmla="*/ 802481 h 1012031"/>
                <a:gd name="connsiteX201" fmla="*/ 166687 w 759618"/>
                <a:gd name="connsiteY201" fmla="*/ 812006 h 1012031"/>
                <a:gd name="connsiteX202" fmla="*/ 180975 w 759618"/>
                <a:gd name="connsiteY202" fmla="*/ 816769 h 1012031"/>
                <a:gd name="connsiteX203" fmla="*/ 173831 w 759618"/>
                <a:gd name="connsiteY203" fmla="*/ 838200 h 1012031"/>
                <a:gd name="connsiteX204" fmla="*/ 190500 w 759618"/>
                <a:gd name="connsiteY204" fmla="*/ 842963 h 1012031"/>
                <a:gd name="connsiteX205" fmla="*/ 190500 w 759618"/>
                <a:gd name="connsiteY205" fmla="*/ 842963 h 1012031"/>
                <a:gd name="connsiteX206" fmla="*/ 226218 w 759618"/>
                <a:gd name="connsiteY206" fmla="*/ 814388 h 1012031"/>
                <a:gd name="connsiteX207" fmla="*/ 230981 w 759618"/>
                <a:gd name="connsiteY207" fmla="*/ 795338 h 1012031"/>
                <a:gd name="connsiteX208" fmla="*/ 247650 w 759618"/>
                <a:gd name="connsiteY208" fmla="*/ 804863 h 1012031"/>
                <a:gd name="connsiteX209" fmla="*/ 228600 w 759618"/>
                <a:gd name="connsiteY209" fmla="*/ 842963 h 1012031"/>
                <a:gd name="connsiteX210" fmla="*/ 204787 w 759618"/>
                <a:gd name="connsiteY210" fmla="*/ 869156 h 1012031"/>
                <a:gd name="connsiteX211" fmla="*/ 192881 w 759618"/>
                <a:gd name="connsiteY211" fmla="*/ 873919 h 1012031"/>
                <a:gd name="connsiteX212" fmla="*/ 171450 w 759618"/>
                <a:gd name="connsiteY212" fmla="*/ 888206 h 1012031"/>
                <a:gd name="connsiteX213" fmla="*/ 142875 w 759618"/>
                <a:gd name="connsiteY213" fmla="*/ 859631 h 1012031"/>
                <a:gd name="connsiteX214" fmla="*/ 126206 w 759618"/>
                <a:gd name="connsiteY214" fmla="*/ 831056 h 1012031"/>
                <a:gd name="connsiteX215" fmla="*/ 104775 w 759618"/>
                <a:gd name="connsiteY215" fmla="*/ 828675 h 1012031"/>
                <a:gd name="connsiteX216" fmla="*/ 85725 w 759618"/>
                <a:gd name="connsiteY216" fmla="*/ 845344 h 1012031"/>
                <a:gd name="connsiteX217" fmla="*/ 100012 w 759618"/>
                <a:gd name="connsiteY217" fmla="*/ 864394 h 1012031"/>
                <a:gd name="connsiteX218" fmla="*/ 111918 w 759618"/>
                <a:gd name="connsiteY218" fmla="*/ 878681 h 1012031"/>
                <a:gd name="connsiteX219" fmla="*/ 123825 w 759618"/>
                <a:gd name="connsiteY219" fmla="*/ 888206 h 1012031"/>
                <a:gd name="connsiteX220" fmla="*/ 133350 w 759618"/>
                <a:gd name="connsiteY220" fmla="*/ 909638 h 1012031"/>
                <a:gd name="connsiteX221" fmla="*/ 109537 w 759618"/>
                <a:gd name="connsiteY221" fmla="*/ 921544 h 1012031"/>
                <a:gd name="connsiteX222" fmla="*/ 90487 w 759618"/>
                <a:gd name="connsiteY222" fmla="*/ 909638 h 1012031"/>
                <a:gd name="connsiteX223" fmla="*/ 71437 w 759618"/>
                <a:gd name="connsiteY223" fmla="*/ 935831 h 1012031"/>
                <a:gd name="connsiteX224" fmla="*/ 61912 w 759618"/>
                <a:gd name="connsiteY224" fmla="*/ 971550 h 1012031"/>
                <a:gd name="connsiteX225" fmla="*/ 80962 w 759618"/>
                <a:gd name="connsiteY225" fmla="*/ 954881 h 1012031"/>
                <a:gd name="connsiteX226" fmla="*/ 95250 w 759618"/>
                <a:gd name="connsiteY226" fmla="*/ 978694 h 1012031"/>
                <a:gd name="connsiteX227" fmla="*/ 109537 w 759618"/>
                <a:gd name="connsiteY227" fmla="*/ 964406 h 1012031"/>
                <a:gd name="connsiteX228" fmla="*/ 119062 w 759618"/>
                <a:gd name="connsiteY228" fmla="*/ 981075 h 1012031"/>
                <a:gd name="connsiteX229" fmla="*/ 126206 w 759618"/>
                <a:gd name="connsiteY229" fmla="*/ 959644 h 1012031"/>
                <a:gd name="connsiteX230" fmla="*/ 145256 w 759618"/>
                <a:gd name="connsiteY230" fmla="*/ 985838 h 1012031"/>
                <a:gd name="connsiteX231" fmla="*/ 169068 w 759618"/>
                <a:gd name="connsiteY231" fmla="*/ 1004888 h 1012031"/>
                <a:gd name="connsiteX232" fmla="*/ 161925 w 759618"/>
                <a:gd name="connsiteY232" fmla="*/ 978694 h 1012031"/>
                <a:gd name="connsiteX233" fmla="*/ 171450 w 759618"/>
                <a:gd name="connsiteY233" fmla="*/ 964406 h 1012031"/>
                <a:gd name="connsiteX234" fmla="*/ 180975 w 759618"/>
                <a:gd name="connsiteY234" fmla="*/ 973931 h 1012031"/>
                <a:gd name="connsiteX235" fmla="*/ 188118 w 759618"/>
                <a:gd name="connsiteY235" fmla="*/ 962025 h 1012031"/>
                <a:gd name="connsiteX236" fmla="*/ 197643 w 759618"/>
                <a:gd name="connsiteY236" fmla="*/ 981075 h 1012031"/>
                <a:gd name="connsiteX237" fmla="*/ 209550 w 759618"/>
                <a:gd name="connsiteY237" fmla="*/ 962025 h 1012031"/>
                <a:gd name="connsiteX238" fmla="*/ 228600 w 759618"/>
                <a:gd name="connsiteY238" fmla="*/ 983456 h 1012031"/>
                <a:gd name="connsiteX239" fmla="*/ 235743 w 759618"/>
                <a:gd name="connsiteY239" fmla="*/ 959644 h 1012031"/>
                <a:gd name="connsiteX240" fmla="*/ 254793 w 759618"/>
                <a:gd name="connsiteY240" fmla="*/ 973931 h 1012031"/>
                <a:gd name="connsiteX241" fmla="*/ 271462 w 759618"/>
                <a:gd name="connsiteY241" fmla="*/ 983456 h 1012031"/>
                <a:gd name="connsiteX242" fmla="*/ 278606 w 759618"/>
                <a:gd name="connsiteY242" fmla="*/ 1000125 h 1012031"/>
                <a:gd name="connsiteX243" fmla="*/ 269081 w 759618"/>
                <a:gd name="connsiteY243" fmla="*/ 1012031 h 1012031"/>
                <a:gd name="connsiteX244" fmla="*/ 316706 w 759618"/>
                <a:gd name="connsiteY244" fmla="*/ 976313 h 1012031"/>
                <a:gd name="connsiteX245" fmla="*/ 335756 w 759618"/>
                <a:gd name="connsiteY245" fmla="*/ 969169 h 1012031"/>
                <a:gd name="connsiteX246" fmla="*/ 342900 w 759618"/>
                <a:gd name="connsiteY246" fmla="*/ 950119 h 1012031"/>
                <a:gd name="connsiteX247" fmla="*/ 342900 w 759618"/>
                <a:gd name="connsiteY247" fmla="*/ 926306 h 1012031"/>
                <a:gd name="connsiteX248" fmla="*/ 321468 w 759618"/>
                <a:gd name="connsiteY248" fmla="*/ 935831 h 1012031"/>
                <a:gd name="connsiteX249" fmla="*/ 307181 w 759618"/>
                <a:gd name="connsiteY249" fmla="*/ 926306 h 1012031"/>
                <a:gd name="connsiteX250" fmla="*/ 307181 w 759618"/>
                <a:gd name="connsiteY250" fmla="*/ 900113 h 1012031"/>
                <a:gd name="connsiteX251" fmla="*/ 290512 w 759618"/>
                <a:gd name="connsiteY251" fmla="*/ 916781 h 1012031"/>
                <a:gd name="connsiteX252" fmla="*/ 269081 w 759618"/>
                <a:gd name="connsiteY252" fmla="*/ 892969 h 1012031"/>
                <a:gd name="connsiteX253" fmla="*/ 252412 w 759618"/>
                <a:gd name="connsiteY253" fmla="*/ 919163 h 1012031"/>
                <a:gd name="connsiteX254" fmla="*/ 233362 w 759618"/>
                <a:gd name="connsiteY254" fmla="*/ 902494 h 1012031"/>
                <a:gd name="connsiteX255" fmla="*/ 254793 w 759618"/>
                <a:gd name="connsiteY255" fmla="*/ 888206 h 1012031"/>
                <a:gd name="connsiteX256" fmla="*/ 254793 w 759618"/>
                <a:gd name="connsiteY256" fmla="*/ 862013 h 1012031"/>
                <a:gd name="connsiteX257" fmla="*/ 278606 w 759618"/>
                <a:gd name="connsiteY257" fmla="*/ 876300 h 1012031"/>
                <a:gd name="connsiteX258" fmla="*/ 307181 w 759618"/>
                <a:gd name="connsiteY258" fmla="*/ 885825 h 1012031"/>
                <a:gd name="connsiteX259" fmla="*/ 323850 w 759618"/>
                <a:gd name="connsiteY259" fmla="*/ 878681 h 1012031"/>
                <a:gd name="connsiteX260" fmla="*/ 338137 w 759618"/>
                <a:gd name="connsiteY260" fmla="*/ 869156 h 1012031"/>
                <a:gd name="connsiteX261" fmla="*/ 338137 w 759618"/>
                <a:gd name="connsiteY261" fmla="*/ 847725 h 1012031"/>
                <a:gd name="connsiteX262" fmla="*/ 335756 w 759618"/>
                <a:gd name="connsiteY262" fmla="*/ 823913 h 1012031"/>
                <a:gd name="connsiteX263" fmla="*/ 338137 w 759618"/>
                <a:gd name="connsiteY263" fmla="*/ 797719 h 1012031"/>
                <a:gd name="connsiteX264" fmla="*/ 364331 w 759618"/>
                <a:gd name="connsiteY264" fmla="*/ 814388 h 1012031"/>
                <a:gd name="connsiteX265" fmla="*/ 392906 w 759618"/>
                <a:gd name="connsiteY265" fmla="*/ 795338 h 1012031"/>
                <a:gd name="connsiteX266" fmla="*/ 373856 w 759618"/>
                <a:gd name="connsiteY266" fmla="*/ 783431 h 1012031"/>
                <a:gd name="connsiteX267" fmla="*/ 395287 w 759618"/>
                <a:gd name="connsiteY267" fmla="*/ 776288 h 1012031"/>
                <a:gd name="connsiteX268" fmla="*/ 407193 w 759618"/>
                <a:gd name="connsiteY268" fmla="*/ 762000 h 1012031"/>
                <a:gd name="connsiteX269" fmla="*/ 388143 w 759618"/>
                <a:gd name="connsiteY269" fmla="*/ 752475 h 1012031"/>
                <a:gd name="connsiteX270" fmla="*/ 404812 w 759618"/>
                <a:gd name="connsiteY270" fmla="*/ 738188 h 1012031"/>
                <a:gd name="connsiteX271" fmla="*/ 423862 w 759618"/>
                <a:gd name="connsiteY271" fmla="*/ 707231 h 1012031"/>
                <a:gd name="connsiteX272" fmla="*/ 383381 w 759618"/>
                <a:gd name="connsiteY272" fmla="*/ 697706 h 1012031"/>
                <a:gd name="connsiteX273" fmla="*/ 381000 w 759618"/>
                <a:gd name="connsiteY273" fmla="*/ 690563 h 1012031"/>
                <a:gd name="connsiteX274" fmla="*/ 350043 w 759618"/>
                <a:gd name="connsiteY274" fmla="*/ 690563 h 1012031"/>
                <a:gd name="connsiteX275" fmla="*/ 335756 w 759618"/>
                <a:gd name="connsiteY275" fmla="*/ 676275 h 1012031"/>
                <a:gd name="connsiteX276" fmla="*/ 354806 w 759618"/>
                <a:gd name="connsiteY276" fmla="*/ 654844 h 1012031"/>
                <a:gd name="connsiteX277" fmla="*/ 390525 w 759618"/>
                <a:gd name="connsiteY277" fmla="*/ 657225 h 1012031"/>
                <a:gd name="connsiteX278" fmla="*/ 416718 w 759618"/>
                <a:gd name="connsiteY278" fmla="*/ 683419 h 1012031"/>
                <a:gd name="connsiteX279" fmla="*/ 428625 w 759618"/>
                <a:gd name="connsiteY279" fmla="*/ 647700 h 1012031"/>
                <a:gd name="connsiteX280" fmla="*/ 397668 w 759618"/>
                <a:gd name="connsiteY280" fmla="*/ 640556 h 1012031"/>
                <a:gd name="connsiteX281" fmla="*/ 359568 w 759618"/>
                <a:gd name="connsiteY281" fmla="*/ 631031 h 1012031"/>
                <a:gd name="connsiteX282" fmla="*/ 371475 w 759618"/>
                <a:gd name="connsiteY282" fmla="*/ 619125 h 1012031"/>
                <a:gd name="connsiteX283" fmla="*/ 395287 w 759618"/>
                <a:gd name="connsiteY283" fmla="*/ 616744 h 1012031"/>
                <a:gd name="connsiteX284" fmla="*/ 416718 w 759618"/>
                <a:gd name="connsiteY284" fmla="*/ 628650 h 1012031"/>
                <a:gd name="connsiteX285" fmla="*/ 442912 w 759618"/>
                <a:gd name="connsiteY285" fmla="*/ 607219 h 1012031"/>
                <a:gd name="connsiteX286" fmla="*/ 452437 w 759618"/>
                <a:gd name="connsiteY286" fmla="*/ 592931 h 1012031"/>
                <a:gd name="connsiteX287" fmla="*/ 428625 w 759618"/>
                <a:gd name="connsiteY287" fmla="*/ 576263 h 1012031"/>
                <a:gd name="connsiteX288" fmla="*/ 440531 w 759618"/>
                <a:gd name="connsiteY288" fmla="*/ 564356 h 1012031"/>
                <a:gd name="connsiteX289" fmla="*/ 464343 w 759618"/>
                <a:gd name="connsiteY289" fmla="*/ 578644 h 1012031"/>
                <a:gd name="connsiteX290" fmla="*/ 497681 w 759618"/>
                <a:gd name="connsiteY290" fmla="*/ 590550 h 1012031"/>
                <a:gd name="connsiteX291" fmla="*/ 511968 w 759618"/>
                <a:gd name="connsiteY291" fmla="*/ 557213 h 1012031"/>
                <a:gd name="connsiteX292" fmla="*/ 526256 w 759618"/>
                <a:gd name="connsiteY292" fmla="*/ 528638 h 1012031"/>
                <a:gd name="connsiteX293" fmla="*/ 502443 w 759618"/>
                <a:gd name="connsiteY293" fmla="*/ 531019 h 1012031"/>
                <a:gd name="connsiteX294" fmla="*/ 488156 w 759618"/>
                <a:gd name="connsiteY294" fmla="*/ 519113 h 1012031"/>
                <a:gd name="connsiteX295" fmla="*/ 542924 w 759618"/>
                <a:gd name="connsiteY295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616743 w 759618"/>
                <a:gd name="connsiteY2" fmla="*/ 383381 h 1012031"/>
                <a:gd name="connsiteX3" fmla="*/ 545306 w 759618"/>
                <a:gd name="connsiteY3" fmla="*/ 428625 h 1012031"/>
                <a:gd name="connsiteX4" fmla="*/ 626268 w 759618"/>
                <a:gd name="connsiteY4" fmla="*/ 357188 h 1012031"/>
                <a:gd name="connsiteX5" fmla="*/ 678656 w 759618"/>
                <a:gd name="connsiteY5" fmla="*/ 307181 h 1012031"/>
                <a:gd name="connsiteX6" fmla="*/ 600075 w 759618"/>
                <a:gd name="connsiteY6" fmla="*/ 335756 h 1012031"/>
                <a:gd name="connsiteX7" fmla="*/ 554831 w 759618"/>
                <a:gd name="connsiteY7" fmla="*/ 373856 h 1012031"/>
                <a:gd name="connsiteX8" fmla="*/ 535781 w 759618"/>
                <a:gd name="connsiteY8" fmla="*/ 369094 h 1012031"/>
                <a:gd name="connsiteX9" fmla="*/ 597693 w 759618"/>
                <a:gd name="connsiteY9" fmla="*/ 309563 h 1012031"/>
                <a:gd name="connsiteX10" fmla="*/ 573881 w 759618"/>
                <a:gd name="connsiteY10" fmla="*/ 288131 h 1012031"/>
                <a:gd name="connsiteX11" fmla="*/ 561975 w 759618"/>
                <a:gd name="connsiteY11" fmla="*/ 261938 h 1012031"/>
                <a:gd name="connsiteX12" fmla="*/ 614362 w 759618"/>
                <a:gd name="connsiteY12" fmla="*/ 292894 h 1012031"/>
                <a:gd name="connsiteX13" fmla="*/ 650081 w 759618"/>
                <a:gd name="connsiteY13" fmla="*/ 290513 h 1012031"/>
                <a:gd name="connsiteX14" fmla="*/ 650081 w 759618"/>
                <a:gd name="connsiteY14" fmla="*/ 273844 h 1012031"/>
                <a:gd name="connsiteX15" fmla="*/ 678656 w 759618"/>
                <a:gd name="connsiteY15" fmla="*/ 271463 h 1012031"/>
                <a:gd name="connsiteX16" fmla="*/ 721518 w 759618"/>
                <a:gd name="connsiteY16" fmla="*/ 221456 h 1012031"/>
                <a:gd name="connsiteX17" fmla="*/ 759618 w 759618"/>
                <a:gd name="connsiteY17" fmla="*/ 150019 h 1012031"/>
                <a:gd name="connsiteX18" fmla="*/ 738187 w 759618"/>
                <a:gd name="connsiteY18" fmla="*/ 126206 h 1012031"/>
                <a:gd name="connsiteX19" fmla="*/ 704850 w 759618"/>
                <a:gd name="connsiteY19" fmla="*/ 121444 h 1012031"/>
                <a:gd name="connsiteX20" fmla="*/ 692943 w 759618"/>
                <a:gd name="connsiteY20" fmla="*/ 73819 h 1012031"/>
                <a:gd name="connsiteX21" fmla="*/ 669131 w 759618"/>
                <a:gd name="connsiteY21" fmla="*/ 59531 h 1012031"/>
                <a:gd name="connsiteX22" fmla="*/ 628650 w 759618"/>
                <a:gd name="connsiteY22" fmla="*/ 78581 h 1012031"/>
                <a:gd name="connsiteX23" fmla="*/ 614362 w 759618"/>
                <a:gd name="connsiteY23" fmla="*/ 102394 h 1012031"/>
                <a:gd name="connsiteX24" fmla="*/ 588168 w 759618"/>
                <a:gd name="connsiteY24" fmla="*/ 114300 h 1012031"/>
                <a:gd name="connsiteX25" fmla="*/ 576262 w 759618"/>
                <a:gd name="connsiteY25" fmla="*/ 107156 h 1012031"/>
                <a:gd name="connsiteX26" fmla="*/ 592931 w 759618"/>
                <a:gd name="connsiteY26" fmla="*/ 85725 h 1012031"/>
                <a:gd name="connsiteX27" fmla="*/ 621506 w 759618"/>
                <a:gd name="connsiteY27" fmla="*/ 50006 h 1012031"/>
                <a:gd name="connsiteX28" fmla="*/ 585787 w 759618"/>
                <a:gd name="connsiteY28" fmla="*/ 33338 h 1012031"/>
                <a:gd name="connsiteX29" fmla="*/ 557212 w 759618"/>
                <a:gd name="connsiteY29" fmla="*/ 38100 h 1012031"/>
                <a:gd name="connsiteX30" fmla="*/ 540543 w 759618"/>
                <a:gd name="connsiteY30" fmla="*/ 16669 h 1012031"/>
                <a:gd name="connsiteX31" fmla="*/ 526256 w 759618"/>
                <a:gd name="connsiteY31" fmla="*/ 16669 h 1012031"/>
                <a:gd name="connsiteX32" fmla="*/ 519112 w 759618"/>
                <a:gd name="connsiteY32" fmla="*/ 28575 h 1012031"/>
                <a:gd name="connsiteX33" fmla="*/ 533400 w 759618"/>
                <a:gd name="connsiteY33" fmla="*/ 61913 h 1012031"/>
                <a:gd name="connsiteX34" fmla="*/ 519112 w 759618"/>
                <a:gd name="connsiteY34" fmla="*/ 69056 h 1012031"/>
                <a:gd name="connsiteX35" fmla="*/ 500062 w 759618"/>
                <a:gd name="connsiteY35" fmla="*/ 33338 h 1012031"/>
                <a:gd name="connsiteX36" fmla="*/ 495300 w 759618"/>
                <a:gd name="connsiteY36" fmla="*/ 0 h 1012031"/>
                <a:gd name="connsiteX37" fmla="*/ 466725 w 759618"/>
                <a:gd name="connsiteY37" fmla="*/ 40481 h 1012031"/>
                <a:gd name="connsiteX38" fmla="*/ 466725 w 759618"/>
                <a:gd name="connsiteY38" fmla="*/ 61913 h 1012031"/>
                <a:gd name="connsiteX39" fmla="*/ 490537 w 759618"/>
                <a:gd name="connsiteY39" fmla="*/ 80963 h 1012031"/>
                <a:gd name="connsiteX40" fmla="*/ 490537 w 759618"/>
                <a:gd name="connsiteY40" fmla="*/ 100013 h 1012031"/>
                <a:gd name="connsiteX41" fmla="*/ 464343 w 759618"/>
                <a:gd name="connsiteY41" fmla="*/ 95250 h 1012031"/>
                <a:gd name="connsiteX42" fmla="*/ 442912 w 759618"/>
                <a:gd name="connsiteY42" fmla="*/ 64294 h 1012031"/>
                <a:gd name="connsiteX43" fmla="*/ 433387 w 759618"/>
                <a:gd name="connsiteY43" fmla="*/ 40481 h 1012031"/>
                <a:gd name="connsiteX44" fmla="*/ 414337 w 759618"/>
                <a:gd name="connsiteY44" fmla="*/ 33338 h 1012031"/>
                <a:gd name="connsiteX45" fmla="*/ 383381 w 759618"/>
                <a:gd name="connsiteY45" fmla="*/ 38100 h 1012031"/>
                <a:gd name="connsiteX46" fmla="*/ 376237 w 759618"/>
                <a:gd name="connsiteY46" fmla="*/ 42863 h 1012031"/>
                <a:gd name="connsiteX47" fmla="*/ 378618 w 759618"/>
                <a:gd name="connsiteY47" fmla="*/ 69056 h 1012031"/>
                <a:gd name="connsiteX48" fmla="*/ 402431 w 759618"/>
                <a:gd name="connsiteY48" fmla="*/ 88106 h 1012031"/>
                <a:gd name="connsiteX49" fmla="*/ 416718 w 759618"/>
                <a:gd name="connsiteY49" fmla="*/ 109538 h 1012031"/>
                <a:gd name="connsiteX50" fmla="*/ 402431 w 759618"/>
                <a:gd name="connsiteY50" fmla="*/ 145256 h 1012031"/>
                <a:gd name="connsiteX51" fmla="*/ 385762 w 759618"/>
                <a:gd name="connsiteY51" fmla="*/ 135731 h 1012031"/>
                <a:gd name="connsiteX52" fmla="*/ 381000 w 759618"/>
                <a:gd name="connsiteY52" fmla="*/ 104775 h 1012031"/>
                <a:gd name="connsiteX53" fmla="*/ 352425 w 759618"/>
                <a:gd name="connsiteY53" fmla="*/ 59531 h 1012031"/>
                <a:gd name="connsiteX54" fmla="*/ 333375 w 759618"/>
                <a:gd name="connsiteY54" fmla="*/ 69056 h 1012031"/>
                <a:gd name="connsiteX55" fmla="*/ 323850 w 759618"/>
                <a:gd name="connsiteY55" fmla="*/ 50006 h 1012031"/>
                <a:gd name="connsiteX56" fmla="*/ 302418 w 759618"/>
                <a:gd name="connsiteY56" fmla="*/ 42863 h 1012031"/>
                <a:gd name="connsiteX57" fmla="*/ 290512 w 759618"/>
                <a:gd name="connsiteY57" fmla="*/ 64294 h 1012031"/>
                <a:gd name="connsiteX58" fmla="*/ 304800 w 759618"/>
                <a:gd name="connsiteY58" fmla="*/ 76200 h 1012031"/>
                <a:gd name="connsiteX59" fmla="*/ 323850 w 759618"/>
                <a:gd name="connsiteY59" fmla="*/ 92869 h 1012031"/>
                <a:gd name="connsiteX60" fmla="*/ 335756 w 759618"/>
                <a:gd name="connsiteY60" fmla="*/ 100013 h 1012031"/>
                <a:gd name="connsiteX61" fmla="*/ 328612 w 759618"/>
                <a:gd name="connsiteY61" fmla="*/ 111919 h 1012031"/>
                <a:gd name="connsiteX62" fmla="*/ 307181 w 759618"/>
                <a:gd name="connsiteY62" fmla="*/ 100013 h 1012031"/>
                <a:gd name="connsiteX63" fmla="*/ 264318 w 759618"/>
                <a:gd name="connsiteY63" fmla="*/ 76200 h 1012031"/>
                <a:gd name="connsiteX64" fmla="*/ 280987 w 759618"/>
                <a:gd name="connsiteY64" fmla="*/ 114300 h 1012031"/>
                <a:gd name="connsiteX65" fmla="*/ 292893 w 759618"/>
                <a:gd name="connsiteY65" fmla="*/ 130969 h 1012031"/>
                <a:gd name="connsiteX66" fmla="*/ 280987 w 759618"/>
                <a:gd name="connsiteY66" fmla="*/ 140494 h 1012031"/>
                <a:gd name="connsiteX67" fmla="*/ 247650 w 759618"/>
                <a:gd name="connsiteY67" fmla="*/ 100013 h 1012031"/>
                <a:gd name="connsiteX68" fmla="*/ 261937 w 759618"/>
                <a:gd name="connsiteY68" fmla="*/ 142875 h 1012031"/>
                <a:gd name="connsiteX69" fmla="*/ 242887 w 759618"/>
                <a:gd name="connsiteY69" fmla="*/ 150019 h 1012031"/>
                <a:gd name="connsiteX70" fmla="*/ 257175 w 759618"/>
                <a:gd name="connsiteY70" fmla="*/ 178594 h 1012031"/>
                <a:gd name="connsiteX71" fmla="*/ 278606 w 759618"/>
                <a:gd name="connsiteY71" fmla="*/ 195263 h 1012031"/>
                <a:gd name="connsiteX72" fmla="*/ 307181 w 759618"/>
                <a:gd name="connsiteY72" fmla="*/ 228600 h 1012031"/>
                <a:gd name="connsiteX73" fmla="*/ 316706 w 759618"/>
                <a:gd name="connsiteY73" fmla="*/ 254794 h 1012031"/>
                <a:gd name="connsiteX74" fmla="*/ 316706 w 759618"/>
                <a:gd name="connsiteY74" fmla="*/ 254794 h 1012031"/>
                <a:gd name="connsiteX75" fmla="*/ 285750 w 759618"/>
                <a:gd name="connsiteY75" fmla="*/ 235744 h 1012031"/>
                <a:gd name="connsiteX76" fmla="*/ 238125 w 759618"/>
                <a:gd name="connsiteY76" fmla="*/ 221456 h 1012031"/>
                <a:gd name="connsiteX77" fmla="*/ 223837 w 759618"/>
                <a:gd name="connsiteY77" fmla="*/ 195263 h 1012031"/>
                <a:gd name="connsiteX78" fmla="*/ 204787 w 759618"/>
                <a:gd name="connsiteY78" fmla="*/ 166688 h 1012031"/>
                <a:gd name="connsiteX79" fmla="*/ 166687 w 759618"/>
                <a:gd name="connsiteY79" fmla="*/ 130969 h 1012031"/>
                <a:gd name="connsiteX80" fmla="*/ 166687 w 759618"/>
                <a:gd name="connsiteY80" fmla="*/ 157163 h 1012031"/>
                <a:gd name="connsiteX81" fmla="*/ 173831 w 759618"/>
                <a:gd name="connsiteY81" fmla="*/ 176213 h 1012031"/>
                <a:gd name="connsiteX82" fmla="*/ 171450 w 759618"/>
                <a:gd name="connsiteY82" fmla="*/ 188119 h 1012031"/>
                <a:gd name="connsiteX83" fmla="*/ 152400 w 759618"/>
                <a:gd name="connsiteY83" fmla="*/ 195263 h 1012031"/>
                <a:gd name="connsiteX84" fmla="*/ 128587 w 759618"/>
                <a:gd name="connsiteY84" fmla="*/ 190500 h 1012031"/>
                <a:gd name="connsiteX85" fmla="*/ 178593 w 759618"/>
                <a:gd name="connsiteY85" fmla="*/ 214313 h 1012031"/>
                <a:gd name="connsiteX86" fmla="*/ 188118 w 759618"/>
                <a:gd name="connsiteY86" fmla="*/ 228600 h 1012031"/>
                <a:gd name="connsiteX87" fmla="*/ 185737 w 759618"/>
                <a:gd name="connsiteY87" fmla="*/ 250031 h 1012031"/>
                <a:gd name="connsiteX88" fmla="*/ 157162 w 759618"/>
                <a:gd name="connsiteY88" fmla="*/ 228600 h 1012031"/>
                <a:gd name="connsiteX89" fmla="*/ 121443 w 759618"/>
                <a:gd name="connsiteY89" fmla="*/ 223838 h 1012031"/>
                <a:gd name="connsiteX90" fmla="*/ 97631 w 759618"/>
                <a:gd name="connsiteY90" fmla="*/ 211931 h 1012031"/>
                <a:gd name="connsiteX91" fmla="*/ 73818 w 759618"/>
                <a:gd name="connsiteY91" fmla="*/ 235744 h 1012031"/>
                <a:gd name="connsiteX92" fmla="*/ 73818 w 759618"/>
                <a:gd name="connsiteY92" fmla="*/ 257175 h 1012031"/>
                <a:gd name="connsiteX93" fmla="*/ 52387 w 759618"/>
                <a:gd name="connsiteY93" fmla="*/ 273844 h 1012031"/>
                <a:gd name="connsiteX94" fmla="*/ 35718 w 759618"/>
                <a:gd name="connsiteY94" fmla="*/ 254794 h 1012031"/>
                <a:gd name="connsiteX95" fmla="*/ 19050 w 759618"/>
                <a:gd name="connsiteY95" fmla="*/ 264319 h 1012031"/>
                <a:gd name="connsiteX96" fmla="*/ 0 w 759618"/>
                <a:gd name="connsiteY96" fmla="*/ 297656 h 1012031"/>
                <a:gd name="connsiteX97" fmla="*/ 26193 w 759618"/>
                <a:gd name="connsiteY97" fmla="*/ 283369 h 1012031"/>
                <a:gd name="connsiteX98" fmla="*/ 38100 w 759618"/>
                <a:gd name="connsiteY98" fmla="*/ 273844 h 1012031"/>
                <a:gd name="connsiteX99" fmla="*/ 52387 w 759618"/>
                <a:gd name="connsiteY99" fmla="*/ 288131 h 1012031"/>
                <a:gd name="connsiteX100" fmla="*/ 30956 w 759618"/>
                <a:gd name="connsiteY100" fmla="*/ 323850 h 1012031"/>
                <a:gd name="connsiteX101" fmla="*/ 69056 w 759618"/>
                <a:gd name="connsiteY101" fmla="*/ 300038 h 1012031"/>
                <a:gd name="connsiteX102" fmla="*/ 92868 w 759618"/>
                <a:gd name="connsiteY102" fmla="*/ 295275 h 1012031"/>
                <a:gd name="connsiteX103" fmla="*/ 114300 w 759618"/>
                <a:gd name="connsiteY103" fmla="*/ 300038 h 1012031"/>
                <a:gd name="connsiteX104" fmla="*/ 111918 w 759618"/>
                <a:gd name="connsiteY104" fmla="*/ 316706 h 1012031"/>
                <a:gd name="connsiteX105" fmla="*/ 92868 w 759618"/>
                <a:gd name="connsiteY105" fmla="*/ 311944 h 1012031"/>
                <a:gd name="connsiteX106" fmla="*/ 66675 w 759618"/>
                <a:gd name="connsiteY106" fmla="*/ 338138 h 1012031"/>
                <a:gd name="connsiteX107" fmla="*/ 69056 w 759618"/>
                <a:gd name="connsiteY107" fmla="*/ 359569 h 1012031"/>
                <a:gd name="connsiteX108" fmla="*/ 50006 w 759618"/>
                <a:gd name="connsiteY108" fmla="*/ 369094 h 1012031"/>
                <a:gd name="connsiteX109" fmla="*/ 59531 w 759618"/>
                <a:gd name="connsiteY109" fmla="*/ 385763 h 1012031"/>
                <a:gd name="connsiteX110" fmla="*/ 88106 w 759618"/>
                <a:gd name="connsiteY110" fmla="*/ 376238 h 1012031"/>
                <a:gd name="connsiteX111" fmla="*/ 116681 w 759618"/>
                <a:gd name="connsiteY111" fmla="*/ 378619 h 1012031"/>
                <a:gd name="connsiteX112" fmla="*/ 138112 w 759618"/>
                <a:gd name="connsiteY112" fmla="*/ 354806 h 1012031"/>
                <a:gd name="connsiteX113" fmla="*/ 164306 w 759618"/>
                <a:gd name="connsiteY113" fmla="*/ 335756 h 1012031"/>
                <a:gd name="connsiteX114" fmla="*/ 178593 w 759618"/>
                <a:gd name="connsiteY114" fmla="*/ 340519 h 1012031"/>
                <a:gd name="connsiteX115" fmla="*/ 157162 w 759618"/>
                <a:gd name="connsiteY115" fmla="*/ 366713 h 1012031"/>
                <a:gd name="connsiteX116" fmla="*/ 114300 w 759618"/>
                <a:gd name="connsiteY116" fmla="*/ 407194 h 1012031"/>
                <a:gd name="connsiteX117" fmla="*/ 73818 w 759618"/>
                <a:gd name="connsiteY117" fmla="*/ 411956 h 1012031"/>
                <a:gd name="connsiteX118" fmla="*/ 102393 w 759618"/>
                <a:gd name="connsiteY118" fmla="*/ 447675 h 1012031"/>
                <a:gd name="connsiteX119" fmla="*/ 133350 w 759618"/>
                <a:gd name="connsiteY119" fmla="*/ 419100 h 1012031"/>
                <a:gd name="connsiteX120" fmla="*/ 169068 w 759618"/>
                <a:gd name="connsiteY120" fmla="*/ 378619 h 1012031"/>
                <a:gd name="connsiteX121" fmla="*/ 209550 w 759618"/>
                <a:gd name="connsiteY121" fmla="*/ 371475 h 1012031"/>
                <a:gd name="connsiteX122" fmla="*/ 223837 w 759618"/>
                <a:gd name="connsiteY122" fmla="*/ 373856 h 1012031"/>
                <a:gd name="connsiteX123" fmla="*/ 183356 w 759618"/>
                <a:gd name="connsiteY123" fmla="*/ 402431 h 1012031"/>
                <a:gd name="connsiteX124" fmla="*/ 154781 w 759618"/>
                <a:gd name="connsiteY124" fmla="*/ 428625 h 1012031"/>
                <a:gd name="connsiteX125" fmla="*/ 147637 w 759618"/>
                <a:gd name="connsiteY125" fmla="*/ 454819 h 1012031"/>
                <a:gd name="connsiteX126" fmla="*/ 169068 w 759618"/>
                <a:gd name="connsiteY126" fmla="*/ 466725 h 1012031"/>
                <a:gd name="connsiteX127" fmla="*/ 197643 w 759618"/>
                <a:gd name="connsiteY127" fmla="*/ 454819 h 1012031"/>
                <a:gd name="connsiteX128" fmla="*/ 197643 w 759618"/>
                <a:gd name="connsiteY128" fmla="*/ 423863 h 1012031"/>
                <a:gd name="connsiteX129" fmla="*/ 211931 w 759618"/>
                <a:gd name="connsiteY129" fmla="*/ 411956 h 1012031"/>
                <a:gd name="connsiteX130" fmla="*/ 228600 w 759618"/>
                <a:gd name="connsiteY130" fmla="*/ 428625 h 1012031"/>
                <a:gd name="connsiteX131" fmla="*/ 254793 w 759618"/>
                <a:gd name="connsiteY131" fmla="*/ 423863 h 1012031"/>
                <a:gd name="connsiteX132" fmla="*/ 240506 w 759618"/>
                <a:gd name="connsiteY132" fmla="*/ 445294 h 1012031"/>
                <a:gd name="connsiteX133" fmla="*/ 216693 w 759618"/>
                <a:gd name="connsiteY133" fmla="*/ 452438 h 1012031"/>
                <a:gd name="connsiteX134" fmla="*/ 242887 w 759618"/>
                <a:gd name="connsiteY134" fmla="*/ 464344 h 1012031"/>
                <a:gd name="connsiteX135" fmla="*/ 304800 w 759618"/>
                <a:gd name="connsiteY135" fmla="*/ 411956 h 1012031"/>
                <a:gd name="connsiteX136" fmla="*/ 307181 w 759618"/>
                <a:gd name="connsiteY136" fmla="*/ 364331 h 1012031"/>
                <a:gd name="connsiteX137" fmla="*/ 378618 w 759618"/>
                <a:gd name="connsiteY137" fmla="*/ 311944 h 1012031"/>
                <a:gd name="connsiteX138" fmla="*/ 385762 w 759618"/>
                <a:gd name="connsiteY138" fmla="*/ 335756 h 1012031"/>
                <a:gd name="connsiteX139" fmla="*/ 357187 w 759618"/>
                <a:gd name="connsiteY139" fmla="*/ 359569 h 1012031"/>
                <a:gd name="connsiteX140" fmla="*/ 333375 w 759618"/>
                <a:gd name="connsiteY140" fmla="*/ 400050 h 1012031"/>
                <a:gd name="connsiteX141" fmla="*/ 333375 w 759618"/>
                <a:gd name="connsiteY141" fmla="*/ 414338 h 1012031"/>
                <a:gd name="connsiteX142" fmla="*/ 359568 w 759618"/>
                <a:gd name="connsiteY142" fmla="*/ 407194 h 1012031"/>
                <a:gd name="connsiteX143" fmla="*/ 381000 w 759618"/>
                <a:gd name="connsiteY143" fmla="*/ 414338 h 1012031"/>
                <a:gd name="connsiteX144" fmla="*/ 369093 w 759618"/>
                <a:gd name="connsiteY144" fmla="*/ 419100 h 1012031"/>
                <a:gd name="connsiteX145" fmla="*/ 338137 w 759618"/>
                <a:gd name="connsiteY145" fmla="*/ 428625 h 1012031"/>
                <a:gd name="connsiteX146" fmla="*/ 300037 w 759618"/>
                <a:gd name="connsiteY146" fmla="*/ 454819 h 1012031"/>
                <a:gd name="connsiteX147" fmla="*/ 345281 w 759618"/>
                <a:gd name="connsiteY147" fmla="*/ 461963 h 1012031"/>
                <a:gd name="connsiteX148" fmla="*/ 342900 w 759618"/>
                <a:gd name="connsiteY148" fmla="*/ 476250 h 1012031"/>
                <a:gd name="connsiteX149" fmla="*/ 292893 w 759618"/>
                <a:gd name="connsiteY149" fmla="*/ 478631 h 1012031"/>
                <a:gd name="connsiteX150" fmla="*/ 261937 w 759618"/>
                <a:gd name="connsiteY150" fmla="*/ 495300 h 1012031"/>
                <a:gd name="connsiteX151" fmla="*/ 228600 w 759618"/>
                <a:gd name="connsiteY151" fmla="*/ 504825 h 1012031"/>
                <a:gd name="connsiteX152" fmla="*/ 240506 w 759618"/>
                <a:gd name="connsiteY152" fmla="*/ 540544 h 1012031"/>
                <a:gd name="connsiteX153" fmla="*/ 257175 w 759618"/>
                <a:gd name="connsiteY153" fmla="*/ 557213 h 1012031"/>
                <a:gd name="connsiteX154" fmla="*/ 259556 w 759618"/>
                <a:gd name="connsiteY154" fmla="*/ 578644 h 1012031"/>
                <a:gd name="connsiteX155" fmla="*/ 290512 w 759618"/>
                <a:gd name="connsiteY155" fmla="*/ 585788 h 1012031"/>
                <a:gd name="connsiteX156" fmla="*/ 292893 w 759618"/>
                <a:gd name="connsiteY156" fmla="*/ 597694 h 1012031"/>
                <a:gd name="connsiteX157" fmla="*/ 273843 w 759618"/>
                <a:gd name="connsiteY157" fmla="*/ 616744 h 1012031"/>
                <a:gd name="connsiteX158" fmla="*/ 252412 w 759618"/>
                <a:gd name="connsiteY158" fmla="*/ 609600 h 1012031"/>
                <a:gd name="connsiteX159" fmla="*/ 235743 w 759618"/>
                <a:gd name="connsiteY159" fmla="*/ 607219 h 1012031"/>
                <a:gd name="connsiteX160" fmla="*/ 228600 w 759618"/>
                <a:gd name="connsiteY160" fmla="*/ 581025 h 1012031"/>
                <a:gd name="connsiteX161" fmla="*/ 204787 w 759618"/>
                <a:gd name="connsiteY161" fmla="*/ 547688 h 1012031"/>
                <a:gd name="connsiteX162" fmla="*/ 192881 w 759618"/>
                <a:gd name="connsiteY162" fmla="*/ 519113 h 1012031"/>
                <a:gd name="connsiteX163" fmla="*/ 166687 w 759618"/>
                <a:gd name="connsiteY163" fmla="*/ 507206 h 1012031"/>
                <a:gd name="connsiteX164" fmla="*/ 130968 w 759618"/>
                <a:gd name="connsiteY164" fmla="*/ 495300 h 1012031"/>
                <a:gd name="connsiteX165" fmla="*/ 135731 w 759618"/>
                <a:gd name="connsiteY165" fmla="*/ 535781 h 1012031"/>
                <a:gd name="connsiteX166" fmla="*/ 171450 w 759618"/>
                <a:gd name="connsiteY166" fmla="*/ 554831 h 1012031"/>
                <a:gd name="connsiteX167" fmla="*/ 164306 w 759618"/>
                <a:gd name="connsiteY167" fmla="*/ 569119 h 1012031"/>
                <a:gd name="connsiteX168" fmla="*/ 138112 w 759618"/>
                <a:gd name="connsiteY168" fmla="*/ 554831 h 1012031"/>
                <a:gd name="connsiteX169" fmla="*/ 173831 w 759618"/>
                <a:gd name="connsiteY169" fmla="*/ 595313 h 1012031"/>
                <a:gd name="connsiteX170" fmla="*/ 188118 w 759618"/>
                <a:gd name="connsiteY170" fmla="*/ 621506 h 1012031"/>
                <a:gd name="connsiteX171" fmla="*/ 197643 w 759618"/>
                <a:gd name="connsiteY171" fmla="*/ 642938 h 1012031"/>
                <a:gd name="connsiteX172" fmla="*/ 207168 w 759618"/>
                <a:gd name="connsiteY172" fmla="*/ 659606 h 1012031"/>
                <a:gd name="connsiteX173" fmla="*/ 207168 w 759618"/>
                <a:gd name="connsiteY173" fmla="*/ 659606 h 1012031"/>
                <a:gd name="connsiteX174" fmla="*/ 176212 w 759618"/>
                <a:gd name="connsiteY174" fmla="*/ 664369 h 1012031"/>
                <a:gd name="connsiteX175" fmla="*/ 200025 w 759618"/>
                <a:gd name="connsiteY175" fmla="*/ 681038 h 1012031"/>
                <a:gd name="connsiteX176" fmla="*/ 228600 w 759618"/>
                <a:gd name="connsiteY176" fmla="*/ 690563 h 1012031"/>
                <a:gd name="connsiteX177" fmla="*/ 242887 w 759618"/>
                <a:gd name="connsiteY177" fmla="*/ 685800 h 1012031"/>
                <a:gd name="connsiteX178" fmla="*/ 252412 w 759618"/>
                <a:gd name="connsiteY178" fmla="*/ 678656 h 1012031"/>
                <a:gd name="connsiteX179" fmla="*/ 264318 w 759618"/>
                <a:gd name="connsiteY179" fmla="*/ 704850 h 1012031"/>
                <a:gd name="connsiteX180" fmla="*/ 252412 w 759618"/>
                <a:gd name="connsiteY180" fmla="*/ 719138 h 1012031"/>
                <a:gd name="connsiteX181" fmla="*/ 235743 w 759618"/>
                <a:gd name="connsiteY181" fmla="*/ 745331 h 1012031"/>
                <a:gd name="connsiteX182" fmla="*/ 209550 w 759618"/>
                <a:gd name="connsiteY182" fmla="*/ 716756 h 1012031"/>
                <a:gd name="connsiteX183" fmla="*/ 185737 w 759618"/>
                <a:gd name="connsiteY183" fmla="*/ 704850 h 1012031"/>
                <a:gd name="connsiteX184" fmla="*/ 147637 w 759618"/>
                <a:gd name="connsiteY184" fmla="*/ 707231 h 1012031"/>
                <a:gd name="connsiteX185" fmla="*/ 135731 w 759618"/>
                <a:gd name="connsiteY185" fmla="*/ 716756 h 1012031"/>
                <a:gd name="connsiteX186" fmla="*/ 123825 w 759618"/>
                <a:gd name="connsiteY186" fmla="*/ 735806 h 1012031"/>
                <a:gd name="connsiteX187" fmla="*/ 114300 w 759618"/>
                <a:gd name="connsiteY187" fmla="*/ 766763 h 1012031"/>
                <a:gd name="connsiteX188" fmla="*/ 126206 w 759618"/>
                <a:gd name="connsiteY188" fmla="*/ 781050 h 1012031"/>
                <a:gd name="connsiteX189" fmla="*/ 145256 w 759618"/>
                <a:gd name="connsiteY189" fmla="*/ 757238 h 1012031"/>
                <a:gd name="connsiteX190" fmla="*/ 145256 w 759618"/>
                <a:gd name="connsiteY190" fmla="*/ 757238 h 1012031"/>
                <a:gd name="connsiteX191" fmla="*/ 152400 w 759618"/>
                <a:gd name="connsiteY191" fmla="*/ 778669 h 1012031"/>
                <a:gd name="connsiteX192" fmla="*/ 142875 w 759618"/>
                <a:gd name="connsiteY192" fmla="*/ 790575 h 1012031"/>
                <a:gd name="connsiteX193" fmla="*/ 173831 w 759618"/>
                <a:gd name="connsiteY193" fmla="*/ 776288 h 1012031"/>
                <a:gd name="connsiteX194" fmla="*/ 169068 w 759618"/>
                <a:gd name="connsiteY194" fmla="*/ 752475 h 1012031"/>
                <a:gd name="connsiteX195" fmla="*/ 183356 w 759618"/>
                <a:gd name="connsiteY195" fmla="*/ 747713 h 1012031"/>
                <a:gd name="connsiteX196" fmla="*/ 183356 w 759618"/>
                <a:gd name="connsiteY196" fmla="*/ 766763 h 1012031"/>
                <a:gd name="connsiteX197" fmla="*/ 188118 w 759618"/>
                <a:gd name="connsiteY197" fmla="*/ 778669 h 1012031"/>
                <a:gd name="connsiteX198" fmla="*/ 200025 w 759618"/>
                <a:gd name="connsiteY198" fmla="*/ 783431 h 1012031"/>
                <a:gd name="connsiteX199" fmla="*/ 197643 w 759618"/>
                <a:gd name="connsiteY199" fmla="*/ 797719 h 1012031"/>
                <a:gd name="connsiteX200" fmla="*/ 178593 w 759618"/>
                <a:gd name="connsiteY200" fmla="*/ 802481 h 1012031"/>
                <a:gd name="connsiteX201" fmla="*/ 166687 w 759618"/>
                <a:gd name="connsiteY201" fmla="*/ 812006 h 1012031"/>
                <a:gd name="connsiteX202" fmla="*/ 180975 w 759618"/>
                <a:gd name="connsiteY202" fmla="*/ 816769 h 1012031"/>
                <a:gd name="connsiteX203" fmla="*/ 173831 w 759618"/>
                <a:gd name="connsiteY203" fmla="*/ 838200 h 1012031"/>
                <a:gd name="connsiteX204" fmla="*/ 190500 w 759618"/>
                <a:gd name="connsiteY204" fmla="*/ 842963 h 1012031"/>
                <a:gd name="connsiteX205" fmla="*/ 190500 w 759618"/>
                <a:gd name="connsiteY205" fmla="*/ 842963 h 1012031"/>
                <a:gd name="connsiteX206" fmla="*/ 226218 w 759618"/>
                <a:gd name="connsiteY206" fmla="*/ 814388 h 1012031"/>
                <a:gd name="connsiteX207" fmla="*/ 230981 w 759618"/>
                <a:gd name="connsiteY207" fmla="*/ 795338 h 1012031"/>
                <a:gd name="connsiteX208" fmla="*/ 247650 w 759618"/>
                <a:gd name="connsiteY208" fmla="*/ 804863 h 1012031"/>
                <a:gd name="connsiteX209" fmla="*/ 228600 w 759618"/>
                <a:gd name="connsiteY209" fmla="*/ 842963 h 1012031"/>
                <a:gd name="connsiteX210" fmla="*/ 204787 w 759618"/>
                <a:gd name="connsiteY210" fmla="*/ 869156 h 1012031"/>
                <a:gd name="connsiteX211" fmla="*/ 192881 w 759618"/>
                <a:gd name="connsiteY211" fmla="*/ 873919 h 1012031"/>
                <a:gd name="connsiteX212" fmla="*/ 171450 w 759618"/>
                <a:gd name="connsiteY212" fmla="*/ 888206 h 1012031"/>
                <a:gd name="connsiteX213" fmla="*/ 142875 w 759618"/>
                <a:gd name="connsiteY213" fmla="*/ 859631 h 1012031"/>
                <a:gd name="connsiteX214" fmla="*/ 126206 w 759618"/>
                <a:gd name="connsiteY214" fmla="*/ 831056 h 1012031"/>
                <a:gd name="connsiteX215" fmla="*/ 104775 w 759618"/>
                <a:gd name="connsiteY215" fmla="*/ 828675 h 1012031"/>
                <a:gd name="connsiteX216" fmla="*/ 85725 w 759618"/>
                <a:gd name="connsiteY216" fmla="*/ 845344 h 1012031"/>
                <a:gd name="connsiteX217" fmla="*/ 100012 w 759618"/>
                <a:gd name="connsiteY217" fmla="*/ 864394 h 1012031"/>
                <a:gd name="connsiteX218" fmla="*/ 111918 w 759618"/>
                <a:gd name="connsiteY218" fmla="*/ 878681 h 1012031"/>
                <a:gd name="connsiteX219" fmla="*/ 123825 w 759618"/>
                <a:gd name="connsiteY219" fmla="*/ 888206 h 1012031"/>
                <a:gd name="connsiteX220" fmla="*/ 133350 w 759618"/>
                <a:gd name="connsiteY220" fmla="*/ 909638 h 1012031"/>
                <a:gd name="connsiteX221" fmla="*/ 109537 w 759618"/>
                <a:gd name="connsiteY221" fmla="*/ 921544 h 1012031"/>
                <a:gd name="connsiteX222" fmla="*/ 90487 w 759618"/>
                <a:gd name="connsiteY222" fmla="*/ 909638 h 1012031"/>
                <a:gd name="connsiteX223" fmla="*/ 71437 w 759618"/>
                <a:gd name="connsiteY223" fmla="*/ 935831 h 1012031"/>
                <a:gd name="connsiteX224" fmla="*/ 61912 w 759618"/>
                <a:gd name="connsiteY224" fmla="*/ 971550 h 1012031"/>
                <a:gd name="connsiteX225" fmla="*/ 80962 w 759618"/>
                <a:gd name="connsiteY225" fmla="*/ 954881 h 1012031"/>
                <a:gd name="connsiteX226" fmla="*/ 95250 w 759618"/>
                <a:gd name="connsiteY226" fmla="*/ 978694 h 1012031"/>
                <a:gd name="connsiteX227" fmla="*/ 109537 w 759618"/>
                <a:gd name="connsiteY227" fmla="*/ 964406 h 1012031"/>
                <a:gd name="connsiteX228" fmla="*/ 119062 w 759618"/>
                <a:gd name="connsiteY228" fmla="*/ 981075 h 1012031"/>
                <a:gd name="connsiteX229" fmla="*/ 126206 w 759618"/>
                <a:gd name="connsiteY229" fmla="*/ 959644 h 1012031"/>
                <a:gd name="connsiteX230" fmla="*/ 145256 w 759618"/>
                <a:gd name="connsiteY230" fmla="*/ 985838 h 1012031"/>
                <a:gd name="connsiteX231" fmla="*/ 169068 w 759618"/>
                <a:gd name="connsiteY231" fmla="*/ 1004888 h 1012031"/>
                <a:gd name="connsiteX232" fmla="*/ 161925 w 759618"/>
                <a:gd name="connsiteY232" fmla="*/ 978694 h 1012031"/>
                <a:gd name="connsiteX233" fmla="*/ 171450 w 759618"/>
                <a:gd name="connsiteY233" fmla="*/ 964406 h 1012031"/>
                <a:gd name="connsiteX234" fmla="*/ 180975 w 759618"/>
                <a:gd name="connsiteY234" fmla="*/ 973931 h 1012031"/>
                <a:gd name="connsiteX235" fmla="*/ 188118 w 759618"/>
                <a:gd name="connsiteY235" fmla="*/ 962025 h 1012031"/>
                <a:gd name="connsiteX236" fmla="*/ 197643 w 759618"/>
                <a:gd name="connsiteY236" fmla="*/ 981075 h 1012031"/>
                <a:gd name="connsiteX237" fmla="*/ 209550 w 759618"/>
                <a:gd name="connsiteY237" fmla="*/ 962025 h 1012031"/>
                <a:gd name="connsiteX238" fmla="*/ 228600 w 759618"/>
                <a:gd name="connsiteY238" fmla="*/ 983456 h 1012031"/>
                <a:gd name="connsiteX239" fmla="*/ 235743 w 759618"/>
                <a:gd name="connsiteY239" fmla="*/ 959644 h 1012031"/>
                <a:gd name="connsiteX240" fmla="*/ 254793 w 759618"/>
                <a:gd name="connsiteY240" fmla="*/ 973931 h 1012031"/>
                <a:gd name="connsiteX241" fmla="*/ 271462 w 759618"/>
                <a:gd name="connsiteY241" fmla="*/ 983456 h 1012031"/>
                <a:gd name="connsiteX242" fmla="*/ 278606 w 759618"/>
                <a:gd name="connsiteY242" fmla="*/ 1000125 h 1012031"/>
                <a:gd name="connsiteX243" fmla="*/ 269081 w 759618"/>
                <a:gd name="connsiteY243" fmla="*/ 1012031 h 1012031"/>
                <a:gd name="connsiteX244" fmla="*/ 316706 w 759618"/>
                <a:gd name="connsiteY244" fmla="*/ 976313 h 1012031"/>
                <a:gd name="connsiteX245" fmla="*/ 335756 w 759618"/>
                <a:gd name="connsiteY245" fmla="*/ 969169 h 1012031"/>
                <a:gd name="connsiteX246" fmla="*/ 342900 w 759618"/>
                <a:gd name="connsiteY246" fmla="*/ 950119 h 1012031"/>
                <a:gd name="connsiteX247" fmla="*/ 342900 w 759618"/>
                <a:gd name="connsiteY247" fmla="*/ 926306 h 1012031"/>
                <a:gd name="connsiteX248" fmla="*/ 321468 w 759618"/>
                <a:gd name="connsiteY248" fmla="*/ 935831 h 1012031"/>
                <a:gd name="connsiteX249" fmla="*/ 307181 w 759618"/>
                <a:gd name="connsiteY249" fmla="*/ 926306 h 1012031"/>
                <a:gd name="connsiteX250" fmla="*/ 307181 w 759618"/>
                <a:gd name="connsiteY250" fmla="*/ 900113 h 1012031"/>
                <a:gd name="connsiteX251" fmla="*/ 290512 w 759618"/>
                <a:gd name="connsiteY251" fmla="*/ 916781 h 1012031"/>
                <a:gd name="connsiteX252" fmla="*/ 269081 w 759618"/>
                <a:gd name="connsiteY252" fmla="*/ 892969 h 1012031"/>
                <a:gd name="connsiteX253" fmla="*/ 252412 w 759618"/>
                <a:gd name="connsiteY253" fmla="*/ 919163 h 1012031"/>
                <a:gd name="connsiteX254" fmla="*/ 233362 w 759618"/>
                <a:gd name="connsiteY254" fmla="*/ 902494 h 1012031"/>
                <a:gd name="connsiteX255" fmla="*/ 254793 w 759618"/>
                <a:gd name="connsiteY255" fmla="*/ 888206 h 1012031"/>
                <a:gd name="connsiteX256" fmla="*/ 254793 w 759618"/>
                <a:gd name="connsiteY256" fmla="*/ 862013 h 1012031"/>
                <a:gd name="connsiteX257" fmla="*/ 278606 w 759618"/>
                <a:gd name="connsiteY257" fmla="*/ 876300 h 1012031"/>
                <a:gd name="connsiteX258" fmla="*/ 307181 w 759618"/>
                <a:gd name="connsiteY258" fmla="*/ 885825 h 1012031"/>
                <a:gd name="connsiteX259" fmla="*/ 323850 w 759618"/>
                <a:gd name="connsiteY259" fmla="*/ 878681 h 1012031"/>
                <a:gd name="connsiteX260" fmla="*/ 338137 w 759618"/>
                <a:gd name="connsiteY260" fmla="*/ 869156 h 1012031"/>
                <a:gd name="connsiteX261" fmla="*/ 338137 w 759618"/>
                <a:gd name="connsiteY261" fmla="*/ 847725 h 1012031"/>
                <a:gd name="connsiteX262" fmla="*/ 335756 w 759618"/>
                <a:gd name="connsiteY262" fmla="*/ 823913 h 1012031"/>
                <a:gd name="connsiteX263" fmla="*/ 338137 w 759618"/>
                <a:gd name="connsiteY263" fmla="*/ 797719 h 1012031"/>
                <a:gd name="connsiteX264" fmla="*/ 364331 w 759618"/>
                <a:gd name="connsiteY264" fmla="*/ 814388 h 1012031"/>
                <a:gd name="connsiteX265" fmla="*/ 392906 w 759618"/>
                <a:gd name="connsiteY265" fmla="*/ 795338 h 1012031"/>
                <a:gd name="connsiteX266" fmla="*/ 373856 w 759618"/>
                <a:gd name="connsiteY266" fmla="*/ 783431 h 1012031"/>
                <a:gd name="connsiteX267" fmla="*/ 395287 w 759618"/>
                <a:gd name="connsiteY267" fmla="*/ 776288 h 1012031"/>
                <a:gd name="connsiteX268" fmla="*/ 407193 w 759618"/>
                <a:gd name="connsiteY268" fmla="*/ 762000 h 1012031"/>
                <a:gd name="connsiteX269" fmla="*/ 388143 w 759618"/>
                <a:gd name="connsiteY269" fmla="*/ 752475 h 1012031"/>
                <a:gd name="connsiteX270" fmla="*/ 404812 w 759618"/>
                <a:gd name="connsiteY270" fmla="*/ 738188 h 1012031"/>
                <a:gd name="connsiteX271" fmla="*/ 423862 w 759618"/>
                <a:gd name="connsiteY271" fmla="*/ 707231 h 1012031"/>
                <a:gd name="connsiteX272" fmla="*/ 383381 w 759618"/>
                <a:gd name="connsiteY272" fmla="*/ 697706 h 1012031"/>
                <a:gd name="connsiteX273" fmla="*/ 381000 w 759618"/>
                <a:gd name="connsiteY273" fmla="*/ 690563 h 1012031"/>
                <a:gd name="connsiteX274" fmla="*/ 350043 w 759618"/>
                <a:gd name="connsiteY274" fmla="*/ 690563 h 1012031"/>
                <a:gd name="connsiteX275" fmla="*/ 335756 w 759618"/>
                <a:gd name="connsiteY275" fmla="*/ 676275 h 1012031"/>
                <a:gd name="connsiteX276" fmla="*/ 354806 w 759618"/>
                <a:gd name="connsiteY276" fmla="*/ 654844 h 1012031"/>
                <a:gd name="connsiteX277" fmla="*/ 390525 w 759618"/>
                <a:gd name="connsiteY277" fmla="*/ 657225 h 1012031"/>
                <a:gd name="connsiteX278" fmla="*/ 416718 w 759618"/>
                <a:gd name="connsiteY278" fmla="*/ 683419 h 1012031"/>
                <a:gd name="connsiteX279" fmla="*/ 428625 w 759618"/>
                <a:gd name="connsiteY279" fmla="*/ 647700 h 1012031"/>
                <a:gd name="connsiteX280" fmla="*/ 397668 w 759618"/>
                <a:gd name="connsiteY280" fmla="*/ 640556 h 1012031"/>
                <a:gd name="connsiteX281" fmla="*/ 359568 w 759618"/>
                <a:gd name="connsiteY281" fmla="*/ 631031 h 1012031"/>
                <a:gd name="connsiteX282" fmla="*/ 371475 w 759618"/>
                <a:gd name="connsiteY282" fmla="*/ 619125 h 1012031"/>
                <a:gd name="connsiteX283" fmla="*/ 395287 w 759618"/>
                <a:gd name="connsiteY283" fmla="*/ 616744 h 1012031"/>
                <a:gd name="connsiteX284" fmla="*/ 416718 w 759618"/>
                <a:gd name="connsiteY284" fmla="*/ 628650 h 1012031"/>
                <a:gd name="connsiteX285" fmla="*/ 442912 w 759618"/>
                <a:gd name="connsiteY285" fmla="*/ 607219 h 1012031"/>
                <a:gd name="connsiteX286" fmla="*/ 452437 w 759618"/>
                <a:gd name="connsiteY286" fmla="*/ 592931 h 1012031"/>
                <a:gd name="connsiteX287" fmla="*/ 428625 w 759618"/>
                <a:gd name="connsiteY287" fmla="*/ 576263 h 1012031"/>
                <a:gd name="connsiteX288" fmla="*/ 440531 w 759618"/>
                <a:gd name="connsiteY288" fmla="*/ 564356 h 1012031"/>
                <a:gd name="connsiteX289" fmla="*/ 464343 w 759618"/>
                <a:gd name="connsiteY289" fmla="*/ 578644 h 1012031"/>
                <a:gd name="connsiteX290" fmla="*/ 497681 w 759618"/>
                <a:gd name="connsiteY290" fmla="*/ 590550 h 1012031"/>
                <a:gd name="connsiteX291" fmla="*/ 511968 w 759618"/>
                <a:gd name="connsiteY291" fmla="*/ 557213 h 1012031"/>
                <a:gd name="connsiteX292" fmla="*/ 526256 w 759618"/>
                <a:gd name="connsiteY292" fmla="*/ 528638 h 1012031"/>
                <a:gd name="connsiteX293" fmla="*/ 502443 w 759618"/>
                <a:gd name="connsiteY293" fmla="*/ 531019 h 1012031"/>
                <a:gd name="connsiteX294" fmla="*/ 488156 w 759618"/>
                <a:gd name="connsiteY294" fmla="*/ 519113 h 1012031"/>
                <a:gd name="connsiteX295" fmla="*/ 542924 w 759618"/>
                <a:gd name="connsiteY295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581024 w 759618"/>
                <a:gd name="connsiteY2" fmla="*/ 464343 h 1012031"/>
                <a:gd name="connsiteX3" fmla="*/ 545306 w 759618"/>
                <a:gd name="connsiteY3" fmla="*/ 428625 h 1012031"/>
                <a:gd name="connsiteX4" fmla="*/ 626268 w 759618"/>
                <a:gd name="connsiteY4" fmla="*/ 357188 h 1012031"/>
                <a:gd name="connsiteX5" fmla="*/ 678656 w 759618"/>
                <a:gd name="connsiteY5" fmla="*/ 307181 h 1012031"/>
                <a:gd name="connsiteX6" fmla="*/ 600075 w 759618"/>
                <a:gd name="connsiteY6" fmla="*/ 335756 h 1012031"/>
                <a:gd name="connsiteX7" fmla="*/ 554831 w 759618"/>
                <a:gd name="connsiteY7" fmla="*/ 373856 h 1012031"/>
                <a:gd name="connsiteX8" fmla="*/ 535781 w 759618"/>
                <a:gd name="connsiteY8" fmla="*/ 369094 h 1012031"/>
                <a:gd name="connsiteX9" fmla="*/ 597693 w 759618"/>
                <a:gd name="connsiteY9" fmla="*/ 309563 h 1012031"/>
                <a:gd name="connsiteX10" fmla="*/ 573881 w 759618"/>
                <a:gd name="connsiteY10" fmla="*/ 288131 h 1012031"/>
                <a:gd name="connsiteX11" fmla="*/ 561975 w 759618"/>
                <a:gd name="connsiteY11" fmla="*/ 261938 h 1012031"/>
                <a:gd name="connsiteX12" fmla="*/ 614362 w 759618"/>
                <a:gd name="connsiteY12" fmla="*/ 292894 h 1012031"/>
                <a:gd name="connsiteX13" fmla="*/ 650081 w 759618"/>
                <a:gd name="connsiteY13" fmla="*/ 290513 h 1012031"/>
                <a:gd name="connsiteX14" fmla="*/ 650081 w 759618"/>
                <a:gd name="connsiteY14" fmla="*/ 273844 h 1012031"/>
                <a:gd name="connsiteX15" fmla="*/ 678656 w 759618"/>
                <a:gd name="connsiteY15" fmla="*/ 271463 h 1012031"/>
                <a:gd name="connsiteX16" fmla="*/ 721518 w 759618"/>
                <a:gd name="connsiteY16" fmla="*/ 221456 h 1012031"/>
                <a:gd name="connsiteX17" fmla="*/ 759618 w 759618"/>
                <a:gd name="connsiteY17" fmla="*/ 150019 h 1012031"/>
                <a:gd name="connsiteX18" fmla="*/ 738187 w 759618"/>
                <a:gd name="connsiteY18" fmla="*/ 126206 h 1012031"/>
                <a:gd name="connsiteX19" fmla="*/ 704850 w 759618"/>
                <a:gd name="connsiteY19" fmla="*/ 121444 h 1012031"/>
                <a:gd name="connsiteX20" fmla="*/ 692943 w 759618"/>
                <a:gd name="connsiteY20" fmla="*/ 73819 h 1012031"/>
                <a:gd name="connsiteX21" fmla="*/ 669131 w 759618"/>
                <a:gd name="connsiteY21" fmla="*/ 59531 h 1012031"/>
                <a:gd name="connsiteX22" fmla="*/ 628650 w 759618"/>
                <a:gd name="connsiteY22" fmla="*/ 78581 h 1012031"/>
                <a:gd name="connsiteX23" fmla="*/ 614362 w 759618"/>
                <a:gd name="connsiteY23" fmla="*/ 102394 h 1012031"/>
                <a:gd name="connsiteX24" fmla="*/ 588168 w 759618"/>
                <a:gd name="connsiteY24" fmla="*/ 114300 h 1012031"/>
                <a:gd name="connsiteX25" fmla="*/ 576262 w 759618"/>
                <a:gd name="connsiteY25" fmla="*/ 107156 h 1012031"/>
                <a:gd name="connsiteX26" fmla="*/ 592931 w 759618"/>
                <a:gd name="connsiteY26" fmla="*/ 85725 h 1012031"/>
                <a:gd name="connsiteX27" fmla="*/ 621506 w 759618"/>
                <a:gd name="connsiteY27" fmla="*/ 50006 h 1012031"/>
                <a:gd name="connsiteX28" fmla="*/ 585787 w 759618"/>
                <a:gd name="connsiteY28" fmla="*/ 33338 h 1012031"/>
                <a:gd name="connsiteX29" fmla="*/ 557212 w 759618"/>
                <a:gd name="connsiteY29" fmla="*/ 38100 h 1012031"/>
                <a:gd name="connsiteX30" fmla="*/ 540543 w 759618"/>
                <a:gd name="connsiteY30" fmla="*/ 16669 h 1012031"/>
                <a:gd name="connsiteX31" fmla="*/ 526256 w 759618"/>
                <a:gd name="connsiteY31" fmla="*/ 16669 h 1012031"/>
                <a:gd name="connsiteX32" fmla="*/ 519112 w 759618"/>
                <a:gd name="connsiteY32" fmla="*/ 28575 h 1012031"/>
                <a:gd name="connsiteX33" fmla="*/ 533400 w 759618"/>
                <a:gd name="connsiteY33" fmla="*/ 61913 h 1012031"/>
                <a:gd name="connsiteX34" fmla="*/ 519112 w 759618"/>
                <a:gd name="connsiteY34" fmla="*/ 69056 h 1012031"/>
                <a:gd name="connsiteX35" fmla="*/ 500062 w 759618"/>
                <a:gd name="connsiteY35" fmla="*/ 33338 h 1012031"/>
                <a:gd name="connsiteX36" fmla="*/ 495300 w 759618"/>
                <a:gd name="connsiteY36" fmla="*/ 0 h 1012031"/>
                <a:gd name="connsiteX37" fmla="*/ 466725 w 759618"/>
                <a:gd name="connsiteY37" fmla="*/ 40481 h 1012031"/>
                <a:gd name="connsiteX38" fmla="*/ 466725 w 759618"/>
                <a:gd name="connsiteY38" fmla="*/ 61913 h 1012031"/>
                <a:gd name="connsiteX39" fmla="*/ 490537 w 759618"/>
                <a:gd name="connsiteY39" fmla="*/ 80963 h 1012031"/>
                <a:gd name="connsiteX40" fmla="*/ 490537 w 759618"/>
                <a:gd name="connsiteY40" fmla="*/ 100013 h 1012031"/>
                <a:gd name="connsiteX41" fmla="*/ 464343 w 759618"/>
                <a:gd name="connsiteY41" fmla="*/ 95250 h 1012031"/>
                <a:gd name="connsiteX42" fmla="*/ 442912 w 759618"/>
                <a:gd name="connsiteY42" fmla="*/ 64294 h 1012031"/>
                <a:gd name="connsiteX43" fmla="*/ 433387 w 759618"/>
                <a:gd name="connsiteY43" fmla="*/ 40481 h 1012031"/>
                <a:gd name="connsiteX44" fmla="*/ 414337 w 759618"/>
                <a:gd name="connsiteY44" fmla="*/ 33338 h 1012031"/>
                <a:gd name="connsiteX45" fmla="*/ 383381 w 759618"/>
                <a:gd name="connsiteY45" fmla="*/ 38100 h 1012031"/>
                <a:gd name="connsiteX46" fmla="*/ 376237 w 759618"/>
                <a:gd name="connsiteY46" fmla="*/ 42863 h 1012031"/>
                <a:gd name="connsiteX47" fmla="*/ 378618 w 759618"/>
                <a:gd name="connsiteY47" fmla="*/ 69056 h 1012031"/>
                <a:gd name="connsiteX48" fmla="*/ 402431 w 759618"/>
                <a:gd name="connsiteY48" fmla="*/ 88106 h 1012031"/>
                <a:gd name="connsiteX49" fmla="*/ 416718 w 759618"/>
                <a:gd name="connsiteY49" fmla="*/ 109538 h 1012031"/>
                <a:gd name="connsiteX50" fmla="*/ 402431 w 759618"/>
                <a:gd name="connsiteY50" fmla="*/ 145256 h 1012031"/>
                <a:gd name="connsiteX51" fmla="*/ 385762 w 759618"/>
                <a:gd name="connsiteY51" fmla="*/ 135731 h 1012031"/>
                <a:gd name="connsiteX52" fmla="*/ 381000 w 759618"/>
                <a:gd name="connsiteY52" fmla="*/ 104775 h 1012031"/>
                <a:gd name="connsiteX53" fmla="*/ 352425 w 759618"/>
                <a:gd name="connsiteY53" fmla="*/ 59531 h 1012031"/>
                <a:gd name="connsiteX54" fmla="*/ 333375 w 759618"/>
                <a:gd name="connsiteY54" fmla="*/ 69056 h 1012031"/>
                <a:gd name="connsiteX55" fmla="*/ 323850 w 759618"/>
                <a:gd name="connsiteY55" fmla="*/ 50006 h 1012031"/>
                <a:gd name="connsiteX56" fmla="*/ 302418 w 759618"/>
                <a:gd name="connsiteY56" fmla="*/ 42863 h 1012031"/>
                <a:gd name="connsiteX57" fmla="*/ 290512 w 759618"/>
                <a:gd name="connsiteY57" fmla="*/ 64294 h 1012031"/>
                <a:gd name="connsiteX58" fmla="*/ 304800 w 759618"/>
                <a:gd name="connsiteY58" fmla="*/ 76200 h 1012031"/>
                <a:gd name="connsiteX59" fmla="*/ 323850 w 759618"/>
                <a:gd name="connsiteY59" fmla="*/ 92869 h 1012031"/>
                <a:gd name="connsiteX60" fmla="*/ 335756 w 759618"/>
                <a:gd name="connsiteY60" fmla="*/ 100013 h 1012031"/>
                <a:gd name="connsiteX61" fmla="*/ 328612 w 759618"/>
                <a:gd name="connsiteY61" fmla="*/ 111919 h 1012031"/>
                <a:gd name="connsiteX62" fmla="*/ 307181 w 759618"/>
                <a:gd name="connsiteY62" fmla="*/ 100013 h 1012031"/>
                <a:gd name="connsiteX63" fmla="*/ 264318 w 759618"/>
                <a:gd name="connsiteY63" fmla="*/ 76200 h 1012031"/>
                <a:gd name="connsiteX64" fmla="*/ 280987 w 759618"/>
                <a:gd name="connsiteY64" fmla="*/ 114300 h 1012031"/>
                <a:gd name="connsiteX65" fmla="*/ 292893 w 759618"/>
                <a:gd name="connsiteY65" fmla="*/ 130969 h 1012031"/>
                <a:gd name="connsiteX66" fmla="*/ 280987 w 759618"/>
                <a:gd name="connsiteY66" fmla="*/ 140494 h 1012031"/>
                <a:gd name="connsiteX67" fmla="*/ 247650 w 759618"/>
                <a:gd name="connsiteY67" fmla="*/ 100013 h 1012031"/>
                <a:gd name="connsiteX68" fmla="*/ 261937 w 759618"/>
                <a:gd name="connsiteY68" fmla="*/ 142875 h 1012031"/>
                <a:gd name="connsiteX69" fmla="*/ 242887 w 759618"/>
                <a:gd name="connsiteY69" fmla="*/ 150019 h 1012031"/>
                <a:gd name="connsiteX70" fmla="*/ 257175 w 759618"/>
                <a:gd name="connsiteY70" fmla="*/ 178594 h 1012031"/>
                <a:gd name="connsiteX71" fmla="*/ 278606 w 759618"/>
                <a:gd name="connsiteY71" fmla="*/ 195263 h 1012031"/>
                <a:gd name="connsiteX72" fmla="*/ 307181 w 759618"/>
                <a:gd name="connsiteY72" fmla="*/ 228600 h 1012031"/>
                <a:gd name="connsiteX73" fmla="*/ 316706 w 759618"/>
                <a:gd name="connsiteY73" fmla="*/ 254794 h 1012031"/>
                <a:gd name="connsiteX74" fmla="*/ 316706 w 759618"/>
                <a:gd name="connsiteY74" fmla="*/ 254794 h 1012031"/>
                <a:gd name="connsiteX75" fmla="*/ 285750 w 759618"/>
                <a:gd name="connsiteY75" fmla="*/ 235744 h 1012031"/>
                <a:gd name="connsiteX76" fmla="*/ 238125 w 759618"/>
                <a:gd name="connsiteY76" fmla="*/ 221456 h 1012031"/>
                <a:gd name="connsiteX77" fmla="*/ 223837 w 759618"/>
                <a:gd name="connsiteY77" fmla="*/ 195263 h 1012031"/>
                <a:gd name="connsiteX78" fmla="*/ 204787 w 759618"/>
                <a:gd name="connsiteY78" fmla="*/ 166688 h 1012031"/>
                <a:gd name="connsiteX79" fmla="*/ 166687 w 759618"/>
                <a:gd name="connsiteY79" fmla="*/ 130969 h 1012031"/>
                <a:gd name="connsiteX80" fmla="*/ 166687 w 759618"/>
                <a:gd name="connsiteY80" fmla="*/ 157163 h 1012031"/>
                <a:gd name="connsiteX81" fmla="*/ 173831 w 759618"/>
                <a:gd name="connsiteY81" fmla="*/ 176213 h 1012031"/>
                <a:gd name="connsiteX82" fmla="*/ 171450 w 759618"/>
                <a:gd name="connsiteY82" fmla="*/ 188119 h 1012031"/>
                <a:gd name="connsiteX83" fmla="*/ 152400 w 759618"/>
                <a:gd name="connsiteY83" fmla="*/ 195263 h 1012031"/>
                <a:gd name="connsiteX84" fmla="*/ 128587 w 759618"/>
                <a:gd name="connsiteY84" fmla="*/ 190500 h 1012031"/>
                <a:gd name="connsiteX85" fmla="*/ 178593 w 759618"/>
                <a:gd name="connsiteY85" fmla="*/ 214313 h 1012031"/>
                <a:gd name="connsiteX86" fmla="*/ 188118 w 759618"/>
                <a:gd name="connsiteY86" fmla="*/ 228600 h 1012031"/>
                <a:gd name="connsiteX87" fmla="*/ 185737 w 759618"/>
                <a:gd name="connsiteY87" fmla="*/ 250031 h 1012031"/>
                <a:gd name="connsiteX88" fmla="*/ 157162 w 759618"/>
                <a:gd name="connsiteY88" fmla="*/ 228600 h 1012031"/>
                <a:gd name="connsiteX89" fmla="*/ 121443 w 759618"/>
                <a:gd name="connsiteY89" fmla="*/ 223838 h 1012031"/>
                <a:gd name="connsiteX90" fmla="*/ 97631 w 759618"/>
                <a:gd name="connsiteY90" fmla="*/ 211931 h 1012031"/>
                <a:gd name="connsiteX91" fmla="*/ 73818 w 759618"/>
                <a:gd name="connsiteY91" fmla="*/ 235744 h 1012031"/>
                <a:gd name="connsiteX92" fmla="*/ 73818 w 759618"/>
                <a:gd name="connsiteY92" fmla="*/ 257175 h 1012031"/>
                <a:gd name="connsiteX93" fmla="*/ 52387 w 759618"/>
                <a:gd name="connsiteY93" fmla="*/ 273844 h 1012031"/>
                <a:gd name="connsiteX94" fmla="*/ 35718 w 759618"/>
                <a:gd name="connsiteY94" fmla="*/ 254794 h 1012031"/>
                <a:gd name="connsiteX95" fmla="*/ 19050 w 759618"/>
                <a:gd name="connsiteY95" fmla="*/ 264319 h 1012031"/>
                <a:gd name="connsiteX96" fmla="*/ 0 w 759618"/>
                <a:gd name="connsiteY96" fmla="*/ 297656 h 1012031"/>
                <a:gd name="connsiteX97" fmla="*/ 26193 w 759618"/>
                <a:gd name="connsiteY97" fmla="*/ 283369 h 1012031"/>
                <a:gd name="connsiteX98" fmla="*/ 38100 w 759618"/>
                <a:gd name="connsiteY98" fmla="*/ 273844 h 1012031"/>
                <a:gd name="connsiteX99" fmla="*/ 52387 w 759618"/>
                <a:gd name="connsiteY99" fmla="*/ 288131 h 1012031"/>
                <a:gd name="connsiteX100" fmla="*/ 30956 w 759618"/>
                <a:gd name="connsiteY100" fmla="*/ 323850 h 1012031"/>
                <a:gd name="connsiteX101" fmla="*/ 69056 w 759618"/>
                <a:gd name="connsiteY101" fmla="*/ 300038 h 1012031"/>
                <a:gd name="connsiteX102" fmla="*/ 92868 w 759618"/>
                <a:gd name="connsiteY102" fmla="*/ 295275 h 1012031"/>
                <a:gd name="connsiteX103" fmla="*/ 114300 w 759618"/>
                <a:gd name="connsiteY103" fmla="*/ 300038 h 1012031"/>
                <a:gd name="connsiteX104" fmla="*/ 111918 w 759618"/>
                <a:gd name="connsiteY104" fmla="*/ 316706 h 1012031"/>
                <a:gd name="connsiteX105" fmla="*/ 92868 w 759618"/>
                <a:gd name="connsiteY105" fmla="*/ 311944 h 1012031"/>
                <a:gd name="connsiteX106" fmla="*/ 66675 w 759618"/>
                <a:gd name="connsiteY106" fmla="*/ 338138 h 1012031"/>
                <a:gd name="connsiteX107" fmla="*/ 69056 w 759618"/>
                <a:gd name="connsiteY107" fmla="*/ 359569 h 1012031"/>
                <a:gd name="connsiteX108" fmla="*/ 50006 w 759618"/>
                <a:gd name="connsiteY108" fmla="*/ 369094 h 1012031"/>
                <a:gd name="connsiteX109" fmla="*/ 59531 w 759618"/>
                <a:gd name="connsiteY109" fmla="*/ 385763 h 1012031"/>
                <a:gd name="connsiteX110" fmla="*/ 88106 w 759618"/>
                <a:gd name="connsiteY110" fmla="*/ 376238 h 1012031"/>
                <a:gd name="connsiteX111" fmla="*/ 116681 w 759618"/>
                <a:gd name="connsiteY111" fmla="*/ 378619 h 1012031"/>
                <a:gd name="connsiteX112" fmla="*/ 138112 w 759618"/>
                <a:gd name="connsiteY112" fmla="*/ 354806 h 1012031"/>
                <a:gd name="connsiteX113" fmla="*/ 164306 w 759618"/>
                <a:gd name="connsiteY113" fmla="*/ 335756 h 1012031"/>
                <a:gd name="connsiteX114" fmla="*/ 178593 w 759618"/>
                <a:gd name="connsiteY114" fmla="*/ 340519 h 1012031"/>
                <a:gd name="connsiteX115" fmla="*/ 157162 w 759618"/>
                <a:gd name="connsiteY115" fmla="*/ 366713 h 1012031"/>
                <a:gd name="connsiteX116" fmla="*/ 114300 w 759618"/>
                <a:gd name="connsiteY116" fmla="*/ 407194 h 1012031"/>
                <a:gd name="connsiteX117" fmla="*/ 73818 w 759618"/>
                <a:gd name="connsiteY117" fmla="*/ 411956 h 1012031"/>
                <a:gd name="connsiteX118" fmla="*/ 102393 w 759618"/>
                <a:gd name="connsiteY118" fmla="*/ 447675 h 1012031"/>
                <a:gd name="connsiteX119" fmla="*/ 133350 w 759618"/>
                <a:gd name="connsiteY119" fmla="*/ 419100 h 1012031"/>
                <a:gd name="connsiteX120" fmla="*/ 169068 w 759618"/>
                <a:gd name="connsiteY120" fmla="*/ 378619 h 1012031"/>
                <a:gd name="connsiteX121" fmla="*/ 209550 w 759618"/>
                <a:gd name="connsiteY121" fmla="*/ 371475 h 1012031"/>
                <a:gd name="connsiteX122" fmla="*/ 223837 w 759618"/>
                <a:gd name="connsiteY122" fmla="*/ 373856 h 1012031"/>
                <a:gd name="connsiteX123" fmla="*/ 183356 w 759618"/>
                <a:gd name="connsiteY123" fmla="*/ 402431 h 1012031"/>
                <a:gd name="connsiteX124" fmla="*/ 154781 w 759618"/>
                <a:gd name="connsiteY124" fmla="*/ 428625 h 1012031"/>
                <a:gd name="connsiteX125" fmla="*/ 147637 w 759618"/>
                <a:gd name="connsiteY125" fmla="*/ 454819 h 1012031"/>
                <a:gd name="connsiteX126" fmla="*/ 169068 w 759618"/>
                <a:gd name="connsiteY126" fmla="*/ 466725 h 1012031"/>
                <a:gd name="connsiteX127" fmla="*/ 197643 w 759618"/>
                <a:gd name="connsiteY127" fmla="*/ 454819 h 1012031"/>
                <a:gd name="connsiteX128" fmla="*/ 197643 w 759618"/>
                <a:gd name="connsiteY128" fmla="*/ 423863 h 1012031"/>
                <a:gd name="connsiteX129" fmla="*/ 211931 w 759618"/>
                <a:gd name="connsiteY129" fmla="*/ 411956 h 1012031"/>
                <a:gd name="connsiteX130" fmla="*/ 228600 w 759618"/>
                <a:gd name="connsiteY130" fmla="*/ 428625 h 1012031"/>
                <a:gd name="connsiteX131" fmla="*/ 254793 w 759618"/>
                <a:gd name="connsiteY131" fmla="*/ 423863 h 1012031"/>
                <a:gd name="connsiteX132" fmla="*/ 240506 w 759618"/>
                <a:gd name="connsiteY132" fmla="*/ 445294 h 1012031"/>
                <a:gd name="connsiteX133" fmla="*/ 216693 w 759618"/>
                <a:gd name="connsiteY133" fmla="*/ 452438 h 1012031"/>
                <a:gd name="connsiteX134" fmla="*/ 242887 w 759618"/>
                <a:gd name="connsiteY134" fmla="*/ 464344 h 1012031"/>
                <a:gd name="connsiteX135" fmla="*/ 304800 w 759618"/>
                <a:gd name="connsiteY135" fmla="*/ 411956 h 1012031"/>
                <a:gd name="connsiteX136" fmla="*/ 307181 w 759618"/>
                <a:gd name="connsiteY136" fmla="*/ 364331 h 1012031"/>
                <a:gd name="connsiteX137" fmla="*/ 378618 w 759618"/>
                <a:gd name="connsiteY137" fmla="*/ 311944 h 1012031"/>
                <a:gd name="connsiteX138" fmla="*/ 385762 w 759618"/>
                <a:gd name="connsiteY138" fmla="*/ 335756 h 1012031"/>
                <a:gd name="connsiteX139" fmla="*/ 357187 w 759618"/>
                <a:gd name="connsiteY139" fmla="*/ 359569 h 1012031"/>
                <a:gd name="connsiteX140" fmla="*/ 333375 w 759618"/>
                <a:gd name="connsiteY140" fmla="*/ 400050 h 1012031"/>
                <a:gd name="connsiteX141" fmla="*/ 333375 w 759618"/>
                <a:gd name="connsiteY141" fmla="*/ 414338 h 1012031"/>
                <a:gd name="connsiteX142" fmla="*/ 359568 w 759618"/>
                <a:gd name="connsiteY142" fmla="*/ 407194 h 1012031"/>
                <a:gd name="connsiteX143" fmla="*/ 381000 w 759618"/>
                <a:gd name="connsiteY143" fmla="*/ 414338 h 1012031"/>
                <a:gd name="connsiteX144" fmla="*/ 369093 w 759618"/>
                <a:gd name="connsiteY144" fmla="*/ 419100 h 1012031"/>
                <a:gd name="connsiteX145" fmla="*/ 338137 w 759618"/>
                <a:gd name="connsiteY145" fmla="*/ 428625 h 1012031"/>
                <a:gd name="connsiteX146" fmla="*/ 300037 w 759618"/>
                <a:gd name="connsiteY146" fmla="*/ 454819 h 1012031"/>
                <a:gd name="connsiteX147" fmla="*/ 345281 w 759618"/>
                <a:gd name="connsiteY147" fmla="*/ 461963 h 1012031"/>
                <a:gd name="connsiteX148" fmla="*/ 342900 w 759618"/>
                <a:gd name="connsiteY148" fmla="*/ 476250 h 1012031"/>
                <a:gd name="connsiteX149" fmla="*/ 292893 w 759618"/>
                <a:gd name="connsiteY149" fmla="*/ 478631 h 1012031"/>
                <a:gd name="connsiteX150" fmla="*/ 261937 w 759618"/>
                <a:gd name="connsiteY150" fmla="*/ 495300 h 1012031"/>
                <a:gd name="connsiteX151" fmla="*/ 228600 w 759618"/>
                <a:gd name="connsiteY151" fmla="*/ 504825 h 1012031"/>
                <a:gd name="connsiteX152" fmla="*/ 240506 w 759618"/>
                <a:gd name="connsiteY152" fmla="*/ 540544 h 1012031"/>
                <a:gd name="connsiteX153" fmla="*/ 257175 w 759618"/>
                <a:gd name="connsiteY153" fmla="*/ 557213 h 1012031"/>
                <a:gd name="connsiteX154" fmla="*/ 259556 w 759618"/>
                <a:gd name="connsiteY154" fmla="*/ 578644 h 1012031"/>
                <a:gd name="connsiteX155" fmla="*/ 290512 w 759618"/>
                <a:gd name="connsiteY155" fmla="*/ 585788 h 1012031"/>
                <a:gd name="connsiteX156" fmla="*/ 292893 w 759618"/>
                <a:gd name="connsiteY156" fmla="*/ 597694 h 1012031"/>
                <a:gd name="connsiteX157" fmla="*/ 273843 w 759618"/>
                <a:gd name="connsiteY157" fmla="*/ 616744 h 1012031"/>
                <a:gd name="connsiteX158" fmla="*/ 252412 w 759618"/>
                <a:gd name="connsiteY158" fmla="*/ 609600 h 1012031"/>
                <a:gd name="connsiteX159" fmla="*/ 235743 w 759618"/>
                <a:gd name="connsiteY159" fmla="*/ 607219 h 1012031"/>
                <a:gd name="connsiteX160" fmla="*/ 228600 w 759618"/>
                <a:gd name="connsiteY160" fmla="*/ 581025 h 1012031"/>
                <a:gd name="connsiteX161" fmla="*/ 204787 w 759618"/>
                <a:gd name="connsiteY161" fmla="*/ 547688 h 1012031"/>
                <a:gd name="connsiteX162" fmla="*/ 192881 w 759618"/>
                <a:gd name="connsiteY162" fmla="*/ 519113 h 1012031"/>
                <a:gd name="connsiteX163" fmla="*/ 166687 w 759618"/>
                <a:gd name="connsiteY163" fmla="*/ 507206 h 1012031"/>
                <a:gd name="connsiteX164" fmla="*/ 130968 w 759618"/>
                <a:gd name="connsiteY164" fmla="*/ 495300 h 1012031"/>
                <a:gd name="connsiteX165" fmla="*/ 135731 w 759618"/>
                <a:gd name="connsiteY165" fmla="*/ 535781 h 1012031"/>
                <a:gd name="connsiteX166" fmla="*/ 171450 w 759618"/>
                <a:gd name="connsiteY166" fmla="*/ 554831 h 1012031"/>
                <a:gd name="connsiteX167" fmla="*/ 164306 w 759618"/>
                <a:gd name="connsiteY167" fmla="*/ 569119 h 1012031"/>
                <a:gd name="connsiteX168" fmla="*/ 138112 w 759618"/>
                <a:gd name="connsiteY168" fmla="*/ 554831 h 1012031"/>
                <a:gd name="connsiteX169" fmla="*/ 173831 w 759618"/>
                <a:gd name="connsiteY169" fmla="*/ 595313 h 1012031"/>
                <a:gd name="connsiteX170" fmla="*/ 188118 w 759618"/>
                <a:gd name="connsiteY170" fmla="*/ 621506 h 1012031"/>
                <a:gd name="connsiteX171" fmla="*/ 197643 w 759618"/>
                <a:gd name="connsiteY171" fmla="*/ 642938 h 1012031"/>
                <a:gd name="connsiteX172" fmla="*/ 207168 w 759618"/>
                <a:gd name="connsiteY172" fmla="*/ 659606 h 1012031"/>
                <a:gd name="connsiteX173" fmla="*/ 207168 w 759618"/>
                <a:gd name="connsiteY173" fmla="*/ 659606 h 1012031"/>
                <a:gd name="connsiteX174" fmla="*/ 176212 w 759618"/>
                <a:gd name="connsiteY174" fmla="*/ 664369 h 1012031"/>
                <a:gd name="connsiteX175" fmla="*/ 200025 w 759618"/>
                <a:gd name="connsiteY175" fmla="*/ 681038 h 1012031"/>
                <a:gd name="connsiteX176" fmla="*/ 228600 w 759618"/>
                <a:gd name="connsiteY176" fmla="*/ 690563 h 1012031"/>
                <a:gd name="connsiteX177" fmla="*/ 242887 w 759618"/>
                <a:gd name="connsiteY177" fmla="*/ 685800 h 1012031"/>
                <a:gd name="connsiteX178" fmla="*/ 252412 w 759618"/>
                <a:gd name="connsiteY178" fmla="*/ 678656 h 1012031"/>
                <a:gd name="connsiteX179" fmla="*/ 264318 w 759618"/>
                <a:gd name="connsiteY179" fmla="*/ 704850 h 1012031"/>
                <a:gd name="connsiteX180" fmla="*/ 252412 w 759618"/>
                <a:gd name="connsiteY180" fmla="*/ 719138 h 1012031"/>
                <a:gd name="connsiteX181" fmla="*/ 235743 w 759618"/>
                <a:gd name="connsiteY181" fmla="*/ 745331 h 1012031"/>
                <a:gd name="connsiteX182" fmla="*/ 209550 w 759618"/>
                <a:gd name="connsiteY182" fmla="*/ 716756 h 1012031"/>
                <a:gd name="connsiteX183" fmla="*/ 185737 w 759618"/>
                <a:gd name="connsiteY183" fmla="*/ 704850 h 1012031"/>
                <a:gd name="connsiteX184" fmla="*/ 147637 w 759618"/>
                <a:gd name="connsiteY184" fmla="*/ 707231 h 1012031"/>
                <a:gd name="connsiteX185" fmla="*/ 135731 w 759618"/>
                <a:gd name="connsiteY185" fmla="*/ 716756 h 1012031"/>
                <a:gd name="connsiteX186" fmla="*/ 123825 w 759618"/>
                <a:gd name="connsiteY186" fmla="*/ 735806 h 1012031"/>
                <a:gd name="connsiteX187" fmla="*/ 114300 w 759618"/>
                <a:gd name="connsiteY187" fmla="*/ 766763 h 1012031"/>
                <a:gd name="connsiteX188" fmla="*/ 126206 w 759618"/>
                <a:gd name="connsiteY188" fmla="*/ 781050 h 1012031"/>
                <a:gd name="connsiteX189" fmla="*/ 145256 w 759618"/>
                <a:gd name="connsiteY189" fmla="*/ 757238 h 1012031"/>
                <a:gd name="connsiteX190" fmla="*/ 145256 w 759618"/>
                <a:gd name="connsiteY190" fmla="*/ 757238 h 1012031"/>
                <a:gd name="connsiteX191" fmla="*/ 152400 w 759618"/>
                <a:gd name="connsiteY191" fmla="*/ 778669 h 1012031"/>
                <a:gd name="connsiteX192" fmla="*/ 142875 w 759618"/>
                <a:gd name="connsiteY192" fmla="*/ 790575 h 1012031"/>
                <a:gd name="connsiteX193" fmla="*/ 173831 w 759618"/>
                <a:gd name="connsiteY193" fmla="*/ 776288 h 1012031"/>
                <a:gd name="connsiteX194" fmla="*/ 169068 w 759618"/>
                <a:gd name="connsiteY194" fmla="*/ 752475 h 1012031"/>
                <a:gd name="connsiteX195" fmla="*/ 183356 w 759618"/>
                <a:gd name="connsiteY195" fmla="*/ 747713 h 1012031"/>
                <a:gd name="connsiteX196" fmla="*/ 183356 w 759618"/>
                <a:gd name="connsiteY196" fmla="*/ 766763 h 1012031"/>
                <a:gd name="connsiteX197" fmla="*/ 188118 w 759618"/>
                <a:gd name="connsiteY197" fmla="*/ 778669 h 1012031"/>
                <a:gd name="connsiteX198" fmla="*/ 200025 w 759618"/>
                <a:gd name="connsiteY198" fmla="*/ 783431 h 1012031"/>
                <a:gd name="connsiteX199" fmla="*/ 197643 w 759618"/>
                <a:gd name="connsiteY199" fmla="*/ 797719 h 1012031"/>
                <a:gd name="connsiteX200" fmla="*/ 178593 w 759618"/>
                <a:gd name="connsiteY200" fmla="*/ 802481 h 1012031"/>
                <a:gd name="connsiteX201" fmla="*/ 166687 w 759618"/>
                <a:gd name="connsiteY201" fmla="*/ 812006 h 1012031"/>
                <a:gd name="connsiteX202" fmla="*/ 180975 w 759618"/>
                <a:gd name="connsiteY202" fmla="*/ 816769 h 1012031"/>
                <a:gd name="connsiteX203" fmla="*/ 173831 w 759618"/>
                <a:gd name="connsiteY203" fmla="*/ 838200 h 1012031"/>
                <a:gd name="connsiteX204" fmla="*/ 190500 w 759618"/>
                <a:gd name="connsiteY204" fmla="*/ 842963 h 1012031"/>
                <a:gd name="connsiteX205" fmla="*/ 190500 w 759618"/>
                <a:gd name="connsiteY205" fmla="*/ 842963 h 1012031"/>
                <a:gd name="connsiteX206" fmla="*/ 226218 w 759618"/>
                <a:gd name="connsiteY206" fmla="*/ 814388 h 1012031"/>
                <a:gd name="connsiteX207" fmla="*/ 230981 w 759618"/>
                <a:gd name="connsiteY207" fmla="*/ 795338 h 1012031"/>
                <a:gd name="connsiteX208" fmla="*/ 247650 w 759618"/>
                <a:gd name="connsiteY208" fmla="*/ 804863 h 1012031"/>
                <a:gd name="connsiteX209" fmla="*/ 228600 w 759618"/>
                <a:gd name="connsiteY209" fmla="*/ 842963 h 1012031"/>
                <a:gd name="connsiteX210" fmla="*/ 204787 w 759618"/>
                <a:gd name="connsiteY210" fmla="*/ 869156 h 1012031"/>
                <a:gd name="connsiteX211" fmla="*/ 192881 w 759618"/>
                <a:gd name="connsiteY211" fmla="*/ 873919 h 1012031"/>
                <a:gd name="connsiteX212" fmla="*/ 171450 w 759618"/>
                <a:gd name="connsiteY212" fmla="*/ 888206 h 1012031"/>
                <a:gd name="connsiteX213" fmla="*/ 142875 w 759618"/>
                <a:gd name="connsiteY213" fmla="*/ 859631 h 1012031"/>
                <a:gd name="connsiteX214" fmla="*/ 126206 w 759618"/>
                <a:gd name="connsiteY214" fmla="*/ 831056 h 1012031"/>
                <a:gd name="connsiteX215" fmla="*/ 104775 w 759618"/>
                <a:gd name="connsiteY215" fmla="*/ 828675 h 1012031"/>
                <a:gd name="connsiteX216" fmla="*/ 85725 w 759618"/>
                <a:gd name="connsiteY216" fmla="*/ 845344 h 1012031"/>
                <a:gd name="connsiteX217" fmla="*/ 100012 w 759618"/>
                <a:gd name="connsiteY217" fmla="*/ 864394 h 1012031"/>
                <a:gd name="connsiteX218" fmla="*/ 111918 w 759618"/>
                <a:gd name="connsiteY218" fmla="*/ 878681 h 1012031"/>
                <a:gd name="connsiteX219" fmla="*/ 123825 w 759618"/>
                <a:gd name="connsiteY219" fmla="*/ 888206 h 1012031"/>
                <a:gd name="connsiteX220" fmla="*/ 133350 w 759618"/>
                <a:gd name="connsiteY220" fmla="*/ 909638 h 1012031"/>
                <a:gd name="connsiteX221" fmla="*/ 109537 w 759618"/>
                <a:gd name="connsiteY221" fmla="*/ 921544 h 1012031"/>
                <a:gd name="connsiteX222" fmla="*/ 90487 w 759618"/>
                <a:gd name="connsiteY222" fmla="*/ 909638 h 1012031"/>
                <a:gd name="connsiteX223" fmla="*/ 71437 w 759618"/>
                <a:gd name="connsiteY223" fmla="*/ 935831 h 1012031"/>
                <a:gd name="connsiteX224" fmla="*/ 61912 w 759618"/>
                <a:gd name="connsiteY224" fmla="*/ 971550 h 1012031"/>
                <a:gd name="connsiteX225" fmla="*/ 80962 w 759618"/>
                <a:gd name="connsiteY225" fmla="*/ 954881 h 1012031"/>
                <a:gd name="connsiteX226" fmla="*/ 95250 w 759618"/>
                <a:gd name="connsiteY226" fmla="*/ 978694 h 1012031"/>
                <a:gd name="connsiteX227" fmla="*/ 109537 w 759618"/>
                <a:gd name="connsiteY227" fmla="*/ 964406 h 1012031"/>
                <a:gd name="connsiteX228" fmla="*/ 119062 w 759618"/>
                <a:gd name="connsiteY228" fmla="*/ 981075 h 1012031"/>
                <a:gd name="connsiteX229" fmla="*/ 126206 w 759618"/>
                <a:gd name="connsiteY229" fmla="*/ 959644 h 1012031"/>
                <a:gd name="connsiteX230" fmla="*/ 145256 w 759618"/>
                <a:gd name="connsiteY230" fmla="*/ 985838 h 1012031"/>
                <a:gd name="connsiteX231" fmla="*/ 169068 w 759618"/>
                <a:gd name="connsiteY231" fmla="*/ 1004888 h 1012031"/>
                <a:gd name="connsiteX232" fmla="*/ 161925 w 759618"/>
                <a:gd name="connsiteY232" fmla="*/ 978694 h 1012031"/>
                <a:gd name="connsiteX233" fmla="*/ 171450 w 759618"/>
                <a:gd name="connsiteY233" fmla="*/ 964406 h 1012031"/>
                <a:gd name="connsiteX234" fmla="*/ 180975 w 759618"/>
                <a:gd name="connsiteY234" fmla="*/ 973931 h 1012031"/>
                <a:gd name="connsiteX235" fmla="*/ 188118 w 759618"/>
                <a:gd name="connsiteY235" fmla="*/ 962025 h 1012031"/>
                <a:gd name="connsiteX236" fmla="*/ 197643 w 759618"/>
                <a:gd name="connsiteY236" fmla="*/ 981075 h 1012031"/>
                <a:gd name="connsiteX237" fmla="*/ 209550 w 759618"/>
                <a:gd name="connsiteY237" fmla="*/ 962025 h 1012031"/>
                <a:gd name="connsiteX238" fmla="*/ 228600 w 759618"/>
                <a:gd name="connsiteY238" fmla="*/ 983456 h 1012031"/>
                <a:gd name="connsiteX239" fmla="*/ 235743 w 759618"/>
                <a:gd name="connsiteY239" fmla="*/ 959644 h 1012031"/>
                <a:gd name="connsiteX240" fmla="*/ 254793 w 759618"/>
                <a:gd name="connsiteY240" fmla="*/ 973931 h 1012031"/>
                <a:gd name="connsiteX241" fmla="*/ 271462 w 759618"/>
                <a:gd name="connsiteY241" fmla="*/ 983456 h 1012031"/>
                <a:gd name="connsiteX242" fmla="*/ 278606 w 759618"/>
                <a:gd name="connsiteY242" fmla="*/ 1000125 h 1012031"/>
                <a:gd name="connsiteX243" fmla="*/ 269081 w 759618"/>
                <a:gd name="connsiteY243" fmla="*/ 1012031 h 1012031"/>
                <a:gd name="connsiteX244" fmla="*/ 316706 w 759618"/>
                <a:gd name="connsiteY244" fmla="*/ 976313 h 1012031"/>
                <a:gd name="connsiteX245" fmla="*/ 335756 w 759618"/>
                <a:gd name="connsiteY245" fmla="*/ 969169 h 1012031"/>
                <a:gd name="connsiteX246" fmla="*/ 342900 w 759618"/>
                <a:gd name="connsiteY246" fmla="*/ 950119 h 1012031"/>
                <a:gd name="connsiteX247" fmla="*/ 342900 w 759618"/>
                <a:gd name="connsiteY247" fmla="*/ 926306 h 1012031"/>
                <a:gd name="connsiteX248" fmla="*/ 321468 w 759618"/>
                <a:gd name="connsiteY248" fmla="*/ 935831 h 1012031"/>
                <a:gd name="connsiteX249" fmla="*/ 307181 w 759618"/>
                <a:gd name="connsiteY249" fmla="*/ 926306 h 1012031"/>
                <a:gd name="connsiteX250" fmla="*/ 307181 w 759618"/>
                <a:gd name="connsiteY250" fmla="*/ 900113 h 1012031"/>
                <a:gd name="connsiteX251" fmla="*/ 290512 w 759618"/>
                <a:gd name="connsiteY251" fmla="*/ 916781 h 1012031"/>
                <a:gd name="connsiteX252" fmla="*/ 269081 w 759618"/>
                <a:gd name="connsiteY252" fmla="*/ 892969 h 1012031"/>
                <a:gd name="connsiteX253" fmla="*/ 252412 w 759618"/>
                <a:gd name="connsiteY253" fmla="*/ 919163 h 1012031"/>
                <a:gd name="connsiteX254" fmla="*/ 233362 w 759618"/>
                <a:gd name="connsiteY254" fmla="*/ 902494 h 1012031"/>
                <a:gd name="connsiteX255" fmla="*/ 254793 w 759618"/>
                <a:gd name="connsiteY255" fmla="*/ 888206 h 1012031"/>
                <a:gd name="connsiteX256" fmla="*/ 254793 w 759618"/>
                <a:gd name="connsiteY256" fmla="*/ 862013 h 1012031"/>
                <a:gd name="connsiteX257" fmla="*/ 278606 w 759618"/>
                <a:gd name="connsiteY257" fmla="*/ 876300 h 1012031"/>
                <a:gd name="connsiteX258" fmla="*/ 307181 w 759618"/>
                <a:gd name="connsiteY258" fmla="*/ 885825 h 1012031"/>
                <a:gd name="connsiteX259" fmla="*/ 323850 w 759618"/>
                <a:gd name="connsiteY259" fmla="*/ 878681 h 1012031"/>
                <a:gd name="connsiteX260" fmla="*/ 338137 w 759618"/>
                <a:gd name="connsiteY260" fmla="*/ 869156 h 1012031"/>
                <a:gd name="connsiteX261" fmla="*/ 338137 w 759618"/>
                <a:gd name="connsiteY261" fmla="*/ 847725 h 1012031"/>
                <a:gd name="connsiteX262" fmla="*/ 335756 w 759618"/>
                <a:gd name="connsiteY262" fmla="*/ 823913 h 1012031"/>
                <a:gd name="connsiteX263" fmla="*/ 338137 w 759618"/>
                <a:gd name="connsiteY263" fmla="*/ 797719 h 1012031"/>
                <a:gd name="connsiteX264" fmla="*/ 364331 w 759618"/>
                <a:gd name="connsiteY264" fmla="*/ 814388 h 1012031"/>
                <a:gd name="connsiteX265" fmla="*/ 392906 w 759618"/>
                <a:gd name="connsiteY265" fmla="*/ 795338 h 1012031"/>
                <a:gd name="connsiteX266" fmla="*/ 373856 w 759618"/>
                <a:gd name="connsiteY266" fmla="*/ 783431 h 1012031"/>
                <a:gd name="connsiteX267" fmla="*/ 395287 w 759618"/>
                <a:gd name="connsiteY267" fmla="*/ 776288 h 1012031"/>
                <a:gd name="connsiteX268" fmla="*/ 407193 w 759618"/>
                <a:gd name="connsiteY268" fmla="*/ 762000 h 1012031"/>
                <a:gd name="connsiteX269" fmla="*/ 388143 w 759618"/>
                <a:gd name="connsiteY269" fmla="*/ 752475 h 1012031"/>
                <a:gd name="connsiteX270" fmla="*/ 404812 w 759618"/>
                <a:gd name="connsiteY270" fmla="*/ 738188 h 1012031"/>
                <a:gd name="connsiteX271" fmla="*/ 423862 w 759618"/>
                <a:gd name="connsiteY271" fmla="*/ 707231 h 1012031"/>
                <a:gd name="connsiteX272" fmla="*/ 383381 w 759618"/>
                <a:gd name="connsiteY272" fmla="*/ 697706 h 1012031"/>
                <a:gd name="connsiteX273" fmla="*/ 381000 w 759618"/>
                <a:gd name="connsiteY273" fmla="*/ 690563 h 1012031"/>
                <a:gd name="connsiteX274" fmla="*/ 350043 w 759618"/>
                <a:gd name="connsiteY274" fmla="*/ 690563 h 1012031"/>
                <a:gd name="connsiteX275" fmla="*/ 335756 w 759618"/>
                <a:gd name="connsiteY275" fmla="*/ 676275 h 1012031"/>
                <a:gd name="connsiteX276" fmla="*/ 354806 w 759618"/>
                <a:gd name="connsiteY276" fmla="*/ 654844 h 1012031"/>
                <a:gd name="connsiteX277" fmla="*/ 390525 w 759618"/>
                <a:gd name="connsiteY277" fmla="*/ 657225 h 1012031"/>
                <a:gd name="connsiteX278" fmla="*/ 416718 w 759618"/>
                <a:gd name="connsiteY278" fmla="*/ 683419 h 1012031"/>
                <a:gd name="connsiteX279" fmla="*/ 428625 w 759618"/>
                <a:gd name="connsiteY279" fmla="*/ 647700 h 1012031"/>
                <a:gd name="connsiteX280" fmla="*/ 397668 w 759618"/>
                <a:gd name="connsiteY280" fmla="*/ 640556 h 1012031"/>
                <a:gd name="connsiteX281" fmla="*/ 359568 w 759618"/>
                <a:gd name="connsiteY281" fmla="*/ 631031 h 1012031"/>
                <a:gd name="connsiteX282" fmla="*/ 371475 w 759618"/>
                <a:gd name="connsiteY282" fmla="*/ 619125 h 1012031"/>
                <a:gd name="connsiteX283" fmla="*/ 395287 w 759618"/>
                <a:gd name="connsiteY283" fmla="*/ 616744 h 1012031"/>
                <a:gd name="connsiteX284" fmla="*/ 416718 w 759618"/>
                <a:gd name="connsiteY284" fmla="*/ 628650 h 1012031"/>
                <a:gd name="connsiteX285" fmla="*/ 442912 w 759618"/>
                <a:gd name="connsiteY285" fmla="*/ 607219 h 1012031"/>
                <a:gd name="connsiteX286" fmla="*/ 452437 w 759618"/>
                <a:gd name="connsiteY286" fmla="*/ 592931 h 1012031"/>
                <a:gd name="connsiteX287" fmla="*/ 428625 w 759618"/>
                <a:gd name="connsiteY287" fmla="*/ 576263 h 1012031"/>
                <a:gd name="connsiteX288" fmla="*/ 440531 w 759618"/>
                <a:gd name="connsiteY288" fmla="*/ 564356 h 1012031"/>
                <a:gd name="connsiteX289" fmla="*/ 464343 w 759618"/>
                <a:gd name="connsiteY289" fmla="*/ 578644 h 1012031"/>
                <a:gd name="connsiteX290" fmla="*/ 497681 w 759618"/>
                <a:gd name="connsiteY290" fmla="*/ 590550 h 1012031"/>
                <a:gd name="connsiteX291" fmla="*/ 511968 w 759618"/>
                <a:gd name="connsiteY291" fmla="*/ 557213 h 1012031"/>
                <a:gd name="connsiteX292" fmla="*/ 526256 w 759618"/>
                <a:gd name="connsiteY292" fmla="*/ 528638 h 1012031"/>
                <a:gd name="connsiteX293" fmla="*/ 502443 w 759618"/>
                <a:gd name="connsiteY293" fmla="*/ 531019 h 1012031"/>
                <a:gd name="connsiteX294" fmla="*/ 488156 w 759618"/>
                <a:gd name="connsiteY294" fmla="*/ 519113 h 1012031"/>
                <a:gd name="connsiteX295" fmla="*/ 542924 w 759618"/>
                <a:gd name="connsiteY295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581024 w 759618"/>
                <a:gd name="connsiteY2" fmla="*/ 464343 h 1012031"/>
                <a:gd name="connsiteX3" fmla="*/ 545306 w 759618"/>
                <a:gd name="connsiteY3" fmla="*/ 428625 h 1012031"/>
                <a:gd name="connsiteX4" fmla="*/ 626268 w 759618"/>
                <a:gd name="connsiteY4" fmla="*/ 357188 h 1012031"/>
                <a:gd name="connsiteX5" fmla="*/ 678656 w 759618"/>
                <a:gd name="connsiteY5" fmla="*/ 307181 h 1012031"/>
                <a:gd name="connsiteX6" fmla="*/ 600075 w 759618"/>
                <a:gd name="connsiteY6" fmla="*/ 335756 h 1012031"/>
                <a:gd name="connsiteX7" fmla="*/ 554831 w 759618"/>
                <a:gd name="connsiteY7" fmla="*/ 373856 h 1012031"/>
                <a:gd name="connsiteX8" fmla="*/ 535781 w 759618"/>
                <a:gd name="connsiteY8" fmla="*/ 369094 h 1012031"/>
                <a:gd name="connsiteX9" fmla="*/ 597693 w 759618"/>
                <a:gd name="connsiteY9" fmla="*/ 309563 h 1012031"/>
                <a:gd name="connsiteX10" fmla="*/ 573881 w 759618"/>
                <a:gd name="connsiteY10" fmla="*/ 288131 h 1012031"/>
                <a:gd name="connsiteX11" fmla="*/ 561975 w 759618"/>
                <a:gd name="connsiteY11" fmla="*/ 261938 h 1012031"/>
                <a:gd name="connsiteX12" fmla="*/ 614362 w 759618"/>
                <a:gd name="connsiteY12" fmla="*/ 292894 h 1012031"/>
                <a:gd name="connsiteX13" fmla="*/ 650081 w 759618"/>
                <a:gd name="connsiteY13" fmla="*/ 290513 h 1012031"/>
                <a:gd name="connsiteX14" fmla="*/ 650081 w 759618"/>
                <a:gd name="connsiteY14" fmla="*/ 273844 h 1012031"/>
                <a:gd name="connsiteX15" fmla="*/ 678656 w 759618"/>
                <a:gd name="connsiteY15" fmla="*/ 271463 h 1012031"/>
                <a:gd name="connsiteX16" fmla="*/ 721518 w 759618"/>
                <a:gd name="connsiteY16" fmla="*/ 221456 h 1012031"/>
                <a:gd name="connsiteX17" fmla="*/ 759618 w 759618"/>
                <a:gd name="connsiteY17" fmla="*/ 150019 h 1012031"/>
                <a:gd name="connsiteX18" fmla="*/ 738187 w 759618"/>
                <a:gd name="connsiteY18" fmla="*/ 126206 h 1012031"/>
                <a:gd name="connsiteX19" fmla="*/ 704850 w 759618"/>
                <a:gd name="connsiteY19" fmla="*/ 121444 h 1012031"/>
                <a:gd name="connsiteX20" fmla="*/ 692943 w 759618"/>
                <a:gd name="connsiteY20" fmla="*/ 73819 h 1012031"/>
                <a:gd name="connsiteX21" fmla="*/ 669131 w 759618"/>
                <a:gd name="connsiteY21" fmla="*/ 59531 h 1012031"/>
                <a:gd name="connsiteX22" fmla="*/ 628650 w 759618"/>
                <a:gd name="connsiteY22" fmla="*/ 78581 h 1012031"/>
                <a:gd name="connsiteX23" fmla="*/ 614362 w 759618"/>
                <a:gd name="connsiteY23" fmla="*/ 102394 h 1012031"/>
                <a:gd name="connsiteX24" fmla="*/ 588168 w 759618"/>
                <a:gd name="connsiteY24" fmla="*/ 114300 h 1012031"/>
                <a:gd name="connsiteX25" fmla="*/ 576262 w 759618"/>
                <a:gd name="connsiteY25" fmla="*/ 107156 h 1012031"/>
                <a:gd name="connsiteX26" fmla="*/ 592931 w 759618"/>
                <a:gd name="connsiteY26" fmla="*/ 85725 h 1012031"/>
                <a:gd name="connsiteX27" fmla="*/ 621506 w 759618"/>
                <a:gd name="connsiteY27" fmla="*/ 50006 h 1012031"/>
                <a:gd name="connsiteX28" fmla="*/ 585787 w 759618"/>
                <a:gd name="connsiteY28" fmla="*/ 33338 h 1012031"/>
                <a:gd name="connsiteX29" fmla="*/ 557212 w 759618"/>
                <a:gd name="connsiteY29" fmla="*/ 38100 h 1012031"/>
                <a:gd name="connsiteX30" fmla="*/ 540543 w 759618"/>
                <a:gd name="connsiteY30" fmla="*/ 16669 h 1012031"/>
                <a:gd name="connsiteX31" fmla="*/ 526256 w 759618"/>
                <a:gd name="connsiteY31" fmla="*/ 16669 h 1012031"/>
                <a:gd name="connsiteX32" fmla="*/ 519112 w 759618"/>
                <a:gd name="connsiteY32" fmla="*/ 28575 h 1012031"/>
                <a:gd name="connsiteX33" fmla="*/ 533400 w 759618"/>
                <a:gd name="connsiteY33" fmla="*/ 61913 h 1012031"/>
                <a:gd name="connsiteX34" fmla="*/ 519112 w 759618"/>
                <a:gd name="connsiteY34" fmla="*/ 69056 h 1012031"/>
                <a:gd name="connsiteX35" fmla="*/ 500062 w 759618"/>
                <a:gd name="connsiteY35" fmla="*/ 33338 h 1012031"/>
                <a:gd name="connsiteX36" fmla="*/ 495300 w 759618"/>
                <a:gd name="connsiteY36" fmla="*/ 0 h 1012031"/>
                <a:gd name="connsiteX37" fmla="*/ 466725 w 759618"/>
                <a:gd name="connsiteY37" fmla="*/ 40481 h 1012031"/>
                <a:gd name="connsiteX38" fmla="*/ 466725 w 759618"/>
                <a:gd name="connsiteY38" fmla="*/ 61913 h 1012031"/>
                <a:gd name="connsiteX39" fmla="*/ 490537 w 759618"/>
                <a:gd name="connsiteY39" fmla="*/ 80963 h 1012031"/>
                <a:gd name="connsiteX40" fmla="*/ 490537 w 759618"/>
                <a:gd name="connsiteY40" fmla="*/ 100013 h 1012031"/>
                <a:gd name="connsiteX41" fmla="*/ 464343 w 759618"/>
                <a:gd name="connsiteY41" fmla="*/ 95250 h 1012031"/>
                <a:gd name="connsiteX42" fmla="*/ 442912 w 759618"/>
                <a:gd name="connsiteY42" fmla="*/ 64294 h 1012031"/>
                <a:gd name="connsiteX43" fmla="*/ 433387 w 759618"/>
                <a:gd name="connsiteY43" fmla="*/ 40481 h 1012031"/>
                <a:gd name="connsiteX44" fmla="*/ 414337 w 759618"/>
                <a:gd name="connsiteY44" fmla="*/ 33338 h 1012031"/>
                <a:gd name="connsiteX45" fmla="*/ 383381 w 759618"/>
                <a:gd name="connsiteY45" fmla="*/ 38100 h 1012031"/>
                <a:gd name="connsiteX46" fmla="*/ 376237 w 759618"/>
                <a:gd name="connsiteY46" fmla="*/ 42863 h 1012031"/>
                <a:gd name="connsiteX47" fmla="*/ 378618 w 759618"/>
                <a:gd name="connsiteY47" fmla="*/ 69056 h 1012031"/>
                <a:gd name="connsiteX48" fmla="*/ 402431 w 759618"/>
                <a:gd name="connsiteY48" fmla="*/ 88106 h 1012031"/>
                <a:gd name="connsiteX49" fmla="*/ 416718 w 759618"/>
                <a:gd name="connsiteY49" fmla="*/ 109538 h 1012031"/>
                <a:gd name="connsiteX50" fmla="*/ 402431 w 759618"/>
                <a:gd name="connsiteY50" fmla="*/ 145256 h 1012031"/>
                <a:gd name="connsiteX51" fmla="*/ 385762 w 759618"/>
                <a:gd name="connsiteY51" fmla="*/ 135731 h 1012031"/>
                <a:gd name="connsiteX52" fmla="*/ 381000 w 759618"/>
                <a:gd name="connsiteY52" fmla="*/ 104775 h 1012031"/>
                <a:gd name="connsiteX53" fmla="*/ 352425 w 759618"/>
                <a:gd name="connsiteY53" fmla="*/ 59531 h 1012031"/>
                <a:gd name="connsiteX54" fmla="*/ 333375 w 759618"/>
                <a:gd name="connsiteY54" fmla="*/ 69056 h 1012031"/>
                <a:gd name="connsiteX55" fmla="*/ 323850 w 759618"/>
                <a:gd name="connsiteY55" fmla="*/ 50006 h 1012031"/>
                <a:gd name="connsiteX56" fmla="*/ 302418 w 759618"/>
                <a:gd name="connsiteY56" fmla="*/ 42863 h 1012031"/>
                <a:gd name="connsiteX57" fmla="*/ 290512 w 759618"/>
                <a:gd name="connsiteY57" fmla="*/ 64294 h 1012031"/>
                <a:gd name="connsiteX58" fmla="*/ 304800 w 759618"/>
                <a:gd name="connsiteY58" fmla="*/ 76200 h 1012031"/>
                <a:gd name="connsiteX59" fmla="*/ 323850 w 759618"/>
                <a:gd name="connsiteY59" fmla="*/ 92869 h 1012031"/>
                <a:gd name="connsiteX60" fmla="*/ 335756 w 759618"/>
                <a:gd name="connsiteY60" fmla="*/ 100013 h 1012031"/>
                <a:gd name="connsiteX61" fmla="*/ 328612 w 759618"/>
                <a:gd name="connsiteY61" fmla="*/ 111919 h 1012031"/>
                <a:gd name="connsiteX62" fmla="*/ 307181 w 759618"/>
                <a:gd name="connsiteY62" fmla="*/ 100013 h 1012031"/>
                <a:gd name="connsiteX63" fmla="*/ 264318 w 759618"/>
                <a:gd name="connsiteY63" fmla="*/ 76200 h 1012031"/>
                <a:gd name="connsiteX64" fmla="*/ 280987 w 759618"/>
                <a:gd name="connsiteY64" fmla="*/ 114300 h 1012031"/>
                <a:gd name="connsiteX65" fmla="*/ 292893 w 759618"/>
                <a:gd name="connsiteY65" fmla="*/ 130969 h 1012031"/>
                <a:gd name="connsiteX66" fmla="*/ 280987 w 759618"/>
                <a:gd name="connsiteY66" fmla="*/ 140494 h 1012031"/>
                <a:gd name="connsiteX67" fmla="*/ 247650 w 759618"/>
                <a:gd name="connsiteY67" fmla="*/ 100013 h 1012031"/>
                <a:gd name="connsiteX68" fmla="*/ 261937 w 759618"/>
                <a:gd name="connsiteY68" fmla="*/ 142875 h 1012031"/>
                <a:gd name="connsiteX69" fmla="*/ 242887 w 759618"/>
                <a:gd name="connsiteY69" fmla="*/ 150019 h 1012031"/>
                <a:gd name="connsiteX70" fmla="*/ 257175 w 759618"/>
                <a:gd name="connsiteY70" fmla="*/ 178594 h 1012031"/>
                <a:gd name="connsiteX71" fmla="*/ 278606 w 759618"/>
                <a:gd name="connsiteY71" fmla="*/ 195263 h 1012031"/>
                <a:gd name="connsiteX72" fmla="*/ 307181 w 759618"/>
                <a:gd name="connsiteY72" fmla="*/ 228600 h 1012031"/>
                <a:gd name="connsiteX73" fmla="*/ 316706 w 759618"/>
                <a:gd name="connsiteY73" fmla="*/ 254794 h 1012031"/>
                <a:gd name="connsiteX74" fmla="*/ 316706 w 759618"/>
                <a:gd name="connsiteY74" fmla="*/ 254794 h 1012031"/>
                <a:gd name="connsiteX75" fmla="*/ 285750 w 759618"/>
                <a:gd name="connsiteY75" fmla="*/ 235744 h 1012031"/>
                <a:gd name="connsiteX76" fmla="*/ 238125 w 759618"/>
                <a:gd name="connsiteY76" fmla="*/ 221456 h 1012031"/>
                <a:gd name="connsiteX77" fmla="*/ 223837 w 759618"/>
                <a:gd name="connsiteY77" fmla="*/ 195263 h 1012031"/>
                <a:gd name="connsiteX78" fmla="*/ 204787 w 759618"/>
                <a:gd name="connsiteY78" fmla="*/ 166688 h 1012031"/>
                <a:gd name="connsiteX79" fmla="*/ 166687 w 759618"/>
                <a:gd name="connsiteY79" fmla="*/ 130969 h 1012031"/>
                <a:gd name="connsiteX80" fmla="*/ 166687 w 759618"/>
                <a:gd name="connsiteY80" fmla="*/ 157163 h 1012031"/>
                <a:gd name="connsiteX81" fmla="*/ 173831 w 759618"/>
                <a:gd name="connsiteY81" fmla="*/ 176213 h 1012031"/>
                <a:gd name="connsiteX82" fmla="*/ 171450 w 759618"/>
                <a:gd name="connsiteY82" fmla="*/ 188119 h 1012031"/>
                <a:gd name="connsiteX83" fmla="*/ 152400 w 759618"/>
                <a:gd name="connsiteY83" fmla="*/ 195263 h 1012031"/>
                <a:gd name="connsiteX84" fmla="*/ 128587 w 759618"/>
                <a:gd name="connsiteY84" fmla="*/ 190500 h 1012031"/>
                <a:gd name="connsiteX85" fmla="*/ 178593 w 759618"/>
                <a:gd name="connsiteY85" fmla="*/ 214313 h 1012031"/>
                <a:gd name="connsiteX86" fmla="*/ 188118 w 759618"/>
                <a:gd name="connsiteY86" fmla="*/ 228600 h 1012031"/>
                <a:gd name="connsiteX87" fmla="*/ 185737 w 759618"/>
                <a:gd name="connsiteY87" fmla="*/ 250031 h 1012031"/>
                <a:gd name="connsiteX88" fmla="*/ 157162 w 759618"/>
                <a:gd name="connsiteY88" fmla="*/ 228600 h 1012031"/>
                <a:gd name="connsiteX89" fmla="*/ 121443 w 759618"/>
                <a:gd name="connsiteY89" fmla="*/ 223838 h 1012031"/>
                <a:gd name="connsiteX90" fmla="*/ 97631 w 759618"/>
                <a:gd name="connsiteY90" fmla="*/ 211931 h 1012031"/>
                <a:gd name="connsiteX91" fmla="*/ 73818 w 759618"/>
                <a:gd name="connsiteY91" fmla="*/ 235744 h 1012031"/>
                <a:gd name="connsiteX92" fmla="*/ 73818 w 759618"/>
                <a:gd name="connsiteY92" fmla="*/ 257175 h 1012031"/>
                <a:gd name="connsiteX93" fmla="*/ 52387 w 759618"/>
                <a:gd name="connsiteY93" fmla="*/ 273844 h 1012031"/>
                <a:gd name="connsiteX94" fmla="*/ 35718 w 759618"/>
                <a:gd name="connsiteY94" fmla="*/ 254794 h 1012031"/>
                <a:gd name="connsiteX95" fmla="*/ 19050 w 759618"/>
                <a:gd name="connsiteY95" fmla="*/ 264319 h 1012031"/>
                <a:gd name="connsiteX96" fmla="*/ 0 w 759618"/>
                <a:gd name="connsiteY96" fmla="*/ 297656 h 1012031"/>
                <a:gd name="connsiteX97" fmla="*/ 26193 w 759618"/>
                <a:gd name="connsiteY97" fmla="*/ 283369 h 1012031"/>
                <a:gd name="connsiteX98" fmla="*/ 38100 w 759618"/>
                <a:gd name="connsiteY98" fmla="*/ 273844 h 1012031"/>
                <a:gd name="connsiteX99" fmla="*/ 52387 w 759618"/>
                <a:gd name="connsiteY99" fmla="*/ 288131 h 1012031"/>
                <a:gd name="connsiteX100" fmla="*/ 30956 w 759618"/>
                <a:gd name="connsiteY100" fmla="*/ 323850 h 1012031"/>
                <a:gd name="connsiteX101" fmla="*/ 69056 w 759618"/>
                <a:gd name="connsiteY101" fmla="*/ 300038 h 1012031"/>
                <a:gd name="connsiteX102" fmla="*/ 92868 w 759618"/>
                <a:gd name="connsiteY102" fmla="*/ 295275 h 1012031"/>
                <a:gd name="connsiteX103" fmla="*/ 114300 w 759618"/>
                <a:gd name="connsiteY103" fmla="*/ 300038 h 1012031"/>
                <a:gd name="connsiteX104" fmla="*/ 111918 w 759618"/>
                <a:gd name="connsiteY104" fmla="*/ 316706 h 1012031"/>
                <a:gd name="connsiteX105" fmla="*/ 92868 w 759618"/>
                <a:gd name="connsiteY105" fmla="*/ 311944 h 1012031"/>
                <a:gd name="connsiteX106" fmla="*/ 66675 w 759618"/>
                <a:gd name="connsiteY106" fmla="*/ 338138 h 1012031"/>
                <a:gd name="connsiteX107" fmla="*/ 69056 w 759618"/>
                <a:gd name="connsiteY107" fmla="*/ 359569 h 1012031"/>
                <a:gd name="connsiteX108" fmla="*/ 50006 w 759618"/>
                <a:gd name="connsiteY108" fmla="*/ 369094 h 1012031"/>
                <a:gd name="connsiteX109" fmla="*/ 59531 w 759618"/>
                <a:gd name="connsiteY109" fmla="*/ 385763 h 1012031"/>
                <a:gd name="connsiteX110" fmla="*/ 88106 w 759618"/>
                <a:gd name="connsiteY110" fmla="*/ 376238 h 1012031"/>
                <a:gd name="connsiteX111" fmla="*/ 116681 w 759618"/>
                <a:gd name="connsiteY111" fmla="*/ 378619 h 1012031"/>
                <a:gd name="connsiteX112" fmla="*/ 138112 w 759618"/>
                <a:gd name="connsiteY112" fmla="*/ 354806 h 1012031"/>
                <a:gd name="connsiteX113" fmla="*/ 164306 w 759618"/>
                <a:gd name="connsiteY113" fmla="*/ 335756 h 1012031"/>
                <a:gd name="connsiteX114" fmla="*/ 178593 w 759618"/>
                <a:gd name="connsiteY114" fmla="*/ 340519 h 1012031"/>
                <a:gd name="connsiteX115" fmla="*/ 157162 w 759618"/>
                <a:gd name="connsiteY115" fmla="*/ 366713 h 1012031"/>
                <a:gd name="connsiteX116" fmla="*/ 114300 w 759618"/>
                <a:gd name="connsiteY116" fmla="*/ 407194 h 1012031"/>
                <a:gd name="connsiteX117" fmla="*/ 73818 w 759618"/>
                <a:gd name="connsiteY117" fmla="*/ 411956 h 1012031"/>
                <a:gd name="connsiteX118" fmla="*/ 102393 w 759618"/>
                <a:gd name="connsiteY118" fmla="*/ 447675 h 1012031"/>
                <a:gd name="connsiteX119" fmla="*/ 133350 w 759618"/>
                <a:gd name="connsiteY119" fmla="*/ 419100 h 1012031"/>
                <a:gd name="connsiteX120" fmla="*/ 169068 w 759618"/>
                <a:gd name="connsiteY120" fmla="*/ 378619 h 1012031"/>
                <a:gd name="connsiteX121" fmla="*/ 209550 w 759618"/>
                <a:gd name="connsiteY121" fmla="*/ 371475 h 1012031"/>
                <a:gd name="connsiteX122" fmla="*/ 223837 w 759618"/>
                <a:gd name="connsiteY122" fmla="*/ 373856 h 1012031"/>
                <a:gd name="connsiteX123" fmla="*/ 183356 w 759618"/>
                <a:gd name="connsiteY123" fmla="*/ 402431 h 1012031"/>
                <a:gd name="connsiteX124" fmla="*/ 154781 w 759618"/>
                <a:gd name="connsiteY124" fmla="*/ 428625 h 1012031"/>
                <a:gd name="connsiteX125" fmla="*/ 147637 w 759618"/>
                <a:gd name="connsiteY125" fmla="*/ 454819 h 1012031"/>
                <a:gd name="connsiteX126" fmla="*/ 169068 w 759618"/>
                <a:gd name="connsiteY126" fmla="*/ 466725 h 1012031"/>
                <a:gd name="connsiteX127" fmla="*/ 197643 w 759618"/>
                <a:gd name="connsiteY127" fmla="*/ 454819 h 1012031"/>
                <a:gd name="connsiteX128" fmla="*/ 197643 w 759618"/>
                <a:gd name="connsiteY128" fmla="*/ 423863 h 1012031"/>
                <a:gd name="connsiteX129" fmla="*/ 211931 w 759618"/>
                <a:gd name="connsiteY129" fmla="*/ 411956 h 1012031"/>
                <a:gd name="connsiteX130" fmla="*/ 228600 w 759618"/>
                <a:gd name="connsiteY130" fmla="*/ 428625 h 1012031"/>
                <a:gd name="connsiteX131" fmla="*/ 254793 w 759618"/>
                <a:gd name="connsiteY131" fmla="*/ 423863 h 1012031"/>
                <a:gd name="connsiteX132" fmla="*/ 240506 w 759618"/>
                <a:gd name="connsiteY132" fmla="*/ 445294 h 1012031"/>
                <a:gd name="connsiteX133" fmla="*/ 216693 w 759618"/>
                <a:gd name="connsiteY133" fmla="*/ 452438 h 1012031"/>
                <a:gd name="connsiteX134" fmla="*/ 242887 w 759618"/>
                <a:gd name="connsiteY134" fmla="*/ 464344 h 1012031"/>
                <a:gd name="connsiteX135" fmla="*/ 304800 w 759618"/>
                <a:gd name="connsiteY135" fmla="*/ 411956 h 1012031"/>
                <a:gd name="connsiteX136" fmla="*/ 307181 w 759618"/>
                <a:gd name="connsiteY136" fmla="*/ 364331 h 1012031"/>
                <a:gd name="connsiteX137" fmla="*/ 378618 w 759618"/>
                <a:gd name="connsiteY137" fmla="*/ 311944 h 1012031"/>
                <a:gd name="connsiteX138" fmla="*/ 385762 w 759618"/>
                <a:gd name="connsiteY138" fmla="*/ 335756 h 1012031"/>
                <a:gd name="connsiteX139" fmla="*/ 357187 w 759618"/>
                <a:gd name="connsiteY139" fmla="*/ 359569 h 1012031"/>
                <a:gd name="connsiteX140" fmla="*/ 333375 w 759618"/>
                <a:gd name="connsiteY140" fmla="*/ 400050 h 1012031"/>
                <a:gd name="connsiteX141" fmla="*/ 333375 w 759618"/>
                <a:gd name="connsiteY141" fmla="*/ 414338 h 1012031"/>
                <a:gd name="connsiteX142" fmla="*/ 359568 w 759618"/>
                <a:gd name="connsiteY142" fmla="*/ 407194 h 1012031"/>
                <a:gd name="connsiteX143" fmla="*/ 381000 w 759618"/>
                <a:gd name="connsiteY143" fmla="*/ 414338 h 1012031"/>
                <a:gd name="connsiteX144" fmla="*/ 369093 w 759618"/>
                <a:gd name="connsiteY144" fmla="*/ 419100 h 1012031"/>
                <a:gd name="connsiteX145" fmla="*/ 338137 w 759618"/>
                <a:gd name="connsiteY145" fmla="*/ 428625 h 1012031"/>
                <a:gd name="connsiteX146" fmla="*/ 300037 w 759618"/>
                <a:gd name="connsiteY146" fmla="*/ 454819 h 1012031"/>
                <a:gd name="connsiteX147" fmla="*/ 345281 w 759618"/>
                <a:gd name="connsiteY147" fmla="*/ 461963 h 1012031"/>
                <a:gd name="connsiteX148" fmla="*/ 342900 w 759618"/>
                <a:gd name="connsiteY148" fmla="*/ 476250 h 1012031"/>
                <a:gd name="connsiteX149" fmla="*/ 292893 w 759618"/>
                <a:gd name="connsiteY149" fmla="*/ 478631 h 1012031"/>
                <a:gd name="connsiteX150" fmla="*/ 261937 w 759618"/>
                <a:gd name="connsiteY150" fmla="*/ 495300 h 1012031"/>
                <a:gd name="connsiteX151" fmla="*/ 228600 w 759618"/>
                <a:gd name="connsiteY151" fmla="*/ 504825 h 1012031"/>
                <a:gd name="connsiteX152" fmla="*/ 240506 w 759618"/>
                <a:gd name="connsiteY152" fmla="*/ 540544 h 1012031"/>
                <a:gd name="connsiteX153" fmla="*/ 257175 w 759618"/>
                <a:gd name="connsiteY153" fmla="*/ 557213 h 1012031"/>
                <a:gd name="connsiteX154" fmla="*/ 259556 w 759618"/>
                <a:gd name="connsiteY154" fmla="*/ 578644 h 1012031"/>
                <a:gd name="connsiteX155" fmla="*/ 290512 w 759618"/>
                <a:gd name="connsiteY155" fmla="*/ 585788 h 1012031"/>
                <a:gd name="connsiteX156" fmla="*/ 292893 w 759618"/>
                <a:gd name="connsiteY156" fmla="*/ 597694 h 1012031"/>
                <a:gd name="connsiteX157" fmla="*/ 273843 w 759618"/>
                <a:gd name="connsiteY157" fmla="*/ 616744 h 1012031"/>
                <a:gd name="connsiteX158" fmla="*/ 252412 w 759618"/>
                <a:gd name="connsiteY158" fmla="*/ 609600 h 1012031"/>
                <a:gd name="connsiteX159" fmla="*/ 235743 w 759618"/>
                <a:gd name="connsiteY159" fmla="*/ 607219 h 1012031"/>
                <a:gd name="connsiteX160" fmla="*/ 228600 w 759618"/>
                <a:gd name="connsiteY160" fmla="*/ 581025 h 1012031"/>
                <a:gd name="connsiteX161" fmla="*/ 204787 w 759618"/>
                <a:gd name="connsiteY161" fmla="*/ 547688 h 1012031"/>
                <a:gd name="connsiteX162" fmla="*/ 192881 w 759618"/>
                <a:gd name="connsiteY162" fmla="*/ 519113 h 1012031"/>
                <a:gd name="connsiteX163" fmla="*/ 166687 w 759618"/>
                <a:gd name="connsiteY163" fmla="*/ 507206 h 1012031"/>
                <a:gd name="connsiteX164" fmla="*/ 130968 w 759618"/>
                <a:gd name="connsiteY164" fmla="*/ 495300 h 1012031"/>
                <a:gd name="connsiteX165" fmla="*/ 135731 w 759618"/>
                <a:gd name="connsiteY165" fmla="*/ 535781 h 1012031"/>
                <a:gd name="connsiteX166" fmla="*/ 171450 w 759618"/>
                <a:gd name="connsiteY166" fmla="*/ 554831 h 1012031"/>
                <a:gd name="connsiteX167" fmla="*/ 164306 w 759618"/>
                <a:gd name="connsiteY167" fmla="*/ 569119 h 1012031"/>
                <a:gd name="connsiteX168" fmla="*/ 138112 w 759618"/>
                <a:gd name="connsiteY168" fmla="*/ 554831 h 1012031"/>
                <a:gd name="connsiteX169" fmla="*/ 173831 w 759618"/>
                <a:gd name="connsiteY169" fmla="*/ 595313 h 1012031"/>
                <a:gd name="connsiteX170" fmla="*/ 188118 w 759618"/>
                <a:gd name="connsiteY170" fmla="*/ 621506 h 1012031"/>
                <a:gd name="connsiteX171" fmla="*/ 197643 w 759618"/>
                <a:gd name="connsiteY171" fmla="*/ 642938 h 1012031"/>
                <a:gd name="connsiteX172" fmla="*/ 207168 w 759618"/>
                <a:gd name="connsiteY172" fmla="*/ 659606 h 1012031"/>
                <a:gd name="connsiteX173" fmla="*/ 207168 w 759618"/>
                <a:gd name="connsiteY173" fmla="*/ 659606 h 1012031"/>
                <a:gd name="connsiteX174" fmla="*/ 176212 w 759618"/>
                <a:gd name="connsiteY174" fmla="*/ 664369 h 1012031"/>
                <a:gd name="connsiteX175" fmla="*/ 200025 w 759618"/>
                <a:gd name="connsiteY175" fmla="*/ 681038 h 1012031"/>
                <a:gd name="connsiteX176" fmla="*/ 228600 w 759618"/>
                <a:gd name="connsiteY176" fmla="*/ 690563 h 1012031"/>
                <a:gd name="connsiteX177" fmla="*/ 242887 w 759618"/>
                <a:gd name="connsiteY177" fmla="*/ 685800 h 1012031"/>
                <a:gd name="connsiteX178" fmla="*/ 252412 w 759618"/>
                <a:gd name="connsiteY178" fmla="*/ 678656 h 1012031"/>
                <a:gd name="connsiteX179" fmla="*/ 264318 w 759618"/>
                <a:gd name="connsiteY179" fmla="*/ 704850 h 1012031"/>
                <a:gd name="connsiteX180" fmla="*/ 252412 w 759618"/>
                <a:gd name="connsiteY180" fmla="*/ 719138 h 1012031"/>
                <a:gd name="connsiteX181" fmla="*/ 235743 w 759618"/>
                <a:gd name="connsiteY181" fmla="*/ 745331 h 1012031"/>
                <a:gd name="connsiteX182" fmla="*/ 209550 w 759618"/>
                <a:gd name="connsiteY182" fmla="*/ 716756 h 1012031"/>
                <a:gd name="connsiteX183" fmla="*/ 185737 w 759618"/>
                <a:gd name="connsiteY183" fmla="*/ 704850 h 1012031"/>
                <a:gd name="connsiteX184" fmla="*/ 147637 w 759618"/>
                <a:gd name="connsiteY184" fmla="*/ 707231 h 1012031"/>
                <a:gd name="connsiteX185" fmla="*/ 135731 w 759618"/>
                <a:gd name="connsiteY185" fmla="*/ 716756 h 1012031"/>
                <a:gd name="connsiteX186" fmla="*/ 123825 w 759618"/>
                <a:gd name="connsiteY186" fmla="*/ 735806 h 1012031"/>
                <a:gd name="connsiteX187" fmla="*/ 114300 w 759618"/>
                <a:gd name="connsiteY187" fmla="*/ 766763 h 1012031"/>
                <a:gd name="connsiteX188" fmla="*/ 126206 w 759618"/>
                <a:gd name="connsiteY188" fmla="*/ 781050 h 1012031"/>
                <a:gd name="connsiteX189" fmla="*/ 145256 w 759618"/>
                <a:gd name="connsiteY189" fmla="*/ 757238 h 1012031"/>
                <a:gd name="connsiteX190" fmla="*/ 145256 w 759618"/>
                <a:gd name="connsiteY190" fmla="*/ 757238 h 1012031"/>
                <a:gd name="connsiteX191" fmla="*/ 152400 w 759618"/>
                <a:gd name="connsiteY191" fmla="*/ 778669 h 1012031"/>
                <a:gd name="connsiteX192" fmla="*/ 142875 w 759618"/>
                <a:gd name="connsiteY192" fmla="*/ 790575 h 1012031"/>
                <a:gd name="connsiteX193" fmla="*/ 173831 w 759618"/>
                <a:gd name="connsiteY193" fmla="*/ 776288 h 1012031"/>
                <a:gd name="connsiteX194" fmla="*/ 169068 w 759618"/>
                <a:gd name="connsiteY194" fmla="*/ 752475 h 1012031"/>
                <a:gd name="connsiteX195" fmla="*/ 183356 w 759618"/>
                <a:gd name="connsiteY195" fmla="*/ 747713 h 1012031"/>
                <a:gd name="connsiteX196" fmla="*/ 183356 w 759618"/>
                <a:gd name="connsiteY196" fmla="*/ 766763 h 1012031"/>
                <a:gd name="connsiteX197" fmla="*/ 188118 w 759618"/>
                <a:gd name="connsiteY197" fmla="*/ 778669 h 1012031"/>
                <a:gd name="connsiteX198" fmla="*/ 200025 w 759618"/>
                <a:gd name="connsiteY198" fmla="*/ 783431 h 1012031"/>
                <a:gd name="connsiteX199" fmla="*/ 197643 w 759618"/>
                <a:gd name="connsiteY199" fmla="*/ 797719 h 1012031"/>
                <a:gd name="connsiteX200" fmla="*/ 178593 w 759618"/>
                <a:gd name="connsiteY200" fmla="*/ 802481 h 1012031"/>
                <a:gd name="connsiteX201" fmla="*/ 166687 w 759618"/>
                <a:gd name="connsiteY201" fmla="*/ 812006 h 1012031"/>
                <a:gd name="connsiteX202" fmla="*/ 180975 w 759618"/>
                <a:gd name="connsiteY202" fmla="*/ 816769 h 1012031"/>
                <a:gd name="connsiteX203" fmla="*/ 173831 w 759618"/>
                <a:gd name="connsiteY203" fmla="*/ 838200 h 1012031"/>
                <a:gd name="connsiteX204" fmla="*/ 190500 w 759618"/>
                <a:gd name="connsiteY204" fmla="*/ 842963 h 1012031"/>
                <a:gd name="connsiteX205" fmla="*/ 190500 w 759618"/>
                <a:gd name="connsiteY205" fmla="*/ 842963 h 1012031"/>
                <a:gd name="connsiteX206" fmla="*/ 226218 w 759618"/>
                <a:gd name="connsiteY206" fmla="*/ 814388 h 1012031"/>
                <a:gd name="connsiteX207" fmla="*/ 230981 w 759618"/>
                <a:gd name="connsiteY207" fmla="*/ 795338 h 1012031"/>
                <a:gd name="connsiteX208" fmla="*/ 247650 w 759618"/>
                <a:gd name="connsiteY208" fmla="*/ 804863 h 1012031"/>
                <a:gd name="connsiteX209" fmla="*/ 228600 w 759618"/>
                <a:gd name="connsiteY209" fmla="*/ 842963 h 1012031"/>
                <a:gd name="connsiteX210" fmla="*/ 204787 w 759618"/>
                <a:gd name="connsiteY210" fmla="*/ 869156 h 1012031"/>
                <a:gd name="connsiteX211" fmla="*/ 192881 w 759618"/>
                <a:gd name="connsiteY211" fmla="*/ 873919 h 1012031"/>
                <a:gd name="connsiteX212" fmla="*/ 171450 w 759618"/>
                <a:gd name="connsiteY212" fmla="*/ 888206 h 1012031"/>
                <a:gd name="connsiteX213" fmla="*/ 142875 w 759618"/>
                <a:gd name="connsiteY213" fmla="*/ 859631 h 1012031"/>
                <a:gd name="connsiteX214" fmla="*/ 126206 w 759618"/>
                <a:gd name="connsiteY214" fmla="*/ 831056 h 1012031"/>
                <a:gd name="connsiteX215" fmla="*/ 104775 w 759618"/>
                <a:gd name="connsiteY215" fmla="*/ 828675 h 1012031"/>
                <a:gd name="connsiteX216" fmla="*/ 85725 w 759618"/>
                <a:gd name="connsiteY216" fmla="*/ 845344 h 1012031"/>
                <a:gd name="connsiteX217" fmla="*/ 100012 w 759618"/>
                <a:gd name="connsiteY217" fmla="*/ 864394 h 1012031"/>
                <a:gd name="connsiteX218" fmla="*/ 111918 w 759618"/>
                <a:gd name="connsiteY218" fmla="*/ 878681 h 1012031"/>
                <a:gd name="connsiteX219" fmla="*/ 123825 w 759618"/>
                <a:gd name="connsiteY219" fmla="*/ 888206 h 1012031"/>
                <a:gd name="connsiteX220" fmla="*/ 133350 w 759618"/>
                <a:gd name="connsiteY220" fmla="*/ 909638 h 1012031"/>
                <a:gd name="connsiteX221" fmla="*/ 109537 w 759618"/>
                <a:gd name="connsiteY221" fmla="*/ 921544 h 1012031"/>
                <a:gd name="connsiteX222" fmla="*/ 90487 w 759618"/>
                <a:gd name="connsiteY222" fmla="*/ 909638 h 1012031"/>
                <a:gd name="connsiteX223" fmla="*/ 71437 w 759618"/>
                <a:gd name="connsiteY223" fmla="*/ 935831 h 1012031"/>
                <a:gd name="connsiteX224" fmla="*/ 61912 w 759618"/>
                <a:gd name="connsiteY224" fmla="*/ 971550 h 1012031"/>
                <a:gd name="connsiteX225" fmla="*/ 80962 w 759618"/>
                <a:gd name="connsiteY225" fmla="*/ 954881 h 1012031"/>
                <a:gd name="connsiteX226" fmla="*/ 95250 w 759618"/>
                <a:gd name="connsiteY226" fmla="*/ 978694 h 1012031"/>
                <a:gd name="connsiteX227" fmla="*/ 109537 w 759618"/>
                <a:gd name="connsiteY227" fmla="*/ 964406 h 1012031"/>
                <a:gd name="connsiteX228" fmla="*/ 119062 w 759618"/>
                <a:gd name="connsiteY228" fmla="*/ 981075 h 1012031"/>
                <a:gd name="connsiteX229" fmla="*/ 126206 w 759618"/>
                <a:gd name="connsiteY229" fmla="*/ 959644 h 1012031"/>
                <a:gd name="connsiteX230" fmla="*/ 145256 w 759618"/>
                <a:gd name="connsiteY230" fmla="*/ 985838 h 1012031"/>
                <a:gd name="connsiteX231" fmla="*/ 169068 w 759618"/>
                <a:gd name="connsiteY231" fmla="*/ 1004888 h 1012031"/>
                <a:gd name="connsiteX232" fmla="*/ 161925 w 759618"/>
                <a:gd name="connsiteY232" fmla="*/ 978694 h 1012031"/>
                <a:gd name="connsiteX233" fmla="*/ 171450 w 759618"/>
                <a:gd name="connsiteY233" fmla="*/ 964406 h 1012031"/>
                <a:gd name="connsiteX234" fmla="*/ 180975 w 759618"/>
                <a:gd name="connsiteY234" fmla="*/ 973931 h 1012031"/>
                <a:gd name="connsiteX235" fmla="*/ 188118 w 759618"/>
                <a:gd name="connsiteY235" fmla="*/ 962025 h 1012031"/>
                <a:gd name="connsiteX236" fmla="*/ 197643 w 759618"/>
                <a:gd name="connsiteY236" fmla="*/ 981075 h 1012031"/>
                <a:gd name="connsiteX237" fmla="*/ 209550 w 759618"/>
                <a:gd name="connsiteY237" fmla="*/ 962025 h 1012031"/>
                <a:gd name="connsiteX238" fmla="*/ 228600 w 759618"/>
                <a:gd name="connsiteY238" fmla="*/ 983456 h 1012031"/>
                <a:gd name="connsiteX239" fmla="*/ 235743 w 759618"/>
                <a:gd name="connsiteY239" fmla="*/ 959644 h 1012031"/>
                <a:gd name="connsiteX240" fmla="*/ 254793 w 759618"/>
                <a:gd name="connsiteY240" fmla="*/ 973931 h 1012031"/>
                <a:gd name="connsiteX241" fmla="*/ 271462 w 759618"/>
                <a:gd name="connsiteY241" fmla="*/ 983456 h 1012031"/>
                <a:gd name="connsiteX242" fmla="*/ 278606 w 759618"/>
                <a:gd name="connsiteY242" fmla="*/ 1000125 h 1012031"/>
                <a:gd name="connsiteX243" fmla="*/ 269081 w 759618"/>
                <a:gd name="connsiteY243" fmla="*/ 1012031 h 1012031"/>
                <a:gd name="connsiteX244" fmla="*/ 316706 w 759618"/>
                <a:gd name="connsiteY244" fmla="*/ 976313 h 1012031"/>
                <a:gd name="connsiteX245" fmla="*/ 335756 w 759618"/>
                <a:gd name="connsiteY245" fmla="*/ 969169 h 1012031"/>
                <a:gd name="connsiteX246" fmla="*/ 342900 w 759618"/>
                <a:gd name="connsiteY246" fmla="*/ 950119 h 1012031"/>
                <a:gd name="connsiteX247" fmla="*/ 342900 w 759618"/>
                <a:gd name="connsiteY247" fmla="*/ 926306 h 1012031"/>
                <a:gd name="connsiteX248" fmla="*/ 321468 w 759618"/>
                <a:gd name="connsiteY248" fmla="*/ 935831 h 1012031"/>
                <a:gd name="connsiteX249" fmla="*/ 307181 w 759618"/>
                <a:gd name="connsiteY249" fmla="*/ 926306 h 1012031"/>
                <a:gd name="connsiteX250" fmla="*/ 307181 w 759618"/>
                <a:gd name="connsiteY250" fmla="*/ 900113 h 1012031"/>
                <a:gd name="connsiteX251" fmla="*/ 290512 w 759618"/>
                <a:gd name="connsiteY251" fmla="*/ 916781 h 1012031"/>
                <a:gd name="connsiteX252" fmla="*/ 269081 w 759618"/>
                <a:gd name="connsiteY252" fmla="*/ 892969 h 1012031"/>
                <a:gd name="connsiteX253" fmla="*/ 252412 w 759618"/>
                <a:gd name="connsiteY253" fmla="*/ 919163 h 1012031"/>
                <a:gd name="connsiteX254" fmla="*/ 233362 w 759618"/>
                <a:gd name="connsiteY254" fmla="*/ 902494 h 1012031"/>
                <a:gd name="connsiteX255" fmla="*/ 254793 w 759618"/>
                <a:gd name="connsiteY255" fmla="*/ 888206 h 1012031"/>
                <a:gd name="connsiteX256" fmla="*/ 254793 w 759618"/>
                <a:gd name="connsiteY256" fmla="*/ 862013 h 1012031"/>
                <a:gd name="connsiteX257" fmla="*/ 278606 w 759618"/>
                <a:gd name="connsiteY257" fmla="*/ 876300 h 1012031"/>
                <a:gd name="connsiteX258" fmla="*/ 307181 w 759618"/>
                <a:gd name="connsiteY258" fmla="*/ 885825 h 1012031"/>
                <a:gd name="connsiteX259" fmla="*/ 323850 w 759618"/>
                <a:gd name="connsiteY259" fmla="*/ 878681 h 1012031"/>
                <a:gd name="connsiteX260" fmla="*/ 338137 w 759618"/>
                <a:gd name="connsiteY260" fmla="*/ 869156 h 1012031"/>
                <a:gd name="connsiteX261" fmla="*/ 338137 w 759618"/>
                <a:gd name="connsiteY261" fmla="*/ 847725 h 1012031"/>
                <a:gd name="connsiteX262" fmla="*/ 335756 w 759618"/>
                <a:gd name="connsiteY262" fmla="*/ 823913 h 1012031"/>
                <a:gd name="connsiteX263" fmla="*/ 338137 w 759618"/>
                <a:gd name="connsiteY263" fmla="*/ 797719 h 1012031"/>
                <a:gd name="connsiteX264" fmla="*/ 364331 w 759618"/>
                <a:gd name="connsiteY264" fmla="*/ 814388 h 1012031"/>
                <a:gd name="connsiteX265" fmla="*/ 392906 w 759618"/>
                <a:gd name="connsiteY265" fmla="*/ 795338 h 1012031"/>
                <a:gd name="connsiteX266" fmla="*/ 373856 w 759618"/>
                <a:gd name="connsiteY266" fmla="*/ 783431 h 1012031"/>
                <a:gd name="connsiteX267" fmla="*/ 395287 w 759618"/>
                <a:gd name="connsiteY267" fmla="*/ 776288 h 1012031"/>
                <a:gd name="connsiteX268" fmla="*/ 407193 w 759618"/>
                <a:gd name="connsiteY268" fmla="*/ 762000 h 1012031"/>
                <a:gd name="connsiteX269" fmla="*/ 388143 w 759618"/>
                <a:gd name="connsiteY269" fmla="*/ 752475 h 1012031"/>
                <a:gd name="connsiteX270" fmla="*/ 404812 w 759618"/>
                <a:gd name="connsiteY270" fmla="*/ 738188 h 1012031"/>
                <a:gd name="connsiteX271" fmla="*/ 423862 w 759618"/>
                <a:gd name="connsiteY271" fmla="*/ 707231 h 1012031"/>
                <a:gd name="connsiteX272" fmla="*/ 383381 w 759618"/>
                <a:gd name="connsiteY272" fmla="*/ 697706 h 1012031"/>
                <a:gd name="connsiteX273" fmla="*/ 381000 w 759618"/>
                <a:gd name="connsiteY273" fmla="*/ 690563 h 1012031"/>
                <a:gd name="connsiteX274" fmla="*/ 350043 w 759618"/>
                <a:gd name="connsiteY274" fmla="*/ 690563 h 1012031"/>
                <a:gd name="connsiteX275" fmla="*/ 335756 w 759618"/>
                <a:gd name="connsiteY275" fmla="*/ 676275 h 1012031"/>
                <a:gd name="connsiteX276" fmla="*/ 354806 w 759618"/>
                <a:gd name="connsiteY276" fmla="*/ 654844 h 1012031"/>
                <a:gd name="connsiteX277" fmla="*/ 390525 w 759618"/>
                <a:gd name="connsiteY277" fmla="*/ 657225 h 1012031"/>
                <a:gd name="connsiteX278" fmla="*/ 416718 w 759618"/>
                <a:gd name="connsiteY278" fmla="*/ 683419 h 1012031"/>
                <a:gd name="connsiteX279" fmla="*/ 428625 w 759618"/>
                <a:gd name="connsiteY279" fmla="*/ 647700 h 1012031"/>
                <a:gd name="connsiteX280" fmla="*/ 397668 w 759618"/>
                <a:gd name="connsiteY280" fmla="*/ 640556 h 1012031"/>
                <a:gd name="connsiteX281" fmla="*/ 359568 w 759618"/>
                <a:gd name="connsiteY281" fmla="*/ 631031 h 1012031"/>
                <a:gd name="connsiteX282" fmla="*/ 371475 w 759618"/>
                <a:gd name="connsiteY282" fmla="*/ 619125 h 1012031"/>
                <a:gd name="connsiteX283" fmla="*/ 395287 w 759618"/>
                <a:gd name="connsiteY283" fmla="*/ 616744 h 1012031"/>
                <a:gd name="connsiteX284" fmla="*/ 416718 w 759618"/>
                <a:gd name="connsiteY284" fmla="*/ 628650 h 1012031"/>
                <a:gd name="connsiteX285" fmla="*/ 442912 w 759618"/>
                <a:gd name="connsiteY285" fmla="*/ 607219 h 1012031"/>
                <a:gd name="connsiteX286" fmla="*/ 452437 w 759618"/>
                <a:gd name="connsiteY286" fmla="*/ 592931 h 1012031"/>
                <a:gd name="connsiteX287" fmla="*/ 428625 w 759618"/>
                <a:gd name="connsiteY287" fmla="*/ 576263 h 1012031"/>
                <a:gd name="connsiteX288" fmla="*/ 440531 w 759618"/>
                <a:gd name="connsiteY288" fmla="*/ 564356 h 1012031"/>
                <a:gd name="connsiteX289" fmla="*/ 464343 w 759618"/>
                <a:gd name="connsiteY289" fmla="*/ 578644 h 1012031"/>
                <a:gd name="connsiteX290" fmla="*/ 497681 w 759618"/>
                <a:gd name="connsiteY290" fmla="*/ 590550 h 1012031"/>
                <a:gd name="connsiteX291" fmla="*/ 511968 w 759618"/>
                <a:gd name="connsiteY291" fmla="*/ 557213 h 1012031"/>
                <a:gd name="connsiteX292" fmla="*/ 526256 w 759618"/>
                <a:gd name="connsiteY292" fmla="*/ 528638 h 1012031"/>
                <a:gd name="connsiteX293" fmla="*/ 502443 w 759618"/>
                <a:gd name="connsiteY293" fmla="*/ 531019 h 1012031"/>
                <a:gd name="connsiteX294" fmla="*/ 488156 w 759618"/>
                <a:gd name="connsiteY294" fmla="*/ 519113 h 1012031"/>
                <a:gd name="connsiteX295" fmla="*/ 542924 w 759618"/>
                <a:gd name="connsiteY295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581024 w 759618"/>
                <a:gd name="connsiteY2" fmla="*/ 464343 h 1012031"/>
                <a:gd name="connsiteX3" fmla="*/ 592931 w 759618"/>
                <a:gd name="connsiteY3" fmla="*/ 428625 h 1012031"/>
                <a:gd name="connsiteX4" fmla="*/ 626268 w 759618"/>
                <a:gd name="connsiteY4" fmla="*/ 357188 h 1012031"/>
                <a:gd name="connsiteX5" fmla="*/ 678656 w 759618"/>
                <a:gd name="connsiteY5" fmla="*/ 307181 h 1012031"/>
                <a:gd name="connsiteX6" fmla="*/ 600075 w 759618"/>
                <a:gd name="connsiteY6" fmla="*/ 335756 h 1012031"/>
                <a:gd name="connsiteX7" fmla="*/ 554831 w 759618"/>
                <a:gd name="connsiteY7" fmla="*/ 373856 h 1012031"/>
                <a:gd name="connsiteX8" fmla="*/ 535781 w 759618"/>
                <a:gd name="connsiteY8" fmla="*/ 369094 h 1012031"/>
                <a:gd name="connsiteX9" fmla="*/ 597693 w 759618"/>
                <a:gd name="connsiteY9" fmla="*/ 309563 h 1012031"/>
                <a:gd name="connsiteX10" fmla="*/ 573881 w 759618"/>
                <a:gd name="connsiteY10" fmla="*/ 288131 h 1012031"/>
                <a:gd name="connsiteX11" fmla="*/ 561975 w 759618"/>
                <a:gd name="connsiteY11" fmla="*/ 261938 h 1012031"/>
                <a:gd name="connsiteX12" fmla="*/ 614362 w 759618"/>
                <a:gd name="connsiteY12" fmla="*/ 292894 h 1012031"/>
                <a:gd name="connsiteX13" fmla="*/ 650081 w 759618"/>
                <a:gd name="connsiteY13" fmla="*/ 290513 h 1012031"/>
                <a:gd name="connsiteX14" fmla="*/ 650081 w 759618"/>
                <a:gd name="connsiteY14" fmla="*/ 273844 h 1012031"/>
                <a:gd name="connsiteX15" fmla="*/ 678656 w 759618"/>
                <a:gd name="connsiteY15" fmla="*/ 271463 h 1012031"/>
                <a:gd name="connsiteX16" fmla="*/ 721518 w 759618"/>
                <a:gd name="connsiteY16" fmla="*/ 221456 h 1012031"/>
                <a:gd name="connsiteX17" fmla="*/ 759618 w 759618"/>
                <a:gd name="connsiteY17" fmla="*/ 150019 h 1012031"/>
                <a:gd name="connsiteX18" fmla="*/ 738187 w 759618"/>
                <a:gd name="connsiteY18" fmla="*/ 126206 h 1012031"/>
                <a:gd name="connsiteX19" fmla="*/ 704850 w 759618"/>
                <a:gd name="connsiteY19" fmla="*/ 121444 h 1012031"/>
                <a:gd name="connsiteX20" fmla="*/ 692943 w 759618"/>
                <a:gd name="connsiteY20" fmla="*/ 73819 h 1012031"/>
                <a:gd name="connsiteX21" fmla="*/ 669131 w 759618"/>
                <a:gd name="connsiteY21" fmla="*/ 59531 h 1012031"/>
                <a:gd name="connsiteX22" fmla="*/ 628650 w 759618"/>
                <a:gd name="connsiteY22" fmla="*/ 78581 h 1012031"/>
                <a:gd name="connsiteX23" fmla="*/ 614362 w 759618"/>
                <a:gd name="connsiteY23" fmla="*/ 102394 h 1012031"/>
                <a:gd name="connsiteX24" fmla="*/ 588168 w 759618"/>
                <a:gd name="connsiteY24" fmla="*/ 114300 h 1012031"/>
                <a:gd name="connsiteX25" fmla="*/ 576262 w 759618"/>
                <a:gd name="connsiteY25" fmla="*/ 107156 h 1012031"/>
                <a:gd name="connsiteX26" fmla="*/ 592931 w 759618"/>
                <a:gd name="connsiteY26" fmla="*/ 85725 h 1012031"/>
                <a:gd name="connsiteX27" fmla="*/ 621506 w 759618"/>
                <a:gd name="connsiteY27" fmla="*/ 50006 h 1012031"/>
                <a:gd name="connsiteX28" fmla="*/ 585787 w 759618"/>
                <a:gd name="connsiteY28" fmla="*/ 33338 h 1012031"/>
                <a:gd name="connsiteX29" fmla="*/ 557212 w 759618"/>
                <a:gd name="connsiteY29" fmla="*/ 38100 h 1012031"/>
                <a:gd name="connsiteX30" fmla="*/ 540543 w 759618"/>
                <a:gd name="connsiteY30" fmla="*/ 16669 h 1012031"/>
                <a:gd name="connsiteX31" fmla="*/ 526256 w 759618"/>
                <a:gd name="connsiteY31" fmla="*/ 16669 h 1012031"/>
                <a:gd name="connsiteX32" fmla="*/ 519112 w 759618"/>
                <a:gd name="connsiteY32" fmla="*/ 28575 h 1012031"/>
                <a:gd name="connsiteX33" fmla="*/ 533400 w 759618"/>
                <a:gd name="connsiteY33" fmla="*/ 61913 h 1012031"/>
                <a:gd name="connsiteX34" fmla="*/ 519112 w 759618"/>
                <a:gd name="connsiteY34" fmla="*/ 69056 h 1012031"/>
                <a:gd name="connsiteX35" fmla="*/ 500062 w 759618"/>
                <a:gd name="connsiteY35" fmla="*/ 33338 h 1012031"/>
                <a:gd name="connsiteX36" fmla="*/ 495300 w 759618"/>
                <a:gd name="connsiteY36" fmla="*/ 0 h 1012031"/>
                <a:gd name="connsiteX37" fmla="*/ 466725 w 759618"/>
                <a:gd name="connsiteY37" fmla="*/ 40481 h 1012031"/>
                <a:gd name="connsiteX38" fmla="*/ 466725 w 759618"/>
                <a:gd name="connsiteY38" fmla="*/ 61913 h 1012031"/>
                <a:gd name="connsiteX39" fmla="*/ 490537 w 759618"/>
                <a:gd name="connsiteY39" fmla="*/ 80963 h 1012031"/>
                <a:gd name="connsiteX40" fmla="*/ 490537 w 759618"/>
                <a:gd name="connsiteY40" fmla="*/ 100013 h 1012031"/>
                <a:gd name="connsiteX41" fmla="*/ 464343 w 759618"/>
                <a:gd name="connsiteY41" fmla="*/ 95250 h 1012031"/>
                <a:gd name="connsiteX42" fmla="*/ 442912 w 759618"/>
                <a:gd name="connsiteY42" fmla="*/ 64294 h 1012031"/>
                <a:gd name="connsiteX43" fmla="*/ 433387 w 759618"/>
                <a:gd name="connsiteY43" fmla="*/ 40481 h 1012031"/>
                <a:gd name="connsiteX44" fmla="*/ 414337 w 759618"/>
                <a:gd name="connsiteY44" fmla="*/ 33338 h 1012031"/>
                <a:gd name="connsiteX45" fmla="*/ 383381 w 759618"/>
                <a:gd name="connsiteY45" fmla="*/ 38100 h 1012031"/>
                <a:gd name="connsiteX46" fmla="*/ 376237 w 759618"/>
                <a:gd name="connsiteY46" fmla="*/ 42863 h 1012031"/>
                <a:gd name="connsiteX47" fmla="*/ 378618 w 759618"/>
                <a:gd name="connsiteY47" fmla="*/ 69056 h 1012031"/>
                <a:gd name="connsiteX48" fmla="*/ 402431 w 759618"/>
                <a:gd name="connsiteY48" fmla="*/ 88106 h 1012031"/>
                <a:gd name="connsiteX49" fmla="*/ 416718 w 759618"/>
                <a:gd name="connsiteY49" fmla="*/ 109538 h 1012031"/>
                <a:gd name="connsiteX50" fmla="*/ 402431 w 759618"/>
                <a:gd name="connsiteY50" fmla="*/ 145256 h 1012031"/>
                <a:gd name="connsiteX51" fmla="*/ 385762 w 759618"/>
                <a:gd name="connsiteY51" fmla="*/ 135731 h 1012031"/>
                <a:gd name="connsiteX52" fmla="*/ 381000 w 759618"/>
                <a:gd name="connsiteY52" fmla="*/ 104775 h 1012031"/>
                <a:gd name="connsiteX53" fmla="*/ 352425 w 759618"/>
                <a:gd name="connsiteY53" fmla="*/ 59531 h 1012031"/>
                <a:gd name="connsiteX54" fmla="*/ 333375 w 759618"/>
                <a:gd name="connsiteY54" fmla="*/ 69056 h 1012031"/>
                <a:gd name="connsiteX55" fmla="*/ 323850 w 759618"/>
                <a:gd name="connsiteY55" fmla="*/ 50006 h 1012031"/>
                <a:gd name="connsiteX56" fmla="*/ 302418 w 759618"/>
                <a:gd name="connsiteY56" fmla="*/ 42863 h 1012031"/>
                <a:gd name="connsiteX57" fmla="*/ 290512 w 759618"/>
                <a:gd name="connsiteY57" fmla="*/ 64294 h 1012031"/>
                <a:gd name="connsiteX58" fmla="*/ 304800 w 759618"/>
                <a:gd name="connsiteY58" fmla="*/ 76200 h 1012031"/>
                <a:gd name="connsiteX59" fmla="*/ 323850 w 759618"/>
                <a:gd name="connsiteY59" fmla="*/ 92869 h 1012031"/>
                <a:gd name="connsiteX60" fmla="*/ 335756 w 759618"/>
                <a:gd name="connsiteY60" fmla="*/ 100013 h 1012031"/>
                <a:gd name="connsiteX61" fmla="*/ 328612 w 759618"/>
                <a:gd name="connsiteY61" fmla="*/ 111919 h 1012031"/>
                <a:gd name="connsiteX62" fmla="*/ 307181 w 759618"/>
                <a:gd name="connsiteY62" fmla="*/ 100013 h 1012031"/>
                <a:gd name="connsiteX63" fmla="*/ 264318 w 759618"/>
                <a:gd name="connsiteY63" fmla="*/ 76200 h 1012031"/>
                <a:gd name="connsiteX64" fmla="*/ 280987 w 759618"/>
                <a:gd name="connsiteY64" fmla="*/ 114300 h 1012031"/>
                <a:gd name="connsiteX65" fmla="*/ 292893 w 759618"/>
                <a:gd name="connsiteY65" fmla="*/ 130969 h 1012031"/>
                <a:gd name="connsiteX66" fmla="*/ 280987 w 759618"/>
                <a:gd name="connsiteY66" fmla="*/ 140494 h 1012031"/>
                <a:gd name="connsiteX67" fmla="*/ 247650 w 759618"/>
                <a:gd name="connsiteY67" fmla="*/ 100013 h 1012031"/>
                <a:gd name="connsiteX68" fmla="*/ 261937 w 759618"/>
                <a:gd name="connsiteY68" fmla="*/ 142875 h 1012031"/>
                <a:gd name="connsiteX69" fmla="*/ 242887 w 759618"/>
                <a:gd name="connsiteY69" fmla="*/ 150019 h 1012031"/>
                <a:gd name="connsiteX70" fmla="*/ 257175 w 759618"/>
                <a:gd name="connsiteY70" fmla="*/ 178594 h 1012031"/>
                <a:gd name="connsiteX71" fmla="*/ 278606 w 759618"/>
                <a:gd name="connsiteY71" fmla="*/ 195263 h 1012031"/>
                <a:gd name="connsiteX72" fmla="*/ 307181 w 759618"/>
                <a:gd name="connsiteY72" fmla="*/ 228600 h 1012031"/>
                <a:gd name="connsiteX73" fmla="*/ 316706 w 759618"/>
                <a:gd name="connsiteY73" fmla="*/ 254794 h 1012031"/>
                <a:gd name="connsiteX74" fmla="*/ 316706 w 759618"/>
                <a:gd name="connsiteY74" fmla="*/ 254794 h 1012031"/>
                <a:gd name="connsiteX75" fmla="*/ 285750 w 759618"/>
                <a:gd name="connsiteY75" fmla="*/ 235744 h 1012031"/>
                <a:gd name="connsiteX76" fmla="*/ 238125 w 759618"/>
                <a:gd name="connsiteY76" fmla="*/ 221456 h 1012031"/>
                <a:gd name="connsiteX77" fmla="*/ 223837 w 759618"/>
                <a:gd name="connsiteY77" fmla="*/ 195263 h 1012031"/>
                <a:gd name="connsiteX78" fmla="*/ 204787 w 759618"/>
                <a:gd name="connsiteY78" fmla="*/ 166688 h 1012031"/>
                <a:gd name="connsiteX79" fmla="*/ 166687 w 759618"/>
                <a:gd name="connsiteY79" fmla="*/ 130969 h 1012031"/>
                <a:gd name="connsiteX80" fmla="*/ 166687 w 759618"/>
                <a:gd name="connsiteY80" fmla="*/ 157163 h 1012031"/>
                <a:gd name="connsiteX81" fmla="*/ 173831 w 759618"/>
                <a:gd name="connsiteY81" fmla="*/ 176213 h 1012031"/>
                <a:gd name="connsiteX82" fmla="*/ 171450 w 759618"/>
                <a:gd name="connsiteY82" fmla="*/ 188119 h 1012031"/>
                <a:gd name="connsiteX83" fmla="*/ 152400 w 759618"/>
                <a:gd name="connsiteY83" fmla="*/ 195263 h 1012031"/>
                <a:gd name="connsiteX84" fmla="*/ 128587 w 759618"/>
                <a:gd name="connsiteY84" fmla="*/ 190500 h 1012031"/>
                <a:gd name="connsiteX85" fmla="*/ 178593 w 759618"/>
                <a:gd name="connsiteY85" fmla="*/ 214313 h 1012031"/>
                <a:gd name="connsiteX86" fmla="*/ 188118 w 759618"/>
                <a:gd name="connsiteY86" fmla="*/ 228600 h 1012031"/>
                <a:gd name="connsiteX87" fmla="*/ 185737 w 759618"/>
                <a:gd name="connsiteY87" fmla="*/ 250031 h 1012031"/>
                <a:gd name="connsiteX88" fmla="*/ 157162 w 759618"/>
                <a:gd name="connsiteY88" fmla="*/ 228600 h 1012031"/>
                <a:gd name="connsiteX89" fmla="*/ 121443 w 759618"/>
                <a:gd name="connsiteY89" fmla="*/ 223838 h 1012031"/>
                <a:gd name="connsiteX90" fmla="*/ 97631 w 759618"/>
                <a:gd name="connsiteY90" fmla="*/ 211931 h 1012031"/>
                <a:gd name="connsiteX91" fmla="*/ 73818 w 759618"/>
                <a:gd name="connsiteY91" fmla="*/ 235744 h 1012031"/>
                <a:gd name="connsiteX92" fmla="*/ 73818 w 759618"/>
                <a:gd name="connsiteY92" fmla="*/ 257175 h 1012031"/>
                <a:gd name="connsiteX93" fmla="*/ 52387 w 759618"/>
                <a:gd name="connsiteY93" fmla="*/ 273844 h 1012031"/>
                <a:gd name="connsiteX94" fmla="*/ 35718 w 759618"/>
                <a:gd name="connsiteY94" fmla="*/ 254794 h 1012031"/>
                <a:gd name="connsiteX95" fmla="*/ 19050 w 759618"/>
                <a:gd name="connsiteY95" fmla="*/ 264319 h 1012031"/>
                <a:gd name="connsiteX96" fmla="*/ 0 w 759618"/>
                <a:gd name="connsiteY96" fmla="*/ 297656 h 1012031"/>
                <a:gd name="connsiteX97" fmla="*/ 26193 w 759618"/>
                <a:gd name="connsiteY97" fmla="*/ 283369 h 1012031"/>
                <a:gd name="connsiteX98" fmla="*/ 38100 w 759618"/>
                <a:gd name="connsiteY98" fmla="*/ 273844 h 1012031"/>
                <a:gd name="connsiteX99" fmla="*/ 52387 w 759618"/>
                <a:gd name="connsiteY99" fmla="*/ 288131 h 1012031"/>
                <a:gd name="connsiteX100" fmla="*/ 30956 w 759618"/>
                <a:gd name="connsiteY100" fmla="*/ 323850 h 1012031"/>
                <a:gd name="connsiteX101" fmla="*/ 69056 w 759618"/>
                <a:gd name="connsiteY101" fmla="*/ 300038 h 1012031"/>
                <a:gd name="connsiteX102" fmla="*/ 92868 w 759618"/>
                <a:gd name="connsiteY102" fmla="*/ 295275 h 1012031"/>
                <a:gd name="connsiteX103" fmla="*/ 114300 w 759618"/>
                <a:gd name="connsiteY103" fmla="*/ 300038 h 1012031"/>
                <a:gd name="connsiteX104" fmla="*/ 111918 w 759618"/>
                <a:gd name="connsiteY104" fmla="*/ 316706 h 1012031"/>
                <a:gd name="connsiteX105" fmla="*/ 92868 w 759618"/>
                <a:gd name="connsiteY105" fmla="*/ 311944 h 1012031"/>
                <a:gd name="connsiteX106" fmla="*/ 66675 w 759618"/>
                <a:gd name="connsiteY106" fmla="*/ 338138 h 1012031"/>
                <a:gd name="connsiteX107" fmla="*/ 69056 w 759618"/>
                <a:gd name="connsiteY107" fmla="*/ 359569 h 1012031"/>
                <a:gd name="connsiteX108" fmla="*/ 50006 w 759618"/>
                <a:gd name="connsiteY108" fmla="*/ 369094 h 1012031"/>
                <a:gd name="connsiteX109" fmla="*/ 59531 w 759618"/>
                <a:gd name="connsiteY109" fmla="*/ 385763 h 1012031"/>
                <a:gd name="connsiteX110" fmla="*/ 88106 w 759618"/>
                <a:gd name="connsiteY110" fmla="*/ 376238 h 1012031"/>
                <a:gd name="connsiteX111" fmla="*/ 116681 w 759618"/>
                <a:gd name="connsiteY111" fmla="*/ 378619 h 1012031"/>
                <a:gd name="connsiteX112" fmla="*/ 138112 w 759618"/>
                <a:gd name="connsiteY112" fmla="*/ 354806 h 1012031"/>
                <a:gd name="connsiteX113" fmla="*/ 164306 w 759618"/>
                <a:gd name="connsiteY113" fmla="*/ 335756 h 1012031"/>
                <a:gd name="connsiteX114" fmla="*/ 178593 w 759618"/>
                <a:gd name="connsiteY114" fmla="*/ 340519 h 1012031"/>
                <a:gd name="connsiteX115" fmla="*/ 157162 w 759618"/>
                <a:gd name="connsiteY115" fmla="*/ 366713 h 1012031"/>
                <a:gd name="connsiteX116" fmla="*/ 114300 w 759618"/>
                <a:gd name="connsiteY116" fmla="*/ 407194 h 1012031"/>
                <a:gd name="connsiteX117" fmla="*/ 73818 w 759618"/>
                <a:gd name="connsiteY117" fmla="*/ 411956 h 1012031"/>
                <a:gd name="connsiteX118" fmla="*/ 102393 w 759618"/>
                <a:gd name="connsiteY118" fmla="*/ 447675 h 1012031"/>
                <a:gd name="connsiteX119" fmla="*/ 133350 w 759618"/>
                <a:gd name="connsiteY119" fmla="*/ 419100 h 1012031"/>
                <a:gd name="connsiteX120" fmla="*/ 169068 w 759618"/>
                <a:gd name="connsiteY120" fmla="*/ 378619 h 1012031"/>
                <a:gd name="connsiteX121" fmla="*/ 209550 w 759618"/>
                <a:gd name="connsiteY121" fmla="*/ 371475 h 1012031"/>
                <a:gd name="connsiteX122" fmla="*/ 223837 w 759618"/>
                <a:gd name="connsiteY122" fmla="*/ 373856 h 1012031"/>
                <a:gd name="connsiteX123" fmla="*/ 183356 w 759618"/>
                <a:gd name="connsiteY123" fmla="*/ 402431 h 1012031"/>
                <a:gd name="connsiteX124" fmla="*/ 154781 w 759618"/>
                <a:gd name="connsiteY124" fmla="*/ 428625 h 1012031"/>
                <a:gd name="connsiteX125" fmla="*/ 147637 w 759618"/>
                <a:gd name="connsiteY125" fmla="*/ 454819 h 1012031"/>
                <a:gd name="connsiteX126" fmla="*/ 169068 w 759618"/>
                <a:gd name="connsiteY126" fmla="*/ 466725 h 1012031"/>
                <a:gd name="connsiteX127" fmla="*/ 197643 w 759618"/>
                <a:gd name="connsiteY127" fmla="*/ 454819 h 1012031"/>
                <a:gd name="connsiteX128" fmla="*/ 197643 w 759618"/>
                <a:gd name="connsiteY128" fmla="*/ 423863 h 1012031"/>
                <a:gd name="connsiteX129" fmla="*/ 211931 w 759618"/>
                <a:gd name="connsiteY129" fmla="*/ 411956 h 1012031"/>
                <a:gd name="connsiteX130" fmla="*/ 228600 w 759618"/>
                <a:gd name="connsiteY130" fmla="*/ 428625 h 1012031"/>
                <a:gd name="connsiteX131" fmla="*/ 254793 w 759618"/>
                <a:gd name="connsiteY131" fmla="*/ 423863 h 1012031"/>
                <a:gd name="connsiteX132" fmla="*/ 240506 w 759618"/>
                <a:gd name="connsiteY132" fmla="*/ 445294 h 1012031"/>
                <a:gd name="connsiteX133" fmla="*/ 216693 w 759618"/>
                <a:gd name="connsiteY133" fmla="*/ 452438 h 1012031"/>
                <a:gd name="connsiteX134" fmla="*/ 242887 w 759618"/>
                <a:gd name="connsiteY134" fmla="*/ 464344 h 1012031"/>
                <a:gd name="connsiteX135" fmla="*/ 304800 w 759618"/>
                <a:gd name="connsiteY135" fmla="*/ 411956 h 1012031"/>
                <a:gd name="connsiteX136" fmla="*/ 307181 w 759618"/>
                <a:gd name="connsiteY136" fmla="*/ 364331 h 1012031"/>
                <a:gd name="connsiteX137" fmla="*/ 378618 w 759618"/>
                <a:gd name="connsiteY137" fmla="*/ 311944 h 1012031"/>
                <a:gd name="connsiteX138" fmla="*/ 385762 w 759618"/>
                <a:gd name="connsiteY138" fmla="*/ 335756 h 1012031"/>
                <a:gd name="connsiteX139" fmla="*/ 357187 w 759618"/>
                <a:gd name="connsiteY139" fmla="*/ 359569 h 1012031"/>
                <a:gd name="connsiteX140" fmla="*/ 333375 w 759618"/>
                <a:gd name="connsiteY140" fmla="*/ 400050 h 1012031"/>
                <a:gd name="connsiteX141" fmla="*/ 333375 w 759618"/>
                <a:gd name="connsiteY141" fmla="*/ 414338 h 1012031"/>
                <a:gd name="connsiteX142" fmla="*/ 359568 w 759618"/>
                <a:gd name="connsiteY142" fmla="*/ 407194 h 1012031"/>
                <a:gd name="connsiteX143" fmla="*/ 381000 w 759618"/>
                <a:gd name="connsiteY143" fmla="*/ 414338 h 1012031"/>
                <a:gd name="connsiteX144" fmla="*/ 369093 w 759618"/>
                <a:gd name="connsiteY144" fmla="*/ 419100 h 1012031"/>
                <a:gd name="connsiteX145" fmla="*/ 338137 w 759618"/>
                <a:gd name="connsiteY145" fmla="*/ 428625 h 1012031"/>
                <a:gd name="connsiteX146" fmla="*/ 300037 w 759618"/>
                <a:gd name="connsiteY146" fmla="*/ 454819 h 1012031"/>
                <a:gd name="connsiteX147" fmla="*/ 345281 w 759618"/>
                <a:gd name="connsiteY147" fmla="*/ 461963 h 1012031"/>
                <a:gd name="connsiteX148" fmla="*/ 342900 w 759618"/>
                <a:gd name="connsiteY148" fmla="*/ 476250 h 1012031"/>
                <a:gd name="connsiteX149" fmla="*/ 292893 w 759618"/>
                <a:gd name="connsiteY149" fmla="*/ 478631 h 1012031"/>
                <a:gd name="connsiteX150" fmla="*/ 261937 w 759618"/>
                <a:gd name="connsiteY150" fmla="*/ 495300 h 1012031"/>
                <a:gd name="connsiteX151" fmla="*/ 228600 w 759618"/>
                <a:gd name="connsiteY151" fmla="*/ 504825 h 1012031"/>
                <a:gd name="connsiteX152" fmla="*/ 240506 w 759618"/>
                <a:gd name="connsiteY152" fmla="*/ 540544 h 1012031"/>
                <a:gd name="connsiteX153" fmla="*/ 257175 w 759618"/>
                <a:gd name="connsiteY153" fmla="*/ 557213 h 1012031"/>
                <a:gd name="connsiteX154" fmla="*/ 259556 w 759618"/>
                <a:gd name="connsiteY154" fmla="*/ 578644 h 1012031"/>
                <a:gd name="connsiteX155" fmla="*/ 290512 w 759618"/>
                <a:gd name="connsiteY155" fmla="*/ 585788 h 1012031"/>
                <a:gd name="connsiteX156" fmla="*/ 292893 w 759618"/>
                <a:gd name="connsiteY156" fmla="*/ 597694 h 1012031"/>
                <a:gd name="connsiteX157" fmla="*/ 273843 w 759618"/>
                <a:gd name="connsiteY157" fmla="*/ 616744 h 1012031"/>
                <a:gd name="connsiteX158" fmla="*/ 252412 w 759618"/>
                <a:gd name="connsiteY158" fmla="*/ 609600 h 1012031"/>
                <a:gd name="connsiteX159" fmla="*/ 235743 w 759618"/>
                <a:gd name="connsiteY159" fmla="*/ 607219 h 1012031"/>
                <a:gd name="connsiteX160" fmla="*/ 228600 w 759618"/>
                <a:gd name="connsiteY160" fmla="*/ 581025 h 1012031"/>
                <a:gd name="connsiteX161" fmla="*/ 204787 w 759618"/>
                <a:gd name="connsiteY161" fmla="*/ 547688 h 1012031"/>
                <a:gd name="connsiteX162" fmla="*/ 192881 w 759618"/>
                <a:gd name="connsiteY162" fmla="*/ 519113 h 1012031"/>
                <a:gd name="connsiteX163" fmla="*/ 166687 w 759618"/>
                <a:gd name="connsiteY163" fmla="*/ 507206 h 1012031"/>
                <a:gd name="connsiteX164" fmla="*/ 130968 w 759618"/>
                <a:gd name="connsiteY164" fmla="*/ 495300 h 1012031"/>
                <a:gd name="connsiteX165" fmla="*/ 135731 w 759618"/>
                <a:gd name="connsiteY165" fmla="*/ 535781 h 1012031"/>
                <a:gd name="connsiteX166" fmla="*/ 171450 w 759618"/>
                <a:gd name="connsiteY166" fmla="*/ 554831 h 1012031"/>
                <a:gd name="connsiteX167" fmla="*/ 164306 w 759618"/>
                <a:gd name="connsiteY167" fmla="*/ 569119 h 1012031"/>
                <a:gd name="connsiteX168" fmla="*/ 138112 w 759618"/>
                <a:gd name="connsiteY168" fmla="*/ 554831 h 1012031"/>
                <a:gd name="connsiteX169" fmla="*/ 173831 w 759618"/>
                <a:gd name="connsiteY169" fmla="*/ 595313 h 1012031"/>
                <a:gd name="connsiteX170" fmla="*/ 188118 w 759618"/>
                <a:gd name="connsiteY170" fmla="*/ 621506 h 1012031"/>
                <a:gd name="connsiteX171" fmla="*/ 197643 w 759618"/>
                <a:gd name="connsiteY171" fmla="*/ 642938 h 1012031"/>
                <a:gd name="connsiteX172" fmla="*/ 207168 w 759618"/>
                <a:gd name="connsiteY172" fmla="*/ 659606 h 1012031"/>
                <a:gd name="connsiteX173" fmla="*/ 207168 w 759618"/>
                <a:gd name="connsiteY173" fmla="*/ 659606 h 1012031"/>
                <a:gd name="connsiteX174" fmla="*/ 176212 w 759618"/>
                <a:gd name="connsiteY174" fmla="*/ 664369 h 1012031"/>
                <a:gd name="connsiteX175" fmla="*/ 200025 w 759618"/>
                <a:gd name="connsiteY175" fmla="*/ 681038 h 1012031"/>
                <a:gd name="connsiteX176" fmla="*/ 228600 w 759618"/>
                <a:gd name="connsiteY176" fmla="*/ 690563 h 1012031"/>
                <a:gd name="connsiteX177" fmla="*/ 242887 w 759618"/>
                <a:gd name="connsiteY177" fmla="*/ 685800 h 1012031"/>
                <a:gd name="connsiteX178" fmla="*/ 252412 w 759618"/>
                <a:gd name="connsiteY178" fmla="*/ 678656 h 1012031"/>
                <a:gd name="connsiteX179" fmla="*/ 264318 w 759618"/>
                <a:gd name="connsiteY179" fmla="*/ 704850 h 1012031"/>
                <a:gd name="connsiteX180" fmla="*/ 252412 w 759618"/>
                <a:gd name="connsiteY180" fmla="*/ 719138 h 1012031"/>
                <a:gd name="connsiteX181" fmla="*/ 235743 w 759618"/>
                <a:gd name="connsiteY181" fmla="*/ 745331 h 1012031"/>
                <a:gd name="connsiteX182" fmla="*/ 209550 w 759618"/>
                <a:gd name="connsiteY182" fmla="*/ 716756 h 1012031"/>
                <a:gd name="connsiteX183" fmla="*/ 185737 w 759618"/>
                <a:gd name="connsiteY183" fmla="*/ 704850 h 1012031"/>
                <a:gd name="connsiteX184" fmla="*/ 147637 w 759618"/>
                <a:gd name="connsiteY184" fmla="*/ 707231 h 1012031"/>
                <a:gd name="connsiteX185" fmla="*/ 135731 w 759618"/>
                <a:gd name="connsiteY185" fmla="*/ 716756 h 1012031"/>
                <a:gd name="connsiteX186" fmla="*/ 123825 w 759618"/>
                <a:gd name="connsiteY186" fmla="*/ 735806 h 1012031"/>
                <a:gd name="connsiteX187" fmla="*/ 114300 w 759618"/>
                <a:gd name="connsiteY187" fmla="*/ 766763 h 1012031"/>
                <a:gd name="connsiteX188" fmla="*/ 126206 w 759618"/>
                <a:gd name="connsiteY188" fmla="*/ 781050 h 1012031"/>
                <a:gd name="connsiteX189" fmla="*/ 145256 w 759618"/>
                <a:gd name="connsiteY189" fmla="*/ 757238 h 1012031"/>
                <a:gd name="connsiteX190" fmla="*/ 145256 w 759618"/>
                <a:gd name="connsiteY190" fmla="*/ 757238 h 1012031"/>
                <a:gd name="connsiteX191" fmla="*/ 152400 w 759618"/>
                <a:gd name="connsiteY191" fmla="*/ 778669 h 1012031"/>
                <a:gd name="connsiteX192" fmla="*/ 142875 w 759618"/>
                <a:gd name="connsiteY192" fmla="*/ 790575 h 1012031"/>
                <a:gd name="connsiteX193" fmla="*/ 173831 w 759618"/>
                <a:gd name="connsiteY193" fmla="*/ 776288 h 1012031"/>
                <a:gd name="connsiteX194" fmla="*/ 169068 w 759618"/>
                <a:gd name="connsiteY194" fmla="*/ 752475 h 1012031"/>
                <a:gd name="connsiteX195" fmla="*/ 183356 w 759618"/>
                <a:gd name="connsiteY195" fmla="*/ 747713 h 1012031"/>
                <a:gd name="connsiteX196" fmla="*/ 183356 w 759618"/>
                <a:gd name="connsiteY196" fmla="*/ 766763 h 1012031"/>
                <a:gd name="connsiteX197" fmla="*/ 188118 w 759618"/>
                <a:gd name="connsiteY197" fmla="*/ 778669 h 1012031"/>
                <a:gd name="connsiteX198" fmla="*/ 200025 w 759618"/>
                <a:gd name="connsiteY198" fmla="*/ 783431 h 1012031"/>
                <a:gd name="connsiteX199" fmla="*/ 197643 w 759618"/>
                <a:gd name="connsiteY199" fmla="*/ 797719 h 1012031"/>
                <a:gd name="connsiteX200" fmla="*/ 178593 w 759618"/>
                <a:gd name="connsiteY200" fmla="*/ 802481 h 1012031"/>
                <a:gd name="connsiteX201" fmla="*/ 166687 w 759618"/>
                <a:gd name="connsiteY201" fmla="*/ 812006 h 1012031"/>
                <a:gd name="connsiteX202" fmla="*/ 180975 w 759618"/>
                <a:gd name="connsiteY202" fmla="*/ 816769 h 1012031"/>
                <a:gd name="connsiteX203" fmla="*/ 173831 w 759618"/>
                <a:gd name="connsiteY203" fmla="*/ 838200 h 1012031"/>
                <a:gd name="connsiteX204" fmla="*/ 190500 w 759618"/>
                <a:gd name="connsiteY204" fmla="*/ 842963 h 1012031"/>
                <a:gd name="connsiteX205" fmla="*/ 190500 w 759618"/>
                <a:gd name="connsiteY205" fmla="*/ 842963 h 1012031"/>
                <a:gd name="connsiteX206" fmla="*/ 226218 w 759618"/>
                <a:gd name="connsiteY206" fmla="*/ 814388 h 1012031"/>
                <a:gd name="connsiteX207" fmla="*/ 230981 w 759618"/>
                <a:gd name="connsiteY207" fmla="*/ 795338 h 1012031"/>
                <a:gd name="connsiteX208" fmla="*/ 247650 w 759618"/>
                <a:gd name="connsiteY208" fmla="*/ 804863 h 1012031"/>
                <a:gd name="connsiteX209" fmla="*/ 228600 w 759618"/>
                <a:gd name="connsiteY209" fmla="*/ 842963 h 1012031"/>
                <a:gd name="connsiteX210" fmla="*/ 204787 w 759618"/>
                <a:gd name="connsiteY210" fmla="*/ 869156 h 1012031"/>
                <a:gd name="connsiteX211" fmla="*/ 192881 w 759618"/>
                <a:gd name="connsiteY211" fmla="*/ 873919 h 1012031"/>
                <a:gd name="connsiteX212" fmla="*/ 171450 w 759618"/>
                <a:gd name="connsiteY212" fmla="*/ 888206 h 1012031"/>
                <a:gd name="connsiteX213" fmla="*/ 142875 w 759618"/>
                <a:gd name="connsiteY213" fmla="*/ 859631 h 1012031"/>
                <a:gd name="connsiteX214" fmla="*/ 126206 w 759618"/>
                <a:gd name="connsiteY214" fmla="*/ 831056 h 1012031"/>
                <a:gd name="connsiteX215" fmla="*/ 104775 w 759618"/>
                <a:gd name="connsiteY215" fmla="*/ 828675 h 1012031"/>
                <a:gd name="connsiteX216" fmla="*/ 85725 w 759618"/>
                <a:gd name="connsiteY216" fmla="*/ 845344 h 1012031"/>
                <a:gd name="connsiteX217" fmla="*/ 100012 w 759618"/>
                <a:gd name="connsiteY217" fmla="*/ 864394 h 1012031"/>
                <a:gd name="connsiteX218" fmla="*/ 111918 w 759618"/>
                <a:gd name="connsiteY218" fmla="*/ 878681 h 1012031"/>
                <a:gd name="connsiteX219" fmla="*/ 123825 w 759618"/>
                <a:gd name="connsiteY219" fmla="*/ 888206 h 1012031"/>
                <a:gd name="connsiteX220" fmla="*/ 133350 w 759618"/>
                <a:gd name="connsiteY220" fmla="*/ 909638 h 1012031"/>
                <a:gd name="connsiteX221" fmla="*/ 109537 w 759618"/>
                <a:gd name="connsiteY221" fmla="*/ 921544 h 1012031"/>
                <a:gd name="connsiteX222" fmla="*/ 90487 w 759618"/>
                <a:gd name="connsiteY222" fmla="*/ 909638 h 1012031"/>
                <a:gd name="connsiteX223" fmla="*/ 71437 w 759618"/>
                <a:gd name="connsiteY223" fmla="*/ 935831 h 1012031"/>
                <a:gd name="connsiteX224" fmla="*/ 61912 w 759618"/>
                <a:gd name="connsiteY224" fmla="*/ 971550 h 1012031"/>
                <a:gd name="connsiteX225" fmla="*/ 80962 w 759618"/>
                <a:gd name="connsiteY225" fmla="*/ 954881 h 1012031"/>
                <a:gd name="connsiteX226" fmla="*/ 95250 w 759618"/>
                <a:gd name="connsiteY226" fmla="*/ 978694 h 1012031"/>
                <a:gd name="connsiteX227" fmla="*/ 109537 w 759618"/>
                <a:gd name="connsiteY227" fmla="*/ 964406 h 1012031"/>
                <a:gd name="connsiteX228" fmla="*/ 119062 w 759618"/>
                <a:gd name="connsiteY228" fmla="*/ 981075 h 1012031"/>
                <a:gd name="connsiteX229" fmla="*/ 126206 w 759618"/>
                <a:gd name="connsiteY229" fmla="*/ 959644 h 1012031"/>
                <a:gd name="connsiteX230" fmla="*/ 145256 w 759618"/>
                <a:gd name="connsiteY230" fmla="*/ 985838 h 1012031"/>
                <a:gd name="connsiteX231" fmla="*/ 169068 w 759618"/>
                <a:gd name="connsiteY231" fmla="*/ 1004888 h 1012031"/>
                <a:gd name="connsiteX232" fmla="*/ 161925 w 759618"/>
                <a:gd name="connsiteY232" fmla="*/ 978694 h 1012031"/>
                <a:gd name="connsiteX233" fmla="*/ 171450 w 759618"/>
                <a:gd name="connsiteY233" fmla="*/ 964406 h 1012031"/>
                <a:gd name="connsiteX234" fmla="*/ 180975 w 759618"/>
                <a:gd name="connsiteY234" fmla="*/ 973931 h 1012031"/>
                <a:gd name="connsiteX235" fmla="*/ 188118 w 759618"/>
                <a:gd name="connsiteY235" fmla="*/ 962025 h 1012031"/>
                <a:gd name="connsiteX236" fmla="*/ 197643 w 759618"/>
                <a:gd name="connsiteY236" fmla="*/ 981075 h 1012031"/>
                <a:gd name="connsiteX237" fmla="*/ 209550 w 759618"/>
                <a:gd name="connsiteY237" fmla="*/ 962025 h 1012031"/>
                <a:gd name="connsiteX238" fmla="*/ 228600 w 759618"/>
                <a:gd name="connsiteY238" fmla="*/ 983456 h 1012031"/>
                <a:gd name="connsiteX239" fmla="*/ 235743 w 759618"/>
                <a:gd name="connsiteY239" fmla="*/ 959644 h 1012031"/>
                <a:gd name="connsiteX240" fmla="*/ 254793 w 759618"/>
                <a:gd name="connsiteY240" fmla="*/ 973931 h 1012031"/>
                <a:gd name="connsiteX241" fmla="*/ 271462 w 759618"/>
                <a:gd name="connsiteY241" fmla="*/ 983456 h 1012031"/>
                <a:gd name="connsiteX242" fmla="*/ 278606 w 759618"/>
                <a:gd name="connsiteY242" fmla="*/ 1000125 h 1012031"/>
                <a:gd name="connsiteX243" fmla="*/ 269081 w 759618"/>
                <a:gd name="connsiteY243" fmla="*/ 1012031 h 1012031"/>
                <a:gd name="connsiteX244" fmla="*/ 316706 w 759618"/>
                <a:gd name="connsiteY244" fmla="*/ 976313 h 1012031"/>
                <a:gd name="connsiteX245" fmla="*/ 335756 w 759618"/>
                <a:gd name="connsiteY245" fmla="*/ 969169 h 1012031"/>
                <a:gd name="connsiteX246" fmla="*/ 342900 w 759618"/>
                <a:gd name="connsiteY246" fmla="*/ 950119 h 1012031"/>
                <a:gd name="connsiteX247" fmla="*/ 342900 w 759618"/>
                <a:gd name="connsiteY247" fmla="*/ 926306 h 1012031"/>
                <a:gd name="connsiteX248" fmla="*/ 321468 w 759618"/>
                <a:gd name="connsiteY248" fmla="*/ 935831 h 1012031"/>
                <a:gd name="connsiteX249" fmla="*/ 307181 w 759618"/>
                <a:gd name="connsiteY249" fmla="*/ 926306 h 1012031"/>
                <a:gd name="connsiteX250" fmla="*/ 307181 w 759618"/>
                <a:gd name="connsiteY250" fmla="*/ 900113 h 1012031"/>
                <a:gd name="connsiteX251" fmla="*/ 290512 w 759618"/>
                <a:gd name="connsiteY251" fmla="*/ 916781 h 1012031"/>
                <a:gd name="connsiteX252" fmla="*/ 269081 w 759618"/>
                <a:gd name="connsiteY252" fmla="*/ 892969 h 1012031"/>
                <a:gd name="connsiteX253" fmla="*/ 252412 w 759618"/>
                <a:gd name="connsiteY253" fmla="*/ 919163 h 1012031"/>
                <a:gd name="connsiteX254" fmla="*/ 233362 w 759618"/>
                <a:gd name="connsiteY254" fmla="*/ 902494 h 1012031"/>
                <a:gd name="connsiteX255" fmla="*/ 254793 w 759618"/>
                <a:gd name="connsiteY255" fmla="*/ 888206 h 1012031"/>
                <a:gd name="connsiteX256" fmla="*/ 254793 w 759618"/>
                <a:gd name="connsiteY256" fmla="*/ 862013 h 1012031"/>
                <a:gd name="connsiteX257" fmla="*/ 278606 w 759618"/>
                <a:gd name="connsiteY257" fmla="*/ 876300 h 1012031"/>
                <a:gd name="connsiteX258" fmla="*/ 307181 w 759618"/>
                <a:gd name="connsiteY258" fmla="*/ 885825 h 1012031"/>
                <a:gd name="connsiteX259" fmla="*/ 323850 w 759618"/>
                <a:gd name="connsiteY259" fmla="*/ 878681 h 1012031"/>
                <a:gd name="connsiteX260" fmla="*/ 338137 w 759618"/>
                <a:gd name="connsiteY260" fmla="*/ 869156 h 1012031"/>
                <a:gd name="connsiteX261" fmla="*/ 338137 w 759618"/>
                <a:gd name="connsiteY261" fmla="*/ 847725 h 1012031"/>
                <a:gd name="connsiteX262" fmla="*/ 335756 w 759618"/>
                <a:gd name="connsiteY262" fmla="*/ 823913 h 1012031"/>
                <a:gd name="connsiteX263" fmla="*/ 338137 w 759618"/>
                <a:gd name="connsiteY263" fmla="*/ 797719 h 1012031"/>
                <a:gd name="connsiteX264" fmla="*/ 364331 w 759618"/>
                <a:gd name="connsiteY264" fmla="*/ 814388 h 1012031"/>
                <a:gd name="connsiteX265" fmla="*/ 392906 w 759618"/>
                <a:gd name="connsiteY265" fmla="*/ 795338 h 1012031"/>
                <a:gd name="connsiteX266" fmla="*/ 373856 w 759618"/>
                <a:gd name="connsiteY266" fmla="*/ 783431 h 1012031"/>
                <a:gd name="connsiteX267" fmla="*/ 395287 w 759618"/>
                <a:gd name="connsiteY267" fmla="*/ 776288 h 1012031"/>
                <a:gd name="connsiteX268" fmla="*/ 407193 w 759618"/>
                <a:gd name="connsiteY268" fmla="*/ 762000 h 1012031"/>
                <a:gd name="connsiteX269" fmla="*/ 388143 w 759618"/>
                <a:gd name="connsiteY269" fmla="*/ 752475 h 1012031"/>
                <a:gd name="connsiteX270" fmla="*/ 404812 w 759618"/>
                <a:gd name="connsiteY270" fmla="*/ 738188 h 1012031"/>
                <a:gd name="connsiteX271" fmla="*/ 423862 w 759618"/>
                <a:gd name="connsiteY271" fmla="*/ 707231 h 1012031"/>
                <a:gd name="connsiteX272" fmla="*/ 383381 w 759618"/>
                <a:gd name="connsiteY272" fmla="*/ 697706 h 1012031"/>
                <a:gd name="connsiteX273" fmla="*/ 381000 w 759618"/>
                <a:gd name="connsiteY273" fmla="*/ 690563 h 1012031"/>
                <a:gd name="connsiteX274" fmla="*/ 350043 w 759618"/>
                <a:gd name="connsiteY274" fmla="*/ 690563 h 1012031"/>
                <a:gd name="connsiteX275" fmla="*/ 335756 w 759618"/>
                <a:gd name="connsiteY275" fmla="*/ 676275 h 1012031"/>
                <a:gd name="connsiteX276" fmla="*/ 354806 w 759618"/>
                <a:gd name="connsiteY276" fmla="*/ 654844 h 1012031"/>
                <a:gd name="connsiteX277" fmla="*/ 390525 w 759618"/>
                <a:gd name="connsiteY277" fmla="*/ 657225 h 1012031"/>
                <a:gd name="connsiteX278" fmla="*/ 416718 w 759618"/>
                <a:gd name="connsiteY278" fmla="*/ 683419 h 1012031"/>
                <a:gd name="connsiteX279" fmla="*/ 428625 w 759618"/>
                <a:gd name="connsiteY279" fmla="*/ 647700 h 1012031"/>
                <a:gd name="connsiteX280" fmla="*/ 397668 w 759618"/>
                <a:gd name="connsiteY280" fmla="*/ 640556 h 1012031"/>
                <a:gd name="connsiteX281" fmla="*/ 359568 w 759618"/>
                <a:gd name="connsiteY281" fmla="*/ 631031 h 1012031"/>
                <a:gd name="connsiteX282" fmla="*/ 371475 w 759618"/>
                <a:gd name="connsiteY282" fmla="*/ 619125 h 1012031"/>
                <a:gd name="connsiteX283" fmla="*/ 395287 w 759618"/>
                <a:gd name="connsiteY283" fmla="*/ 616744 h 1012031"/>
                <a:gd name="connsiteX284" fmla="*/ 416718 w 759618"/>
                <a:gd name="connsiteY284" fmla="*/ 628650 h 1012031"/>
                <a:gd name="connsiteX285" fmla="*/ 442912 w 759618"/>
                <a:gd name="connsiteY285" fmla="*/ 607219 h 1012031"/>
                <a:gd name="connsiteX286" fmla="*/ 452437 w 759618"/>
                <a:gd name="connsiteY286" fmla="*/ 592931 h 1012031"/>
                <a:gd name="connsiteX287" fmla="*/ 428625 w 759618"/>
                <a:gd name="connsiteY287" fmla="*/ 576263 h 1012031"/>
                <a:gd name="connsiteX288" fmla="*/ 440531 w 759618"/>
                <a:gd name="connsiteY288" fmla="*/ 564356 h 1012031"/>
                <a:gd name="connsiteX289" fmla="*/ 464343 w 759618"/>
                <a:gd name="connsiteY289" fmla="*/ 578644 h 1012031"/>
                <a:gd name="connsiteX290" fmla="*/ 497681 w 759618"/>
                <a:gd name="connsiteY290" fmla="*/ 590550 h 1012031"/>
                <a:gd name="connsiteX291" fmla="*/ 511968 w 759618"/>
                <a:gd name="connsiteY291" fmla="*/ 557213 h 1012031"/>
                <a:gd name="connsiteX292" fmla="*/ 526256 w 759618"/>
                <a:gd name="connsiteY292" fmla="*/ 528638 h 1012031"/>
                <a:gd name="connsiteX293" fmla="*/ 502443 w 759618"/>
                <a:gd name="connsiteY293" fmla="*/ 531019 h 1012031"/>
                <a:gd name="connsiteX294" fmla="*/ 488156 w 759618"/>
                <a:gd name="connsiteY294" fmla="*/ 519113 h 1012031"/>
                <a:gd name="connsiteX295" fmla="*/ 542924 w 759618"/>
                <a:gd name="connsiteY295" fmla="*/ 511969 h 1012031"/>
                <a:gd name="connsiteX0" fmla="*/ 542924 w 759618"/>
                <a:gd name="connsiteY0" fmla="*/ 511969 h 1012031"/>
                <a:gd name="connsiteX1" fmla="*/ 526257 w 759618"/>
                <a:gd name="connsiteY1" fmla="*/ 447676 h 1012031"/>
                <a:gd name="connsiteX2" fmla="*/ 557212 w 759618"/>
                <a:gd name="connsiteY2" fmla="*/ 473868 h 1012031"/>
                <a:gd name="connsiteX3" fmla="*/ 592931 w 759618"/>
                <a:gd name="connsiteY3" fmla="*/ 428625 h 1012031"/>
                <a:gd name="connsiteX4" fmla="*/ 626268 w 759618"/>
                <a:gd name="connsiteY4" fmla="*/ 357188 h 1012031"/>
                <a:gd name="connsiteX5" fmla="*/ 678656 w 759618"/>
                <a:gd name="connsiteY5" fmla="*/ 307181 h 1012031"/>
                <a:gd name="connsiteX6" fmla="*/ 600075 w 759618"/>
                <a:gd name="connsiteY6" fmla="*/ 335756 h 1012031"/>
                <a:gd name="connsiteX7" fmla="*/ 554831 w 759618"/>
                <a:gd name="connsiteY7" fmla="*/ 373856 h 1012031"/>
                <a:gd name="connsiteX8" fmla="*/ 535781 w 759618"/>
                <a:gd name="connsiteY8" fmla="*/ 369094 h 1012031"/>
                <a:gd name="connsiteX9" fmla="*/ 597693 w 759618"/>
                <a:gd name="connsiteY9" fmla="*/ 309563 h 1012031"/>
                <a:gd name="connsiteX10" fmla="*/ 573881 w 759618"/>
                <a:gd name="connsiteY10" fmla="*/ 288131 h 1012031"/>
                <a:gd name="connsiteX11" fmla="*/ 561975 w 759618"/>
                <a:gd name="connsiteY11" fmla="*/ 261938 h 1012031"/>
                <a:gd name="connsiteX12" fmla="*/ 614362 w 759618"/>
                <a:gd name="connsiteY12" fmla="*/ 292894 h 1012031"/>
                <a:gd name="connsiteX13" fmla="*/ 650081 w 759618"/>
                <a:gd name="connsiteY13" fmla="*/ 290513 h 1012031"/>
                <a:gd name="connsiteX14" fmla="*/ 650081 w 759618"/>
                <a:gd name="connsiteY14" fmla="*/ 273844 h 1012031"/>
                <a:gd name="connsiteX15" fmla="*/ 678656 w 759618"/>
                <a:gd name="connsiteY15" fmla="*/ 271463 h 1012031"/>
                <a:gd name="connsiteX16" fmla="*/ 721518 w 759618"/>
                <a:gd name="connsiteY16" fmla="*/ 221456 h 1012031"/>
                <a:gd name="connsiteX17" fmla="*/ 759618 w 759618"/>
                <a:gd name="connsiteY17" fmla="*/ 150019 h 1012031"/>
                <a:gd name="connsiteX18" fmla="*/ 738187 w 759618"/>
                <a:gd name="connsiteY18" fmla="*/ 126206 h 1012031"/>
                <a:gd name="connsiteX19" fmla="*/ 704850 w 759618"/>
                <a:gd name="connsiteY19" fmla="*/ 121444 h 1012031"/>
                <a:gd name="connsiteX20" fmla="*/ 692943 w 759618"/>
                <a:gd name="connsiteY20" fmla="*/ 73819 h 1012031"/>
                <a:gd name="connsiteX21" fmla="*/ 669131 w 759618"/>
                <a:gd name="connsiteY21" fmla="*/ 59531 h 1012031"/>
                <a:gd name="connsiteX22" fmla="*/ 628650 w 759618"/>
                <a:gd name="connsiteY22" fmla="*/ 78581 h 1012031"/>
                <a:gd name="connsiteX23" fmla="*/ 614362 w 759618"/>
                <a:gd name="connsiteY23" fmla="*/ 102394 h 1012031"/>
                <a:gd name="connsiteX24" fmla="*/ 588168 w 759618"/>
                <a:gd name="connsiteY24" fmla="*/ 114300 h 1012031"/>
                <a:gd name="connsiteX25" fmla="*/ 576262 w 759618"/>
                <a:gd name="connsiteY25" fmla="*/ 107156 h 1012031"/>
                <a:gd name="connsiteX26" fmla="*/ 592931 w 759618"/>
                <a:gd name="connsiteY26" fmla="*/ 85725 h 1012031"/>
                <a:gd name="connsiteX27" fmla="*/ 621506 w 759618"/>
                <a:gd name="connsiteY27" fmla="*/ 50006 h 1012031"/>
                <a:gd name="connsiteX28" fmla="*/ 585787 w 759618"/>
                <a:gd name="connsiteY28" fmla="*/ 33338 h 1012031"/>
                <a:gd name="connsiteX29" fmla="*/ 557212 w 759618"/>
                <a:gd name="connsiteY29" fmla="*/ 38100 h 1012031"/>
                <a:gd name="connsiteX30" fmla="*/ 540543 w 759618"/>
                <a:gd name="connsiteY30" fmla="*/ 16669 h 1012031"/>
                <a:gd name="connsiteX31" fmla="*/ 526256 w 759618"/>
                <a:gd name="connsiteY31" fmla="*/ 16669 h 1012031"/>
                <a:gd name="connsiteX32" fmla="*/ 519112 w 759618"/>
                <a:gd name="connsiteY32" fmla="*/ 28575 h 1012031"/>
                <a:gd name="connsiteX33" fmla="*/ 533400 w 759618"/>
                <a:gd name="connsiteY33" fmla="*/ 61913 h 1012031"/>
                <a:gd name="connsiteX34" fmla="*/ 519112 w 759618"/>
                <a:gd name="connsiteY34" fmla="*/ 69056 h 1012031"/>
                <a:gd name="connsiteX35" fmla="*/ 500062 w 759618"/>
                <a:gd name="connsiteY35" fmla="*/ 33338 h 1012031"/>
                <a:gd name="connsiteX36" fmla="*/ 495300 w 759618"/>
                <a:gd name="connsiteY36" fmla="*/ 0 h 1012031"/>
                <a:gd name="connsiteX37" fmla="*/ 466725 w 759618"/>
                <a:gd name="connsiteY37" fmla="*/ 40481 h 1012031"/>
                <a:gd name="connsiteX38" fmla="*/ 466725 w 759618"/>
                <a:gd name="connsiteY38" fmla="*/ 61913 h 1012031"/>
                <a:gd name="connsiteX39" fmla="*/ 490537 w 759618"/>
                <a:gd name="connsiteY39" fmla="*/ 80963 h 1012031"/>
                <a:gd name="connsiteX40" fmla="*/ 490537 w 759618"/>
                <a:gd name="connsiteY40" fmla="*/ 100013 h 1012031"/>
                <a:gd name="connsiteX41" fmla="*/ 464343 w 759618"/>
                <a:gd name="connsiteY41" fmla="*/ 95250 h 1012031"/>
                <a:gd name="connsiteX42" fmla="*/ 442912 w 759618"/>
                <a:gd name="connsiteY42" fmla="*/ 64294 h 1012031"/>
                <a:gd name="connsiteX43" fmla="*/ 433387 w 759618"/>
                <a:gd name="connsiteY43" fmla="*/ 40481 h 1012031"/>
                <a:gd name="connsiteX44" fmla="*/ 414337 w 759618"/>
                <a:gd name="connsiteY44" fmla="*/ 33338 h 1012031"/>
                <a:gd name="connsiteX45" fmla="*/ 383381 w 759618"/>
                <a:gd name="connsiteY45" fmla="*/ 38100 h 1012031"/>
                <a:gd name="connsiteX46" fmla="*/ 376237 w 759618"/>
                <a:gd name="connsiteY46" fmla="*/ 42863 h 1012031"/>
                <a:gd name="connsiteX47" fmla="*/ 378618 w 759618"/>
                <a:gd name="connsiteY47" fmla="*/ 69056 h 1012031"/>
                <a:gd name="connsiteX48" fmla="*/ 402431 w 759618"/>
                <a:gd name="connsiteY48" fmla="*/ 88106 h 1012031"/>
                <a:gd name="connsiteX49" fmla="*/ 416718 w 759618"/>
                <a:gd name="connsiteY49" fmla="*/ 109538 h 1012031"/>
                <a:gd name="connsiteX50" fmla="*/ 402431 w 759618"/>
                <a:gd name="connsiteY50" fmla="*/ 145256 h 1012031"/>
                <a:gd name="connsiteX51" fmla="*/ 385762 w 759618"/>
                <a:gd name="connsiteY51" fmla="*/ 135731 h 1012031"/>
                <a:gd name="connsiteX52" fmla="*/ 381000 w 759618"/>
                <a:gd name="connsiteY52" fmla="*/ 104775 h 1012031"/>
                <a:gd name="connsiteX53" fmla="*/ 352425 w 759618"/>
                <a:gd name="connsiteY53" fmla="*/ 59531 h 1012031"/>
                <a:gd name="connsiteX54" fmla="*/ 333375 w 759618"/>
                <a:gd name="connsiteY54" fmla="*/ 69056 h 1012031"/>
                <a:gd name="connsiteX55" fmla="*/ 323850 w 759618"/>
                <a:gd name="connsiteY55" fmla="*/ 50006 h 1012031"/>
                <a:gd name="connsiteX56" fmla="*/ 302418 w 759618"/>
                <a:gd name="connsiteY56" fmla="*/ 42863 h 1012031"/>
                <a:gd name="connsiteX57" fmla="*/ 290512 w 759618"/>
                <a:gd name="connsiteY57" fmla="*/ 64294 h 1012031"/>
                <a:gd name="connsiteX58" fmla="*/ 304800 w 759618"/>
                <a:gd name="connsiteY58" fmla="*/ 76200 h 1012031"/>
                <a:gd name="connsiteX59" fmla="*/ 323850 w 759618"/>
                <a:gd name="connsiteY59" fmla="*/ 92869 h 1012031"/>
                <a:gd name="connsiteX60" fmla="*/ 335756 w 759618"/>
                <a:gd name="connsiteY60" fmla="*/ 100013 h 1012031"/>
                <a:gd name="connsiteX61" fmla="*/ 328612 w 759618"/>
                <a:gd name="connsiteY61" fmla="*/ 111919 h 1012031"/>
                <a:gd name="connsiteX62" fmla="*/ 307181 w 759618"/>
                <a:gd name="connsiteY62" fmla="*/ 100013 h 1012031"/>
                <a:gd name="connsiteX63" fmla="*/ 264318 w 759618"/>
                <a:gd name="connsiteY63" fmla="*/ 76200 h 1012031"/>
                <a:gd name="connsiteX64" fmla="*/ 280987 w 759618"/>
                <a:gd name="connsiteY64" fmla="*/ 114300 h 1012031"/>
                <a:gd name="connsiteX65" fmla="*/ 292893 w 759618"/>
                <a:gd name="connsiteY65" fmla="*/ 130969 h 1012031"/>
                <a:gd name="connsiteX66" fmla="*/ 280987 w 759618"/>
                <a:gd name="connsiteY66" fmla="*/ 140494 h 1012031"/>
                <a:gd name="connsiteX67" fmla="*/ 247650 w 759618"/>
                <a:gd name="connsiteY67" fmla="*/ 100013 h 1012031"/>
                <a:gd name="connsiteX68" fmla="*/ 261937 w 759618"/>
                <a:gd name="connsiteY68" fmla="*/ 142875 h 1012031"/>
                <a:gd name="connsiteX69" fmla="*/ 242887 w 759618"/>
                <a:gd name="connsiteY69" fmla="*/ 150019 h 1012031"/>
                <a:gd name="connsiteX70" fmla="*/ 257175 w 759618"/>
                <a:gd name="connsiteY70" fmla="*/ 178594 h 1012031"/>
                <a:gd name="connsiteX71" fmla="*/ 278606 w 759618"/>
                <a:gd name="connsiteY71" fmla="*/ 195263 h 1012031"/>
                <a:gd name="connsiteX72" fmla="*/ 307181 w 759618"/>
                <a:gd name="connsiteY72" fmla="*/ 228600 h 1012031"/>
                <a:gd name="connsiteX73" fmla="*/ 316706 w 759618"/>
                <a:gd name="connsiteY73" fmla="*/ 254794 h 1012031"/>
                <a:gd name="connsiteX74" fmla="*/ 316706 w 759618"/>
                <a:gd name="connsiteY74" fmla="*/ 254794 h 1012031"/>
                <a:gd name="connsiteX75" fmla="*/ 285750 w 759618"/>
                <a:gd name="connsiteY75" fmla="*/ 235744 h 1012031"/>
                <a:gd name="connsiteX76" fmla="*/ 238125 w 759618"/>
                <a:gd name="connsiteY76" fmla="*/ 221456 h 1012031"/>
                <a:gd name="connsiteX77" fmla="*/ 223837 w 759618"/>
                <a:gd name="connsiteY77" fmla="*/ 195263 h 1012031"/>
                <a:gd name="connsiteX78" fmla="*/ 204787 w 759618"/>
                <a:gd name="connsiteY78" fmla="*/ 166688 h 1012031"/>
                <a:gd name="connsiteX79" fmla="*/ 166687 w 759618"/>
                <a:gd name="connsiteY79" fmla="*/ 130969 h 1012031"/>
                <a:gd name="connsiteX80" fmla="*/ 166687 w 759618"/>
                <a:gd name="connsiteY80" fmla="*/ 157163 h 1012031"/>
                <a:gd name="connsiteX81" fmla="*/ 173831 w 759618"/>
                <a:gd name="connsiteY81" fmla="*/ 176213 h 1012031"/>
                <a:gd name="connsiteX82" fmla="*/ 171450 w 759618"/>
                <a:gd name="connsiteY82" fmla="*/ 188119 h 1012031"/>
                <a:gd name="connsiteX83" fmla="*/ 152400 w 759618"/>
                <a:gd name="connsiteY83" fmla="*/ 195263 h 1012031"/>
                <a:gd name="connsiteX84" fmla="*/ 128587 w 759618"/>
                <a:gd name="connsiteY84" fmla="*/ 190500 h 1012031"/>
                <a:gd name="connsiteX85" fmla="*/ 178593 w 759618"/>
                <a:gd name="connsiteY85" fmla="*/ 214313 h 1012031"/>
                <a:gd name="connsiteX86" fmla="*/ 188118 w 759618"/>
                <a:gd name="connsiteY86" fmla="*/ 228600 h 1012031"/>
                <a:gd name="connsiteX87" fmla="*/ 185737 w 759618"/>
                <a:gd name="connsiteY87" fmla="*/ 250031 h 1012031"/>
                <a:gd name="connsiteX88" fmla="*/ 157162 w 759618"/>
                <a:gd name="connsiteY88" fmla="*/ 228600 h 1012031"/>
                <a:gd name="connsiteX89" fmla="*/ 121443 w 759618"/>
                <a:gd name="connsiteY89" fmla="*/ 223838 h 1012031"/>
                <a:gd name="connsiteX90" fmla="*/ 97631 w 759618"/>
                <a:gd name="connsiteY90" fmla="*/ 211931 h 1012031"/>
                <a:gd name="connsiteX91" fmla="*/ 73818 w 759618"/>
                <a:gd name="connsiteY91" fmla="*/ 235744 h 1012031"/>
                <a:gd name="connsiteX92" fmla="*/ 73818 w 759618"/>
                <a:gd name="connsiteY92" fmla="*/ 257175 h 1012031"/>
                <a:gd name="connsiteX93" fmla="*/ 52387 w 759618"/>
                <a:gd name="connsiteY93" fmla="*/ 273844 h 1012031"/>
                <a:gd name="connsiteX94" fmla="*/ 35718 w 759618"/>
                <a:gd name="connsiteY94" fmla="*/ 254794 h 1012031"/>
                <a:gd name="connsiteX95" fmla="*/ 19050 w 759618"/>
                <a:gd name="connsiteY95" fmla="*/ 264319 h 1012031"/>
                <a:gd name="connsiteX96" fmla="*/ 0 w 759618"/>
                <a:gd name="connsiteY96" fmla="*/ 297656 h 1012031"/>
                <a:gd name="connsiteX97" fmla="*/ 26193 w 759618"/>
                <a:gd name="connsiteY97" fmla="*/ 283369 h 1012031"/>
                <a:gd name="connsiteX98" fmla="*/ 38100 w 759618"/>
                <a:gd name="connsiteY98" fmla="*/ 273844 h 1012031"/>
                <a:gd name="connsiteX99" fmla="*/ 52387 w 759618"/>
                <a:gd name="connsiteY99" fmla="*/ 288131 h 1012031"/>
                <a:gd name="connsiteX100" fmla="*/ 30956 w 759618"/>
                <a:gd name="connsiteY100" fmla="*/ 323850 h 1012031"/>
                <a:gd name="connsiteX101" fmla="*/ 69056 w 759618"/>
                <a:gd name="connsiteY101" fmla="*/ 300038 h 1012031"/>
                <a:gd name="connsiteX102" fmla="*/ 92868 w 759618"/>
                <a:gd name="connsiteY102" fmla="*/ 295275 h 1012031"/>
                <a:gd name="connsiteX103" fmla="*/ 114300 w 759618"/>
                <a:gd name="connsiteY103" fmla="*/ 300038 h 1012031"/>
                <a:gd name="connsiteX104" fmla="*/ 111918 w 759618"/>
                <a:gd name="connsiteY104" fmla="*/ 316706 h 1012031"/>
                <a:gd name="connsiteX105" fmla="*/ 92868 w 759618"/>
                <a:gd name="connsiteY105" fmla="*/ 311944 h 1012031"/>
                <a:gd name="connsiteX106" fmla="*/ 66675 w 759618"/>
                <a:gd name="connsiteY106" fmla="*/ 338138 h 1012031"/>
                <a:gd name="connsiteX107" fmla="*/ 69056 w 759618"/>
                <a:gd name="connsiteY107" fmla="*/ 359569 h 1012031"/>
                <a:gd name="connsiteX108" fmla="*/ 50006 w 759618"/>
                <a:gd name="connsiteY108" fmla="*/ 369094 h 1012031"/>
                <a:gd name="connsiteX109" fmla="*/ 59531 w 759618"/>
                <a:gd name="connsiteY109" fmla="*/ 385763 h 1012031"/>
                <a:gd name="connsiteX110" fmla="*/ 88106 w 759618"/>
                <a:gd name="connsiteY110" fmla="*/ 376238 h 1012031"/>
                <a:gd name="connsiteX111" fmla="*/ 116681 w 759618"/>
                <a:gd name="connsiteY111" fmla="*/ 378619 h 1012031"/>
                <a:gd name="connsiteX112" fmla="*/ 138112 w 759618"/>
                <a:gd name="connsiteY112" fmla="*/ 354806 h 1012031"/>
                <a:gd name="connsiteX113" fmla="*/ 164306 w 759618"/>
                <a:gd name="connsiteY113" fmla="*/ 335756 h 1012031"/>
                <a:gd name="connsiteX114" fmla="*/ 178593 w 759618"/>
                <a:gd name="connsiteY114" fmla="*/ 340519 h 1012031"/>
                <a:gd name="connsiteX115" fmla="*/ 157162 w 759618"/>
                <a:gd name="connsiteY115" fmla="*/ 366713 h 1012031"/>
                <a:gd name="connsiteX116" fmla="*/ 114300 w 759618"/>
                <a:gd name="connsiteY116" fmla="*/ 407194 h 1012031"/>
                <a:gd name="connsiteX117" fmla="*/ 73818 w 759618"/>
                <a:gd name="connsiteY117" fmla="*/ 411956 h 1012031"/>
                <a:gd name="connsiteX118" fmla="*/ 102393 w 759618"/>
                <a:gd name="connsiteY118" fmla="*/ 447675 h 1012031"/>
                <a:gd name="connsiteX119" fmla="*/ 133350 w 759618"/>
                <a:gd name="connsiteY119" fmla="*/ 419100 h 1012031"/>
                <a:gd name="connsiteX120" fmla="*/ 169068 w 759618"/>
                <a:gd name="connsiteY120" fmla="*/ 378619 h 1012031"/>
                <a:gd name="connsiteX121" fmla="*/ 209550 w 759618"/>
                <a:gd name="connsiteY121" fmla="*/ 371475 h 1012031"/>
                <a:gd name="connsiteX122" fmla="*/ 223837 w 759618"/>
                <a:gd name="connsiteY122" fmla="*/ 373856 h 1012031"/>
                <a:gd name="connsiteX123" fmla="*/ 183356 w 759618"/>
                <a:gd name="connsiteY123" fmla="*/ 402431 h 1012031"/>
                <a:gd name="connsiteX124" fmla="*/ 154781 w 759618"/>
                <a:gd name="connsiteY124" fmla="*/ 428625 h 1012031"/>
                <a:gd name="connsiteX125" fmla="*/ 147637 w 759618"/>
                <a:gd name="connsiteY125" fmla="*/ 454819 h 1012031"/>
                <a:gd name="connsiteX126" fmla="*/ 169068 w 759618"/>
                <a:gd name="connsiteY126" fmla="*/ 466725 h 1012031"/>
                <a:gd name="connsiteX127" fmla="*/ 197643 w 759618"/>
                <a:gd name="connsiteY127" fmla="*/ 454819 h 1012031"/>
                <a:gd name="connsiteX128" fmla="*/ 197643 w 759618"/>
                <a:gd name="connsiteY128" fmla="*/ 423863 h 1012031"/>
                <a:gd name="connsiteX129" fmla="*/ 211931 w 759618"/>
                <a:gd name="connsiteY129" fmla="*/ 411956 h 1012031"/>
                <a:gd name="connsiteX130" fmla="*/ 228600 w 759618"/>
                <a:gd name="connsiteY130" fmla="*/ 428625 h 1012031"/>
                <a:gd name="connsiteX131" fmla="*/ 254793 w 759618"/>
                <a:gd name="connsiteY131" fmla="*/ 423863 h 1012031"/>
                <a:gd name="connsiteX132" fmla="*/ 240506 w 759618"/>
                <a:gd name="connsiteY132" fmla="*/ 445294 h 1012031"/>
                <a:gd name="connsiteX133" fmla="*/ 216693 w 759618"/>
                <a:gd name="connsiteY133" fmla="*/ 452438 h 1012031"/>
                <a:gd name="connsiteX134" fmla="*/ 242887 w 759618"/>
                <a:gd name="connsiteY134" fmla="*/ 464344 h 1012031"/>
                <a:gd name="connsiteX135" fmla="*/ 304800 w 759618"/>
                <a:gd name="connsiteY135" fmla="*/ 411956 h 1012031"/>
                <a:gd name="connsiteX136" fmla="*/ 307181 w 759618"/>
                <a:gd name="connsiteY136" fmla="*/ 364331 h 1012031"/>
                <a:gd name="connsiteX137" fmla="*/ 378618 w 759618"/>
                <a:gd name="connsiteY137" fmla="*/ 311944 h 1012031"/>
                <a:gd name="connsiteX138" fmla="*/ 385762 w 759618"/>
                <a:gd name="connsiteY138" fmla="*/ 335756 h 1012031"/>
                <a:gd name="connsiteX139" fmla="*/ 357187 w 759618"/>
                <a:gd name="connsiteY139" fmla="*/ 359569 h 1012031"/>
                <a:gd name="connsiteX140" fmla="*/ 333375 w 759618"/>
                <a:gd name="connsiteY140" fmla="*/ 400050 h 1012031"/>
                <a:gd name="connsiteX141" fmla="*/ 333375 w 759618"/>
                <a:gd name="connsiteY141" fmla="*/ 414338 h 1012031"/>
                <a:gd name="connsiteX142" fmla="*/ 359568 w 759618"/>
                <a:gd name="connsiteY142" fmla="*/ 407194 h 1012031"/>
                <a:gd name="connsiteX143" fmla="*/ 381000 w 759618"/>
                <a:gd name="connsiteY143" fmla="*/ 414338 h 1012031"/>
                <a:gd name="connsiteX144" fmla="*/ 369093 w 759618"/>
                <a:gd name="connsiteY144" fmla="*/ 419100 h 1012031"/>
                <a:gd name="connsiteX145" fmla="*/ 338137 w 759618"/>
                <a:gd name="connsiteY145" fmla="*/ 428625 h 1012031"/>
                <a:gd name="connsiteX146" fmla="*/ 300037 w 759618"/>
                <a:gd name="connsiteY146" fmla="*/ 454819 h 1012031"/>
                <a:gd name="connsiteX147" fmla="*/ 345281 w 759618"/>
                <a:gd name="connsiteY147" fmla="*/ 461963 h 1012031"/>
                <a:gd name="connsiteX148" fmla="*/ 342900 w 759618"/>
                <a:gd name="connsiteY148" fmla="*/ 476250 h 1012031"/>
                <a:gd name="connsiteX149" fmla="*/ 292893 w 759618"/>
                <a:gd name="connsiteY149" fmla="*/ 478631 h 1012031"/>
                <a:gd name="connsiteX150" fmla="*/ 261937 w 759618"/>
                <a:gd name="connsiteY150" fmla="*/ 495300 h 1012031"/>
                <a:gd name="connsiteX151" fmla="*/ 228600 w 759618"/>
                <a:gd name="connsiteY151" fmla="*/ 504825 h 1012031"/>
                <a:gd name="connsiteX152" fmla="*/ 240506 w 759618"/>
                <a:gd name="connsiteY152" fmla="*/ 540544 h 1012031"/>
                <a:gd name="connsiteX153" fmla="*/ 257175 w 759618"/>
                <a:gd name="connsiteY153" fmla="*/ 557213 h 1012031"/>
                <a:gd name="connsiteX154" fmla="*/ 259556 w 759618"/>
                <a:gd name="connsiteY154" fmla="*/ 578644 h 1012031"/>
                <a:gd name="connsiteX155" fmla="*/ 290512 w 759618"/>
                <a:gd name="connsiteY155" fmla="*/ 585788 h 1012031"/>
                <a:gd name="connsiteX156" fmla="*/ 292893 w 759618"/>
                <a:gd name="connsiteY156" fmla="*/ 597694 h 1012031"/>
                <a:gd name="connsiteX157" fmla="*/ 273843 w 759618"/>
                <a:gd name="connsiteY157" fmla="*/ 616744 h 1012031"/>
                <a:gd name="connsiteX158" fmla="*/ 252412 w 759618"/>
                <a:gd name="connsiteY158" fmla="*/ 609600 h 1012031"/>
                <a:gd name="connsiteX159" fmla="*/ 235743 w 759618"/>
                <a:gd name="connsiteY159" fmla="*/ 607219 h 1012031"/>
                <a:gd name="connsiteX160" fmla="*/ 228600 w 759618"/>
                <a:gd name="connsiteY160" fmla="*/ 581025 h 1012031"/>
                <a:gd name="connsiteX161" fmla="*/ 204787 w 759618"/>
                <a:gd name="connsiteY161" fmla="*/ 547688 h 1012031"/>
                <a:gd name="connsiteX162" fmla="*/ 192881 w 759618"/>
                <a:gd name="connsiteY162" fmla="*/ 519113 h 1012031"/>
                <a:gd name="connsiteX163" fmla="*/ 166687 w 759618"/>
                <a:gd name="connsiteY163" fmla="*/ 507206 h 1012031"/>
                <a:gd name="connsiteX164" fmla="*/ 130968 w 759618"/>
                <a:gd name="connsiteY164" fmla="*/ 495300 h 1012031"/>
                <a:gd name="connsiteX165" fmla="*/ 135731 w 759618"/>
                <a:gd name="connsiteY165" fmla="*/ 535781 h 1012031"/>
                <a:gd name="connsiteX166" fmla="*/ 171450 w 759618"/>
                <a:gd name="connsiteY166" fmla="*/ 554831 h 1012031"/>
                <a:gd name="connsiteX167" fmla="*/ 164306 w 759618"/>
                <a:gd name="connsiteY167" fmla="*/ 569119 h 1012031"/>
                <a:gd name="connsiteX168" fmla="*/ 138112 w 759618"/>
                <a:gd name="connsiteY168" fmla="*/ 554831 h 1012031"/>
                <a:gd name="connsiteX169" fmla="*/ 173831 w 759618"/>
                <a:gd name="connsiteY169" fmla="*/ 595313 h 1012031"/>
                <a:gd name="connsiteX170" fmla="*/ 188118 w 759618"/>
                <a:gd name="connsiteY170" fmla="*/ 621506 h 1012031"/>
                <a:gd name="connsiteX171" fmla="*/ 197643 w 759618"/>
                <a:gd name="connsiteY171" fmla="*/ 642938 h 1012031"/>
                <a:gd name="connsiteX172" fmla="*/ 207168 w 759618"/>
                <a:gd name="connsiteY172" fmla="*/ 659606 h 1012031"/>
                <a:gd name="connsiteX173" fmla="*/ 207168 w 759618"/>
                <a:gd name="connsiteY173" fmla="*/ 659606 h 1012031"/>
                <a:gd name="connsiteX174" fmla="*/ 176212 w 759618"/>
                <a:gd name="connsiteY174" fmla="*/ 664369 h 1012031"/>
                <a:gd name="connsiteX175" fmla="*/ 200025 w 759618"/>
                <a:gd name="connsiteY175" fmla="*/ 681038 h 1012031"/>
                <a:gd name="connsiteX176" fmla="*/ 228600 w 759618"/>
                <a:gd name="connsiteY176" fmla="*/ 690563 h 1012031"/>
                <a:gd name="connsiteX177" fmla="*/ 242887 w 759618"/>
                <a:gd name="connsiteY177" fmla="*/ 685800 h 1012031"/>
                <a:gd name="connsiteX178" fmla="*/ 252412 w 759618"/>
                <a:gd name="connsiteY178" fmla="*/ 678656 h 1012031"/>
                <a:gd name="connsiteX179" fmla="*/ 264318 w 759618"/>
                <a:gd name="connsiteY179" fmla="*/ 704850 h 1012031"/>
                <a:gd name="connsiteX180" fmla="*/ 252412 w 759618"/>
                <a:gd name="connsiteY180" fmla="*/ 719138 h 1012031"/>
                <a:gd name="connsiteX181" fmla="*/ 235743 w 759618"/>
                <a:gd name="connsiteY181" fmla="*/ 745331 h 1012031"/>
                <a:gd name="connsiteX182" fmla="*/ 209550 w 759618"/>
                <a:gd name="connsiteY182" fmla="*/ 716756 h 1012031"/>
                <a:gd name="connsiteX183" fmla="*/ 185737 w 759618"/>
                <a:gd name="connsiteY183" fmla="*/ 704850 h 1012031"/>
                <a:gd name="connsiteX184" fmla="*/ 147637 w 759618"/>
                <a:gd name="connsiteY184" fmla="*/ 707231 h 1012031"/>
                <a:gd name="connsiteX185" fmla="*/ 135731 w 759618"/>
                <a:gd name="connsiteY185" fmla="*/ 716756 h 1012031"/>
                <a:gd name="connsiteX186" fmla="*/ 123825 w 759618"/>
                <a:gd name="connsiteY186" fmla="*/ 735806 h 1012031"/>
                <a:gd name="connsiteX187" fmla="*/ 114300 w 759618"/>
                <a:gd name="connsiteY187" fmla="*/ 766763 h 1012031"/>
                <a:gd name="connsiteX188" fmla="*/ 126206 w 759618"/>
                <a:gd name="connsiteY188" fmla="*/ 781050 h 1012031"/>
                <a:gd name="connsiteX189" fmla="*/ 145256 w 759618"/>
                <a:gd name="connsiteY189" fmla="*/ 757238 h 1012031"/>
                <a:gd name="connsiteX190" fmla="*/ 145256 w 759618"/>
                <a:gd name="connsiteY190" fmla="*/ 757238 h 1012031"/>
                <a:gd name="connsiteX191" fmla="*/ 152400 w 759618"/>
                <a:gd name="connsiteY191" fmla="*/ 778669 h 1012031"/>
                <a:gd name="connsiteX192" fmla="*/ 142875 w 759618"/>
                <a:gd name="connsiteY192" fmla="*/ 790575 h 1012031"/>
                <a:gd name="connsiteX193" fmla="*/ 173831 w 759618"/>
                <a:gd name="connsiteY193" fmla="*/ 776288 h 1012031"/>
                <a:gd name="connsiteX194" fmla="*/ 169068 w 759618"/>
                <a:gd name="connsiteY194" fmla="*/ 752475 h 1012031"/>
                <a:gd name="connsiteX195" fmla="*/ 183356 w 759618"/>
                <a:gd name="connsiteY195" fmla="*/ 747713 h 1012031"/>
                <a:gd name="connsiteX196" fmla="*/ 183356 w 759618"/>
                <a:gd name="connsiteY196" fmla="*/ 766763 h 1012031"/>
                <a:gd name="connsiteX197" fmla="*/ 188118 w 759618"/>
                <a:gd name="connsiteY197" fmla="*/ 778669 h 1012031"/>
                <a:gd name="connsiteX198" fmla="*/ 200025 w 759618"/>
                <a:gd name="connsiteY198" fmla="*/ 783431 h 1012031"/>
                <a:gd name="connsiteX199" fmla="*/ 197643 w 759618"/>
                <a:gd name="connsiteY199" fmla="*/ 797719 h 1012031"/>
                <a:gd name="connsiteX200" fmla="*/ 178593 w 759618"/>
                <a:gd name="connsiteY200" fmla="*/ 802481 h 1012031"/>
                <a:gd name="connsiteX201" fmla="*/ 166687 w 759618"/>
                <a:gd name="connsiteY201" fmla="*/ 812006 h 1012031"/>
                <a:gd name="connsiteX202" fmla="*/ 180975 w 759618"/>
                <a:gd name="connsiteY202" fmla="*/ 816769 h 1012031"/>
                <a:gd name="connsiteX203" fmla="*/ 173831 w 759618"/>
                <a:gd name="connsiteY203" fmla="*/ 838200 h 1012031"/>
                <a:gd name="connsiteX204" fmla="*/ 190500 w 759618"/>
                <a:gd name="connsiteY204" fmla="*/ 842963 h 1012031"/>
                <a:gd name="connsiteX205" fmla="*/ 190500 w 759618"/>
                <a:gd name="connsiteY205" fmla="*/ 842963 h 1012031"/>
                <a:gd name="connsiteX206" fmla="*/ 226218 w 759618"/>
                <a:gd name="connsiteY206" fmla="*/ 814388 h 1012031"/>
                <a:gd name="connsiteX207" fmla="*/ 230981 w 759618"/>
                <a:gd name="connsiteY207" fmla="*/ 795338 h 1012031"/>
                <a:gd name="connsiteX208" fmla="*/ 247650 w 759618"/>
                <a:gd name="connsiteY208" fmla="*/ 804863 h 1012031"/>
                <a:gd name="connsiteX209" fmla="*/ 228600 w 759618"/>
                <a:gd name="connsiteY209" fmla="*/ 842963 h 1012031"/>
                <a:gd name="connsiteX210" fmla="*/ 204787 w 759618"/>
                <a:gd name="connsiteY210" fmla="*/ 869156 h 1012031"/>
                <a:gd name="connsiteX211" fmla="*/ 192881 w 759618"/>
                <a:gd name="connsiteY211" fmla="*/ 873919 h 1012031"/>
                <a:gd name="connsiteX212" fmla="*/ 171450 w 759618"/>
                <a:gd name="connsiteY212" fmla="*/ 888206 h 1012031"/>
                <a:gd name="connsiteX213" fmla="*/ 142875 w 759618"/>
                <a:gd name="connsiteY213" fmla="*/ 859631 h 1012031"/>
                <a:gd name="connsiteX214" fmla="*/ 126206 w 759618"/>
                <a:gd name="connsiteY214" fmla="*/ 831056 h 1012031"/>
                <a:gd name="connsiteX215" fmla="*/ 104775 w 759618"/>
                <a:gd name="connsiteY215" fmla="*/ 828675 h 1012031"/>
                <a:gd name="connsiteX216" fmla="*/ 85725 w 759618"/>
                <a:gd name="connsiteY216" fmla="*/ 845344 h 1012031"/>
                <a:gd name="connsiteX217" fmla="*/ 100012 w 759618"/>
                <a:gd name="connsiteY217" fmla="*/ 864394 h 1012031"/>
                <a:gd name="connsiteX218" fmla="*/ 111918 w 759618"/>
                <a:gd name="connsiteY218" fmla="*/ 878681 h 1012031"/>
                <a:gd name="connsiteX219" fmla="*/ 123825 w 759618"/>
                <a:gd name="connsiteY219" fmla="*/ 888206 h 1012031"/>
                <a:gd name="connsiteX220" fmla="*/ 133350 w 759618"/>
                <a:gd name="connsiteY220" fmla="*/ 909638 h 1012031"/>
                <a:gd name="connsiteX221" fmla="*/ 109537 w 759618"/>
                <a:gd name="connsiteY221" fmla="*/ 921544 h 1012031"/>
                <a:gd name="connsiteX222" fmla="*/ 90487 w 759618"/>
                <a:gd name="connsiteY222" fmla="*/ 909638 h 1012031"/>
                <a:gd name="connsiteX223" fmla="*/ 71437 w 759618"/>
                <a:gd name="connsiteY223" fmla="*/ 935831 h 1012031"/>
                <a:gd name="connsiteX224" fmla="*/ 61912 w 759618"/>
                <a:gd name="connsiteY224" fmla="*/ 971550 h 1012031"/>
                <a:gd name="connsiteX225" fmla="*/ 80962 w 759618"/>
                <a:gd name="connsiteY225" fmla="*/ 954881 h 1012031"/>
                <a:gd name="connsiteX226" fmla="*/ 95250 w 759618"/>
                <a:gd name="connsiteY226" fmla="*/ 978694 h 1012031"/>
                <a:gd name="connsiteX227" fmla="*/ 109537 w 759618"/>
                <a:gd name="connsiteY227" fmla="*/ 964406 h 1012031"/>
                <a:gd name="connsiteX228" fmla="*/ 119062 w 759618"/>
                <a:gd name="connsiteY228" fmla="*/ 981075 h 1012031"/>
                <a:gd name="connsiteX229" fmla="*/ 126206 w 759618"/>
                <a:gd name="connsiteY229" fmla="*/ 959644 h 1012031"/>
                <a:gd name="connsiteX230" fmla="*/ 145256 w 759618"/>
                <a:gd name="connsiteY230" fmla="*/ 985838 h 1012031"/>
                <a:gd name="connsiteX231" fmla="*/ 169068 w 759618"/>
                <a:gd name="connsiteY231" fmla="*/ 1004888 h 1012031"/>
                <a:gd name="connsiteX232" fmla="*/ 161925 w 759618"/>
                <a:gd name="connsiteY232" fmla="*/ 978694 h 1012031"/>
                <a:gd name="connsiteX233" fmla="*/ 171450 w 759618"/>
                <a:gd name="connsiteY233" fmla="*/ 964406 h 1012031"/>
                <a:gd name="connsiteX234" fmla="*/ 180975 w 759618"/>
                <a:gd name="connsiteY234" fmla="*/ 973931 h 1012031"/>
                <a:gd name="connsiteX235" fmla="*/ 188118 w 759618"/>
                <a:gd name="connsiteY235" fmla="*/ 962025 h 1012031"/>
                <a:gd name="connsiteX236" fmla="*/ 197643 w 759618"/>
                <a:gd name="connsiteY236" fmla="*/ 981075 h 1012031"/>
                <a:gd name="connsiteX237" fmla="*/ 209550 w 759618"/>
                <a:gd name="connsiteY237" fmla="*/ 962025 h 1012031"/>
                <a:gd name="connsiteX238" fmla="*/ 228600 w 759618"/>
                <a:gd name="connsiteY238" fmla="*/ 983456 h 1012031"/>
                <a:gd name="connsiteX239" fmla="*/ 235743 w 759618"/>
                <a:gd name="connsiteY239" fmla="*/ 959644 h 1012031"/>
                <a:gd name="connsiteX240" fmla="*/ 254793 w 759618"/>
                <a:gd name="connsiteY240" fmla="*/ 973931 h 1012031"/>
                <a:gd name="connsiteX241" fmla="*/ 271462 w 759618"/>
                <a:gd name="connsiteY241" fmla="*/ 983456 h 1012031"/>
                <a:gd name="connsiteX242" fmla="*/ 278606 w 759618"/>
                <a:gd name="connsiteY242" fmla="*/ 1000125 h 1012031"/>
                <a:gd name="connsiteX243" fmla="*/ 269081 w 759618"/>
                <a:gd name="connsiteY243" fmla="*/ 1012031 h 1012031"/>
                <a:gd name="connsiteX244" fmla="*/ 316706 w 759618"/>
                <a:gd name="connsiteY244" fmla="*/ 976313 h 1012031"/>
                <a:gd name="connsiteX245" fmla="*/ 335756 w 759618"/>
                <a:gd name="connsiteY245" fmla="*/ 969169 h 1012031"/>
                <a:gd name="connsiteX246" fmla="*/ 342900 w 759618"/>
                <a:gd name="connsiteY246" fmla="*/ 950119 h 1012031"/>
                <a:gd name="connsiteX247" fmla="*/ 342900 w 759618"/>
                <a:gd name="connsiteY247" fmla="*/ 926306 h 1012031"/>
                <a:gd name="connsiteX248" fmla="*/ 321468 w 759618"/>
                <a:gd name="connsiteY248" fmla="*/ 935831 h 1012031"/>
                <a:gd name="connsiteX249" fmla="*/ 307181 w 759618"/>
                <a:gd name="connsiteY249" fmla="*/ 926306 h 1012031"/>
                <a:gd name="connsiteX250" fmla="*/ 307181 w 759618"/>
                <a:gd name="connsiteY250" fmla="*/ 900113 h 1012031"/>
                <a:gd name="connsiteX251" fmla="*/ 290512 w 759618"/>
                <a:gd name="connsiteY251" fmla="*/ 916781 h 1012031"/>
                <a:gd name="connsiteX252" fmla="*/ 269081 w 759618"/>
                <a:gd name="connsiteY252" fmla="*/ 892969 h 1012031"/>
                <a:gd name="connsiteX253" fmla="*/ 252412 w 759618"/>
                <a:gd name="connsiteY253" fmla="*/ 919163 h 1012031"/>
                <a:gd name="connsiteX254" fmla="*/ 233362 w 759618"/>
                <a:gd name="connsiteY254" fmla="*/ 902494 h 1012031"/>
                <a:gd name="connsiteX255" fmla="*/ 254793 w 759618"/>
                <a:gd name="connsiteY255" fmla="*/ 888206 h 1012031"/>
                <a:gd name="connsiteX256" fmla="*/ 254793 w 759618"/>
                <a:gd name="connsiteY256" fmla="*/ 862013 h 1012031"/>
                <a:gd name="connsiteX257" fmla="*/ 278606 w 759618"/>
                <a:gd name="connsiteY257" fmla="*/ 876300 h 1012031"/>
                <a:gd name="connsiteX258" fmla="*/ 307181 w 759618"/>
                <a:gd name="connsiteY258" fmla="*/ 885825 h 1012031"/>
                <a:gd name="connsiteX259" fmla="*/ 323850 w 759618"/>
                <a:gd name="connsiteY259" fmla="*/ 878681 h 1012031"/>
                <a:gd name="connsiteX260" fmla="*/ 338137 w 759618"/>
                <a:gd name="connsiteY260" fmla="*/ 869156 h 1012031"/>
                <a:gd name="connsiteX261" fmla="*/ 338137 w 759618"/>
                <a:gd name="connsiteY261" fmla="*/ 847725 h 1012031"/>
                <a:gd name="connsiteX262" fmla="*/ 335756 w 759618"/>
                <a:gd name="connsiteY262" fmla="*/ 823913 h 1012031"/>
                <a:gd name="connsiteX263" fmla="*/ 338137 w 759618"/>
                <a:gd name="connsiteY263" fmla="*/ 797719 h 1012031"/>
                <a:gd name="connsiteX264" fmla="*/ 364331 w 759618"/>
                <a:gd name="connsiteY264" fmla="*/ 814388 h 1012031"/>
                <a:gd name="connsiteX265" fmla="*/ 392906 w 759618"/>
                <a:gd name="connsiteY265" fmla="*/ 795338 h 1012031"/>
                <a:gd name="connsiteX266" fmla="*/ 373856 w 759618"/>
                <a:gd name="connsiteY266" fmla="*/ 783431 h 1012031"/>
                <a:gd name="connsiteX267" fmla="*/ 395287 w 759618"/>
                <a:gd name="connsiteY267" fmla="*/ 776288 h 1012031"/>
                <a:gd name="connsiteX268" fmla="*/ 407193 w 759618"/>
                <a:gd name="connsiteY268" fmla="*/ 762000 h 1012031"/>
                <a:gd name="connsiteX269" fmla="*/ 388143 w 759618"/>
                <a:gd name="connsiteY269" fmla="*/ 752475 h 1012031"/>
                <a:gd name="connsiteX270" fmla="*/ 404812 w 759618"/>
                <a:gd name="connsiteY270" fmla="*/ 738188 h 1012031"/>
                <a:gd name="connsiteX271" fmla="*/ 423862 w 759618"/>
                <a:gd name="connsiteY271" fmla="*/ 707231 h 1012031"/>
                <a:gd name="connsiteX272" fmla="*/ 383381 w 759618"/>
                <a:gd name="connsiteY272" fmla="*/ 697706 h 1012031"/>
                <a:gd name="connsiteX273" fmla="*/ 381000 w 759618"/>
                <a:gd name="connsiteY273" fmla="*/ 690563 h 1012031"/>
                <a:gd name="connsiteX274" fmla="*/ 350043 w 759618"/>
                <a:gd name="connsiteY274" fmla="*/ 690563 h 1012031"/>
                <a:gd name="connsiteX275" fmla="*/ 335756 w 759618"/>
                <a:gd name="connsiteY275" fmla="*/ 676275 h 1012031"/>
                <a:gd name="connsiteX276" fmla="*/ 354806 w 759618"/>
                <a:gd name="connsiteY276" fmla="*/ 654844 h 1012031"/>
                <a:gd name="connsiteX277" fmla="*/ 390525 w 759618"/>
                <a:gd name="connsiteY277" fmla="*/ 657225 h 1012031"/>
                <a:gd name="connsiteX278" fmla="*/ 416718 w 759618"/>
                <a:gd name="connsiteY278" fmla="*/ 683419 h 1012031"/>
                <a:gd name="connsiteX279" fmla="*/ 428625 w 759618"/>
                <a:gd name="connsiteY279" fmla="*/ 647700 h 1012031"/>
                <a:gd name="connsiteX280" fmla="*/ 397668 w 759618"/>
                <a:gd name="connsiteY280" fmla="*/ 640556 h 1012031"/>
                <a:gd name="connsiteX281" fmla="*/ 359568 w 759618"/>
                <a:gd name="connsiteY281" fmla="*/ 631031 h 1012031"/>
                <a:gd name="connsiteX282" fmla="*/ 371475 w 759618"/>
                <a:gd name="connsiteY282" fmla="*/ 619125 h 1012031"/>
                <a:gd name="connsiteX283" fmla="*/ 395287 w 759618"/>
                <a:gd name="connsiteY283" fmla="*/ 616744 h 1012031"/>
                <a:gd name="connsiteX284" fmla="*/ 416718 w 759618"/>
                <a:gd name="connsiteY284" fmla="*/ 628650 h 1012031"/>
                <a:gd name="connsiteX285" fmla="*/ 442912 w 759618"/>
                <a:gd name="connsiteY285" fmla="*/ 607219 h 1012031"/>
                <a:gd name="connsiteX286" fmla="*/ 452437 w 759618"/>
                <a:gd name="connsiteY286" fmla="*/ 592931 h 1012031"/>
                <a:gd name="connsiteX287" fmla="*/ 428625 w 759618"/>
                <a:gd name="connsiteY287" fmla="*/ 576263 h 1012031"/>
                <a:gd name="connsiteX288" fmla="*/ 440531 w 759618"/>
                <a:gd name="connsiteY288" fmla="*/ 564356 h 1012031"/>
                <a:gd name="connsiteX289" fmla="*/ 464343 w 759618"/>
                <a:gd name="connsiteY289" fmla="*/ 578644 h 1012031"/>
                <a:gd name="connsiteX290" fmla="*/ 497681 w 759618"/>
                <a:gd name="connsiteY290" fmla="*/ 590550 h 1012031"/>
                <a:gd name="connsiteX291" fmla="*/ 511968 w 759618"/>
                <a:gd name="connsiteY291" fmla="*/ 557213 h 1012031"/>
                <a:gd name="connsiteX292" fmla="*/ 526256 w 759618"/>
                <a:gd name="connsiteY292" fmla="*/ 528638 h 1012031"/>
                <a:gd name="connsiteX293" fmla="*/ 502443 w 759618"/>
                <a:gd name="connsiteY293" fmla="*/ 531019 h 1012031"/>
                <a:gd name="connsiteX294" fmla="*/ 488156 w 759618"/>
                <a:gd name="connsiteY294" fmla="*/ 519113 h 1012031"/>
                <a:gd name="connsiteX295" fmla="*/ 542924 w 759618"/>
                <a:gd name="connsiteY295" fmla="*/ 511969 h 101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</a:cxnLst>
              <a:rect l="l" t="t" r="r" b="b"/>
              <a:pathLst>
                <a:path w="759618" h="1012031">
                  <a:moveTo>
                    <a:pt x="542924" y="511969"/>
                  </a:moveTo>
                  <a:lnTo>
                    <a:pt x="526257" y="447676"/>
                  </a:lnTo>
                  <a:cubicBezTo>
                    <a:pt x="556419" y="426244"/>
                    <a:pt x="529431" y="502444"/>
                    <a:pt x="557212" y="473868"/>
                  </a:cubicBezTo>
                  <a:lnTo>
                    <a:pt x="592931" y="428625"/>
                  </a:lnTo>
                  <a:lnTo>
                    <a:pt x="626268" y="357188"/>
                  </a:lnTo>
                  <a:lnTo>
                    <a:pt x="678656" y="307181"/>
                  </a:lnTo>
                  <a:lnTo>
                    <a:pt x="600075" y="335756"/>
                  </a:lnTo>
                  <a:lnTo>
                    <a:pt x="554831" y="373856"/>
                  </a:lnTo>
                  <a:lnTo>
                    <a:pt x="535781" y="369094"/>
                  </a:lnTo>
                  <a:lnTo>
                    <a:pt x="597693" y="309563"/>
                  </a:lnTo>
                  <a:lnTo>
                    <a:pt x="573881" y="288131"/>
                  </a:lnTo>
                  <a:lnTo>
                    <a:pt x="561975" y="261938"/>
                  </a:lnTo>
                  <a:lnTo>
                    <a:pt x="614362" y="292894"/>
                  </a:lnTo>
                  <a:lnTo>
                    <a:pt x="650081" y="290513"/>
                  </a:lnTo>
                  <a:lnTo>
                    <a:pt x="650081" y="273844"/>
                  </a:lnTo>
                  <a:lnTo>
                    <a:pt x="678656" y="271463"/>
                  </a:lnTo>
                  <a:lnTo>
                    <a:pt x="721518" y="221456"/>
                  </a:lnTo>
                  <a:lnTo>
                    <a:pt x="759618" y="150019"/>
                  </a:lnTo>
                  <a:lnTo>
                    <a:pt x="738187" y="126206"/>
                  </a:lnTo>
                  <a:lnTo>
                    <a:pt x="704850" y="121444"/>
                  </a:lnTo>
                  <a:lnTo>
                    <a:pt x="692943" y="73819"/>
                  </a:lnTo>
                  <a:lnTo>
                    <a:pt x="669131" y="59531"/>
                  </a:lnTo>
                  <a:lnTo>
                    <a:pt x="628650" y="78581"/>
                  </a:lnTo>
                  <a:lnTo>
                    <a:pt x="614362" y="102394"/>
                  </a:lnTo>
                  <a:lnTo>
                    <a:pt x="588168" y="114300"/>
                  </a:lnTo>
                  <a:lnTo>
                    <a:pt x="576262" y="107156"/>
                  </a:lnTo>
                  <a:lnTo>
                    <a:pt x="592931" y="85725"/>
                  </a:lnTo>
                  <a:lnTo>
                    <a:pt x="621506" y="50006"/>
                  </a:lnTo>
                  <a:lnTo>
                    <a:pt x="585787" y="33338"/>
                  </a:lnTo>
                  <a:lnTo>
                    <a:pt x="557212" y="38100"/>
                  </a:lnTo>
                  <a:lnTo>
                    <a:pt x="540543" y="16669"/>
                  </a:lnTo>
                  <a:lnTo>
                    <a:pt x="526256" y="16669"/>
                  </a:lnTo>
                  <a:lnTo>
                    <a:pt x="519112" y="28575"/>
                  </a:lnTo>
                  <a:lnTo>
                    <a:pt x="533400" y="61913"/>
                  </a:lnTo>
                  <a:lnTo>
                    <a:pt x="519112" y="69056"/>
                  </a:lnTo>
                  <a:lnTo>
                    <a:pt x="500062" y="33338"/>
                  </a:lnTo>
                  <a:lnTo>
                    <a:pt x="495300" y="0"/>
                  </a:lnTo>
                  <a:lnTo>
                    <a:pt x="466725" y="40481"/>
                  </a:lnTo>
                  <a:lnTo>
                    <a:pt x="466725" y="61913"/>
                  </a:lnTo>
                  <a:lnTo>
                    <a:pt x="490537" y="80963"/>
                  </a:lnTo>
                  <a:lnTo>
                    <a:pt x="490537" y="100013"/>
                  </a:lnTo>
                  <a:lnTo>
                    <a:pt x="464343" y="95250"/>
                  </a:lnTo>
                  <a:lnTo>
                    <a:pt x="442912" y="64294"/>
                  </a:lnTo>
                  <a:lnTo>
                    <a:pt x="433387" y="40481"/>
                  </a:lnTo>
                  <a:lnTo>
                    <a:pt x="414337" y="33338"/>
                  </a:lnTo>
                  <a:lnTo>
                    <a:pt x="383381" y="38100"/>
                  </a:lnTo>
                  <a:lnTo>
                    <a:pt x="376237" y="42863"/>
                  </a:lnTo>
                  <a:lnTo>
                    <a:pt x="378618" y="69056"/>
                  </a:lnTo>
                  <a:lnTo>
                    <a:pt x="402431" y="88106"/>
                  </a:lnTo>
                  <a:lnTo>
                    <a:pt x="416718" y="109538"/>
                  </a:lnTo>
                  <a:lnTo>
                    <a:pt x="402431" y="145256"/>
                  </a:lnTo>
                  <a:lnTo>
                    <a:pt x="385762" y="135731"/>
                  </a:lnTo>
                  <a:lnTo>
                    <a:pt x="381000" y="104775"/>
                  </a:lnTo>
                  <a:lnTo>
                    <a:pt x="352425" y="59531"/>
                  </a:lnTo>
                  <a:lnTo>
                    <a:pt x="333375" y="69056"/>
                  </a:lnTo>
                  <a:lnTo>
                    <a:pt x="323850" y="50006"/>
                  </a:lnTo>
                  <a:lnTo>
                    <a:pt x="302418" y="42863"/>
                  </a:lnTo>
                  <a:lnTo>
                    <a:pt x="290512" y="64294"/>
                  </a:lnTo>
                  <a:lnTo>
                    <a:pt x="304800" y="76200"/>
                  </a:lnTo>
                  <a:lnTo>
                    <a:pt x="323850" y="92869"/>
                  </a:lnTo>
                  <a:lnTo>
                    <a:pt x="335756" y="100013"/>
                  </a:lnTo>
                  <a:lnTo>
                    <a:pt x="328612" y="111919"/>
                  </a:lnTo>
                  <a:lnTo>
                    <a:pt x="307181" y="100013"/>
                  </a:lnTo>
                  <a:lnTo>
                    <a:pt x="264318" y="76200"/>
                  </a:lnTo>
                  <a:lnTo>
                    <a:pt x="280987" y="114300"/>
                  </a:lnTo>
                  <a:lnTo>
                    <a:pt x="292893" y="130969"/>
                  </a:lnTo>
                  <a:lnTo>
                    <a:pt x="280987" y="140494"/>
                  </a:lnTo>
                  <a:lnTo>
                    <a:pt x="247650" y="100013"/>
                  </a:lnTo>
                  <a:lnTo>
                    <a:pt x="261937" y="142875"/>
                  </a:lnTo>
                  <a:lnTo>
                    <a:pt x="242887" y="150019"/>
                  </a:lnTo>
                  <a:lnTo>
                    <a:pt x="257175" y="178594"/>
                  </a:lnTo>
                  <a:lnTo>
                    <a:pt x="278606" y="195263"/>
                  </a:lnTo>
                  <a:lnTo>
                    <a:pt x="307181" y="228600"/>
                  </a:lnTo>
                  <a:lnTo>
                    <a:pt x="316706" y="254794"/>
                  </a:lnTo>
                  <a:lnTo>
                    <a:pt x="316706" y="254794"/>
                  </a:lnTo>
                  <a:lnTo>
                    <a:pt x="285750" y="235744"/>
                  </a:lnTo>
                  <a:lnTo>
                    <a:pt x="238125" y="221456"/>
                  </a:lnTo>
                  <a:lnTo>
                    <a:pt x="223837" y="195263"/>
                  </a:lnTo>
                  <a:lnTo>
                    <a:pt x="204787" y="166688"/>
                  </a:lnTo>
                  <a:lnTo>
                    <a:pt x="166687" y="130969"/>
                  </a:lnTo>
                  <a:lnTo>
                    <a:pt x="166687" y="157163"/>
                  </a:lnTo>
                  <a:lnTo>
                    <a:pt x="173831" y="176213"/>
                  </a:lnTo>
                  <a:lnTo>
                    <a:pt x="171450" y="188119"/>
                  </a:lnTo>
                  <a:lnTo>
                    <a:pt x="152400" y="195263"/>
                  </a:lnTo>
                  <a:lnTo>
                    <a:pt x="128587" y="190500"/>
                  </a:lnTo>
                  <a:lnTo>
                    <a:pt x="178593" y="214313"/>
                  </a:lnTo>
                  <a:lnTo>
                    <a:pt x="188118" y="228600"/>
                  </a:lnTo>
                  <a:lnTo>
                    <a:pt x="185737" y="250031"/>
                  </a:lnTo>
                  <a:lnTo>
                    <a:pt x="157162" y="228600"/>
                  </a:lnTo>
                  <a:lnTo>
                    <a:pt x="121443" y="223838"/>
                  </a:lnTo>
                  <a:lnTo>
                    <a:pt x="97631" y="211931"/>
                  </a:lnTo>
                  <a:lnTo>
                    <a:pt x="73818" y="235744"/>
                  </a:lnTo>
                  <a:lnTo>
                    <a:pt x="73818" y="257175"/>
                  </a:lnTo>
                  <a:lnTo>
                    <a:pt x="52387" y="273844"/>
                  </a:lnTo>
                  <a:lnTo>
                    <a:pt x="35718" y="254794"/>
                  </a:lnTo>
                  <a:lnTo>
                    <a:pt x="19050" y="264319"/>
                  </a:lnTo>
                  <a:lnTo>
                    <a:pt x="0" y="297656"/>
                  </a:lnTo>
                  <a:lnTo>
                    <a:pt x="26193" y="283369"/>
                  </a:lnTo>
                  <a:lnTo>
                    <a:pt x="38100" y="273844"/>
                  </a:lnTo>
                  <a:lnTo>
                    <a:pt x="52387" y="288131"/>
                  </a:lnTo>
                  <a:lnTo>
                    <a:pt x="30956" y="323850"/>
                  </a:lnTo>
                  <a:lnTo>
                    <a:pt x="69056" y="300038"/>
                  </a:lnTo>
                  <a:lnTo>
                    <a:pt x="92868" y="295275"/>
                  </a:lnTo>
                  <a:lnTo>
                    <a:pt x="114300" y="300038"/>
                  </a:lnTo>
                  <a:lnTo>
                    <a:pt x="111918" y="316706"/>
                  </a:lnTo>
                  <a:lnTo>
                    <a:pt x="92868" y="311944"/>
                  </a:lnTo>
                  <a:lnTo>
                    <a:pt x="66675" y="338138"/>
                  </a:lnTo>
                  <a:lnTo>
                    <a:pt x="69056" y="359569"/>
                  </a:lnTo>
                  <a:lnTo>
                    <a:pt x="50006" y="369094"/>
                  </a:lnTo>
                  <a:lnTo>
                    <a:pt x="59531" y="385763"/>
                  </a:lnTo>
                  <a:lnTo>
                    <a:pt x="88106" y="376238"/>
                  </a:lnTo>
                  <a:lnTo>
                    <a:pt x="116681" y="378619"/>
                  </a:lnTo>
                  <a:lnTo>
                    <a:pt x="138112" y="354806"/>
                  </a:lnTo>
                  <a:lnTo>
                    <a:pt x="164306" y="335756"/>
                  </a:lnTo>
                  <a:lnTo>
                    <a:pt x="178593" y="340519"/>
                  </a:lnTo>
                  <a:lnTo>
                    <a:pt x="157162" y="366713"/>
                  </a:lnTo>
                  <a:lnTo>
                    <a:pt x="114300" y="407194"/>
                  </a:lnTo>
                  <a:lnTo>
                    <a:pt x="73818" y="411956"/>
                  </a:lnTo>
                  <a:lnTo>
                    <a:pt x="102393" y="447675"/>
                  </a:lnTo>
                  <a:lnTo>
                    <a:pt x="133350" y="419100"/>
                  </a:lnTo>
                  <a:lnTo>
                    <a:pt x="169068" y="378619"/>
                  </a:lnTo>
                  <a:lnTo>
                    <a:pt x="209550" y="371475"/>
                  </a:lnTo>
                  <a:lnTo>
                    <a:pt x="223837" y="373856"/>
                  </a:lnTo>
                  <a:lnTo>
                    <a:pt x="183356" y="402431"/>
                  </a:lnTo>
                  <a:lnTo>
                    <a:pt x="154781" y="428625"/>
                  </a:lnTo>
                  <a:lnTo>
                    <a:pt x="147637" y="454819"/>
                  </a:lnTo>
                  <a:lnTo>
                    <a:pt x="169068" y="466725"/>
                  </a:lnTo>
                  <a:lnTo>
                    <a:pt x="197643" y="454819"/>
                  </a:lnTo>
                  <a:lnTo>
                    <a:pt x="197643" y="423863"/>
                  </a:lnTo>
                  <a:lnTo>
                    <a:pt x="211931" y="411956"/>
                  </a:lnTo>
                  <a:lnTo>
                    <a:pt x="228600" y="428625"/>
                  </a:lnTo>
                  <a:lnTo>
                    <a:pt x="254793" y="423863"/>
                  </a:lnTo>
                  <a:lnTo>
                    <a:pt x="240506" y="445294"/>
                  </a:lnTo>
                  <a:lnTo>
                    <a:pt x="216693" y="452438"/>
                  </a:lnTo>
                  <a:lnTo>
                    <a:pt x="242887" y="464344"/>
                  </a:lnTo>
                  <a:lnTo>
                    <a:pt x="304800" y="411956"/>
                  </a:lnTo>
                  <a:lnTo>
                    <a:pt x="307181" y="364331"/>
                  </a:lnTo>
                  <a:lnTo>
                    <a:pt x="378618" y="311944"/>
                  </a:lnTo>
                  <a:lnTo>
                    <a:pt x="385762" y="335756"/>
                  </a:lnTo>
                  <a:lnTo>
                    <a:pt x="357187" y="359569"/>
                  </a:lnTo>
                  <a:lnTo>
                    <a:pt x="333375" y="400050"/>
                  </a:lnTo>
                  <a:lnTo>
                    <a:pt x="333375" y="414338"/>
                  </a:lnTo>
                  <a:lnTo>
                    <a:pt x="359568" y="407194"/>
                  </a:lnTo>
                  <a:lnTo>
                    <a:pt x="381000" y="414338"/>
                  </a:lnTo>
                  <a:lnTo>
                    <a:pt x="369093" y="419100"/>
                  </a:lnTo>
                  <a:lnTo>
                    <a:pt x="338137" y="428625"/>
                  </a:lnTo>
                  <a:lnTo>
                    <a:pt x="300037" y="454819"/>
                  </a:lnTo>
                  <a:lnTo>
                    <a:pt x="345281" y="461963"/>
                  </a:lnTo>
                  <a:lnTo>
                    <a:pt x="342900" y="476250"/>
                  </a:lnTo>
                  <a:lnTo>
                    <a:pt x="292893" y="478631"/>
                  </a:lnTo>
                  <a:lnTo>
                    <a:pt x="261937" y="495300"/>
                  </a:lnTo>
                  <a:lnTo>
                    <a:pt x="228600" y="504825"/>
                  </a:lnTo>
                  <a:lnTo>
                    <a:pt x="240506" y="540544"/>
                  </a:lnTo>
                  <a:lnTo>
                    <a:pt x="257175" y="557213"/>
                  </a:lnTo>
                  <a:lnTo>
                    <a:pt x="259556" y="578644"/>
                  </a:lnTo>
                  <a:lnTo>
                    <a:pt x="290512" y="585788"/>
                  </a:lnTo>
                  <a:lnTo>
                    <a:pt x="292893" y="597694"/>
                  </a:lnTo>
                  <a:lnTo>
                    <a:pt x="273843" y="616744"/>
                  </a:lnTo>
                  <a:lnTo>
                    <a:pt x="252412" y="609600"/>
                  </a:lnTo>
                  <a:lnTo>
                    <a:pt x="235743" y="607219"/>
                  </a:lnTo>
                  <a:lnTo>
                    <a:pt x="228600" y="581025"/>
                  </a:lnTo>
                  <a:lnTo>
                    <a:pt x="204787" y="547688"/>
                  </a:lnTo>
                  <a:lnTo>
                    <a:pt x="192881" y="519113"/>
                  </a:lnTo>
                  <a:lnTo>
                    <a:pt x="166687" y="507206"/>
                  </a:lnTo>
                  <a:lnTo>
                    <a:pt x="130968" y="495300"/>
                  </a:lnTo>
                  <a:lnTo>
                    <a:pt x="135731" y="535781"/>
                  </a:lnTo>
                  <a:lnTo>
                    <a:pt x="171450" y="554831"/>
                  </a:lnTo>
                  <a:lnTo>
                    <a:pt x="164306" y="569119"/>
                  </a:lnTo>
                  <a:lnTo>
                    <a:pt x="138112" y="554831"/>
                  </a:lnTo>
                  <a:lnTo>
                    <a:pt x="173831" y="595313"/>
                  </a:lnTo>
                  <a:lnTo>
                    <a:pt x="188118" y="621506"/>
                  </a:lnTo>
                  <a:lnTo>
                    <a:pt x="197643" y="642938"/>
                  </a:lnTo>
                  <a:lnTo>
                    <a:pt x="207168" y="659606"/>
                  </a:lnTo>
                  <a:lnTo>
                    <a:pt x="207168" y="659606"/>
                  </a:lnTo>
                  <a:lnTo>
                    <a:pt x="176212" y="664369"/>
                  </a:lnTo>
                  <a:lnTo>
                    <a:pt x="200025" y="681038"/>
                  </a:lnTo>
                  <a:lnTo>
                    <a:pt x="228600" y="690563"/>
                  </a:lnTo>
                  <a:lnTo>
                    <a:pt x="242887" y="685800"/>
                  </a:lnTo>
                  <a:lnTo>
                    <a:pt x="252412" y="678656"/>
                  </a:lnTo>
                  <a:lnTo>
                    <a:pt x="264318" y="704850"/>
                  </a:lnTo>
                  <a:lnTo>
                    <a:pt x="252412" y="719138"/>
                  </a:lnTo>
                  <a:lnTo>
                    <a:pt x="235743" y="745331"/>
                  </a:lnTo>
                  <a:lnTo>
                    <a:pt x="209550" y="716756"/>
                  </a:lnTo>
                  <a:lnTo>
                    <a:pt x="185737" y="704850"/>
                  </a:lnTo>
                  <a:lnTo>
                    <a:pt x="147637" y="707231"/>
                  </a:lnTo>
                  <a:lnTo>
                    <a:pt x="135731" y="716756"/>
                  </a:lnTo>
                  <a:lnTo>
                    <a:pt x="123825" y="735806"/>
                  </a:lnTo>
                  <a:lnTo>
                    <a:pt x="114300" y="766763"/>
                  </a:lnTo>
                  <a:lnTo>
                    <a:pt x="126206" y="781050"/>
                  </a:lnTo>
                  <a:lnTo>
                    <a:pt x="145256" y="757238"/>
                  </a:lnTo>
                  <a:lnTo>
                    <a:pt x="145256" y="757238"/>
                  </a:lnTo>
                  <a:lnTo>
                    <a:pt x="152400" y="778669"/>
                  </a:lnTo>
                  <a:lnTo>
                    <a:pt x="142875" y="790575"/>
                  </a:lnTo>
                  <a:lnTo>
                    <a:pt x="173831" y="776288"/>
                  </a:lnTo>
                  <a:lnTo>
                    <a:pt x="169068" y="752475"/>
                  </a:lnTo>
                  <a:lnTo>
                    <a:pt x="183356" y="747713"/>
                  </a:lnTo>
                  <a:lnTo>
                    <a:pt x="183356" y="766763"/>
                  </a:lnTo>
                  <a:lnTo>
                    <a:pt x="188118" y="778669"/>
                  </a:lnTo>
                  <a:lnTo>
                    <a:pt x="200025" y="783431"/>
                  </a:lnTo>
                  <a:lnTo>
                    <a:pt x="197643" y="797719"/>
                  </a:lnTo>
                  <a:lnTo>
                    <a:pt x="178593" y="802481"/>
                  </a:lnTo>
                  <a:lnTo>
                    <a:pt x="166687" y="812006"/>
                  </a:lnTo>
                  <a:lnTo>
                    <a:pt x="180975" y="816769"/>
                  </a:lnTo>
                  <a:lnTo>
                    <a:pt x="173831" y="838200"/>
                  </a:lnTo>
                  <a:lnTo>
                    <a:pt x="190500" y="842963"/>
                  </a:lnTo>
                  <a:lnTo>
                    <a:pt x="190500" y="842963"/>
                  </a:lnTo>
                  <a:lnTo>
                    <a:pt x="226218" y="814388"/>
                  </a:lnTo>
                  <a:lnTo>
                    <a:pt x="230981" y="795338"/>
                  </a:lnTo>
                  <a:lnTo>
                    <a:pt x="247650" y="804863"/>
                  </a:lnTo>
                  <a:lnTo>
                    <a:pt x="228600" y="842963"/>
                  </a:lnTo>
                  <a:lnTo>
                    <a:pt x="204787" y="869156"/>
                  </a:lnTo>
                  <a:lnTo>
                    <a:pt x="192881" y="873919"/>
                  </a:lnTo>
                  <a:lnTo>
                    <a:pt x="171450" y="888206"/>
                  </a:lnTo>
                  <a:lnTo>
                    <a:pt x="142875" y="859631"/>
                  </a:lnTo>
                  <a:lnTo>
                    <a:pt x="126206" y="831056"/>
                  </a:lnTo>
                  <a:lnTo>
                    <a:pt x="104775" y="828675"/>
                  </a:lnTo>
                  <a:lnTo>
                    <a:pt x="85725" y="845344"/>
                  </a:lnTo>
                  <a:lnTo>
                    <a:pt x="100012" y="864394"/>
                  </a:lnTo>
                  <a:lnTo>
                    <a:pt x="111918" y="878681"/>
                  </a:lnTo>
                  <a:lnTo>
                    <a:pt x="123825" y="888206"/>
                  </a:lnTo>
                  <a:lnTo>
                    <a:pt x="133350" y="909638"/>
                  </a:lnTo>
                  <a:lnTo>
                    <a:pt x="109537" y="921544"/>
                  </a:lnTo>
                  <a:lnTo>
                    <a:pt x="90487" y="909638"/>
                  </a:lnTo>
                  <a:lnTo>
                    <a:pt x="71437" y="935831"/>
                  </a:lnTo>
                  <a:lnTo>
                    <a:pt x="61912" y="971550"/>
                  </a:lnTo>
                  <a:lnTo>
                    <a:pt x="80962" y="954881"/>
                  </a:lnTo>
                  <a:lnTo>
                    <a:pt x="95250" y="978694"/>
                  </a:lnTo>
                  <a:lnTo>
                    <a:pt x="109537" y="964406"/>
                  </a:lnTo>
                  <a:lnTo>
                    <a:pt x="119062" y="981075"/>
                  </a:lnTo>
                  <a:lnTo>
                    <a:pt x="126206" y="959644"/>
                  </a:lnTo>
                  <a:lnTo>
                    <a:pt x="145256" y="985838"/>
                  </a:lnTo>
                  <a:lnTo>
                    <a:pt x="169068" y="1004888"/>
                  </a:lnTo>
                  <a:lnTo>
                    <a:pt x="161925" y="978694"/>
                  </a:lnTo>
                  <a:lnTo>
                    <a:pt x="171450" y="964406"/>
                  </a:lnTo>
                  <a:lnTo>
                    <a:pt x="180975" y="973931"/>
                  </a:lnTo>
                  <a:lnTo>
                    <a:pt x="188118" y="962025"/>
                  </a:lnTo>
                  <a:lnTo>
                    <a:pt x="197643" y="981075"/>
                  </a:lnTo>
                  <a:lnTo>
                    <a:pt x="209550" y="962025"/>
                  </a:lnTo>
                  <a:lnTo>
                    <a:pt x="228600" y="983456"/>
                  </a:lnTo>
                  <a:lnTo>
                    <a:pt x="235743" y="959644"/>
                  </a:lnTo>
                  <a:lnTo>
                    <a:pt x="254793" y="973931"/>
                  </a:lnTo>
                  <a:lnTo>
                    <a:pt x="271462" y="983456"/>
                  </a:lnTo>
                  <a:lnTo>
                    <a:pt x="278606" y="1000125"/>
                  </a:lnTo>
                  <a:lnTo>
                    <a:pt x="269081" y="1012031"/>
                  </a:lnTo>
                  <a:lnTo>
                    <a:pt x="316706" y="976313"/>
                  </a:lnTo>
                  <a:lnTo>
                    <a:pt x="335756" y="969169"/>
                  </a:lnTo>
                  <a:lnTo>
                    <a:pt x="342900" y="950119"/>
                  </a:lnTo>
                  <a:lnTo>
                    <a:pt x="342900" y="926306"/>
                  </a:lnTo>
                  <a:lnTo>
                    <a:pt x="321468" y="935831"/>
                  </a:lnTo>
                  <a:lnTo>
                    <a:pt x="307181" y="926306"/>
                  </a:lnTo>
                  <a:lnTo>
                    <a:pt x="307181" y="900113"/>
                  </a:lnTo>
                  <a:lnTo>
                    <a:pt x="290512" y="916781"/>
                  </a:lnTo>
                  <a:lnTo>
                    <a:pt x="269081" y="892969"/>
                  </a:lnTo>
                  <a:lnTo>
                    <a:pt x="252412" y="919163"/>
                  </a:lnTo>
                  <a:lnTo>
                    <a:pt x="233362" y="902494"/>
                  </a:lnTo>
                  <a:lnTo>
                    <a:pt x="254793" y="888206"/>
                  </a:lnTo>
                  <a:lnTo>
                    <a:pt x="254793" y="862013"/>
                  </a:lnTo>
                  <a:lnTo>
                    <a:pt x="278606" y="876300"/>
                  </a:lnTo>
                  <a:lnTo>
                    <a:pt x="307181" y="885825"/>
                  </a:lnTo>
                  <a:lnTo>
                    <a:pt x="323850" y="878681"/>
                  </a:lnTo>
                  <a:lnTo>
                    <a:pt x="338137" y="869156"/>
                  </a:lnTo>
                  <a:lnTo>
                    <a:pt x="338137" y="847725"/>
                  </a:lnTo>
                  <a:lnTo>
                    <a:pt x="335756" y="823913"/>
                  </a:lnTo>
                  <a:lnTo>
                    <a:pt x="338137" y="797719"/>
                  </a:lnTo>
                  <a:lnTo>
                    <a:pt x="364331" y="814388"/>
                  </a:lnTo>
                  <a:lnTo>
                    <a:pt x="392906" y="795338"/>
                  </a:lnTo>
                  <a:lnTo>
                    <a:pt x="373856" y="783431"/>
                  </a:lnTo>
                  <a:lnTo>
                    <a:pt x="395287" y="776288"/>
                  </a:lnTo>
                  <a:lnTo>
                    <a:pt x="407193" y="762000"/>
                  </a:lnTo>
                  <a:lnTo>
                    <a:pt x="388143" y="752475"/>
                  </a:lnTo>
                  <a:lnTo>
                    <a:pt x="404812" y="738188"/>
                  </a:lnTo>
                  <a:lnTo>
                    <a:pt x="423862" y="707231"/>
                  </a:lnTo>
                  <a:lnTo>
                    <a:pt x="383381" y="697706"/>
                  </a:lnTo>
                  <a:lnTo>
                    <a:pt x="381000" y="690563"/>
                  </a:lnTo>
                  <a:lnTo>
                    <a:pt x="350043" y="690563"/>
                  </a:lnTo>
                  <a:lnTo>
                    <a:pt x="335756" y="676275"/>
                  </a:lnTo>
                  <a:lnTo>
                    <a:pt x="354806" y="654844"/>
                  </a:lnTo>
                  <a:lnTo>
                    <a:pt x="390525" y="657225"/>
                  </a:lnTo>
                  <a:lnTo>
                    <a:pt x="416718" y="683419"/>
                  </a:lnTo>
                  <a:lnTo>
                    <a:pt x="428625" y="647700"/>
                  </a:lnTo>
                  <a:lnTo>
                    <a:pt x="397668" y="640556"/>
                  </a:lnTo>
                  <a:lnTo>
                    <a:pt x="359568" y="631031"/>
                  </a:lnTo>
                  <a:lnTo>
                    <a:pt x="371475" y="619125"/>
                  </a:lnTo>
                  <a:lnTo>
                    <a:pt x="395287" y="616744"/>
                  </a:lnTo>
                  <a:lnTo>
                    <a:pt x="416718" y="628650"/>
                  </a:lnTo>
                  <a:lnTo>
                    <a:pt x="442912" y="607219"/>
                  </a:lnTo>
                  <a:lnTo>
                    <a:pt x="452437" y="592931"/>
                  </a:lnTo>
                  <a:lnTo>
                    <a:pt x="428625" y="576263"/>
                  </a:lnTo>
                  <a:lnTo>
                    <a:pt x="440531" y="564356"/>
                  </a:lnTo>
                  <a:lnTo>
                    <a:pt x="464343" y="578644"/>
                  </a:lnTo>
                  <a:lnTo>
                    <a:pt x="497681" y="590550"/>
                  </a:lnTo>
                  <a:lnTo>
                    <a:pt x="511968" y="557213"/>
                  </a:lnTo>
                  <a:lnTo>
                    <a:pt x="526256" y="528638"/>
                  </a:lnTo>
                  <a:lnTo>
                    <a:pt x="502443" y="531019"/>
                  </a:lnTo>
                  <a:lnTo>
                    <a:pt x="488156" y="519113"/>
                  </a:lnTo>
                  <a:lnTo>
                    <a:pt x="542924" y="51196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89" name="Freeform: Shape 96"/>
            <p:cNvSpPr/>
            <p:nvPr/>
          </p:nvSpPr>
          <p:spPr bwMode="auto">
            <a:xfrm>
              <a:off x="1902619" y="1028700"/>
              <a:ext cx="259556" cy="481013"/>
            </a:xfrm>
            <a:custGeom>
              <a:avLst/>
              <a:gdLst>
                <a:gd name="connsiteX0" fmla="*/ 138112 w 259556"/>
                <a:gd name="connsiteY0" fmla="*/ 145256 h 481013"/>
                <a:gd name="connsiteX1" fmla="*/ 97631 w 259556"/>
                <a:gd name="connsiteY1" fmla="*/ 35719 h 481013"/>
                <a:gd name="connsiteX2" fmla="*/ 61912 w 259556"/>
                <a:gd name="connsiteY2" fmla="*/ 0 h 481013"/>
                <a:gd name="connsiteX3" fmla="*/ 38100 w 259556"/>
                <a:gd name="connsiteY3" fmla="*/ 19050 h 481013"/>
                <a:gd name="connsiteX4" fmla="*/ 78581 w 259556"/>
                <a:gd name="connsiteY4" fmla="*/ 42863 h 481013"/>
                <a:gd name="connsiteX5" fmla="*/ 73819 w 259556"/>
                <a:gd name="connsiteY5" fmla="*/ 64294 h 481013"/>
                <a:gd name="connsiteX6" fmla="*/ 54769 w 259556"/>
                <a:gd name="connsiteY6" fmla="*/ 57150 h 481013"/>
                <a:gd name="connsiteX7" fmla="*/ 45244 w 259556"/>
                <a:gd name="connsiteY7" fmla="*/ 73819 h 481013"/>
                <a:gd name="connsiteX8" fmla="*/ 21431 w 259556"/>
                <a:gd name="connsiteY8" fmla="*/ 61913 h 481013"/>
                <a:gd name="connsiteX9" fmla="*/ 19050 w 259556"/>
                <a:gd name="connsiteY9" fmla="*/ 85725 h 481013"/>
                <a:gd name="connsiteX10" fmla="*/ 50006 w 259556"/>
                <a:gd name="connsiteY10" fmla="*/ 114300 h 481013"/>
                <a:gd name="connsiteX11" fmla="*/ 64294 w 259556"/>
                <a:gd name="connsiteY11" fmla="*/ 138113 h 481013"/>
                <a:gd name="connsiteX12" fmla="*/ 54769 w 259556"/>
                <a:gd name="connsiteY12" fmla="*/ 147638 h 481013"/>
                <a:gd name="connsiteX13" fmla="*/ 21431 w 259556"/>
                <a:gd name="connsiteY13" fmla="*/ 140494 h 481013"/>
                <a:gd name="connsiteX14" fmla="*/ 0 w 259556"/>
                <a:gd name="connsiteY14" fmla="*/ 152400 h 481013"/>
                <a:gd name="connsiteX15" fmla="*/ 16669 w 259556"/>
                <a:gd name="connsiteY15" fmla="*/ 185738 h 481013"/>
                <a:gd name="connsiteX16" fmla="*/ 52387 w 259556"/>
                <a:gd name="connsiteY16" fmla="*/ 190500 h 481013"/>
                <a:gd name="connsiteX17" fmla="*/ 45244 w 259556"/>
                <a:gd name="connsiteY17" fmla="*/ 211931 h 481013"/>
                <a:gd name="connsiteX18" fmla="*/ 21431 w 259556"/>
                <a:gd name="connsiteY18" fmla="*/ 233363 h 481013"/>
                <a:gd name="connsiteX19" fmla="*/ 21431 w 259556"/>
                <a:gd name="connsiteY19" fmla="*/ 233363 h 481013"/>
                <a:gd name="connsiteX20" fmla="*/ 38100 w 259556"/>
                <a:gd name="connsiteY20" fmla="*/ 269081 h 481013"/>
                <a:gd name="connsiteX21" fmla="*/ 66675 w 259556"/>
                <a:gd name="connsiteY21" fmla="*/ 266700 h 481013"/>
                <a:gd name="connsiteX22" fmla="*/ 50006 w 259556"/>
                <a:gd name="connsiteY22" fmla="*/ 283369 h 481013"/>
                <a:gd name="connsiteX23" fmla="*/ 28575 w 259556"/>
                <a:gd name="connsiteY23" fmla="*/ 295275 h 481013"/>
                <a:gd name="connsiteX24" fmla="*/ 42862 w 259556"/>
                <a:gd name="connsiteY24" fmla="*/ 307181 h 481013"/>
                <a:gd name="connsiteX25" fmla="*/ 61912 w 259556"/>
                <a:gd name="connsiteY25" fmla="*/ 304800 h 481013"/>
                <a:gd name="connsiteX26" fmla="*/ 71437 w 259556"/>
                <a:gd name="connsiteY26" fmla="*/ 319088 h 481013"/>
                <a:gd name="connsiteX27" fmla="*/ 85725 w 259556"/>
                <a:gd name="connsiteY27" fmla="*/ 304800 h 481013"/>
                <a:gd name="connsiteX28" fmla="*/ 123825 w 259556"/>
                <a:gd name="connsiteY28" fmla="*/ 307181 h 481013"/>
                <a:gd name="connsiteX29" fmla="*/ 104775 w 259556"/>
                <a:gd name="connsiteY29" fmla="*/ 326231 h 481013"/>
                <a:gd name="connsiteX30" fmla="*/ 147637 w 259556"/>
                <a:gd name="connsiteY30" fmla="*/ 323850 h 481013"/>
                <a:gd name="connsiteX31" fmla="*/ 140494 w 259556"/>
                <a:gd name="connsiteY31" fmla="*/ 340519 h 481013"/>
                <a:gd name="connsiteX32" fmla="*/ 102394 w 259556"/>
                <a:gd name="connsiteY32" fmla="*/ 347663 h 481013"/>
                <a:gd name="connsiteX33" fmla="*/ 69056 w 259556"/>
                <a:gd name="connsiteY33" fmla="*/ 364331 h 481013"/>
                <a:gd name="connsiteX34" fmla="*/ 90487 w 259556"/>
                <a:gd name="connsiteY34" fmla="*/ 383381 h 481013"/>
                <a:gd name="connsiteX35" fmla="*/ 83344 w 259556"/>
                <a:gd name="connsiteY35" fmla="*/ 402431 h 481013"/>
                <a:gd name="connsiteX36" fmla="*/ 100012 w 259556"/>
                <a:gd name="connsiteY36" fmla="*/ 416719 h 481013"/>
                <a:gd name="connsiteX37" fmla="*/ 97631 w 259556"/>
                <a:gd name="connsiteY37" fmla="*/ 433388 h 481013"/>
                <a:gd name="connsiteX38" fmla="*/ 128587 w 259556"/>
                <a:gd name="connsiteY38" fmla="*/ 481013 h 481013"/>
                <a:gd name="connsiteX39" fmla="*/ 142875 w 259556"/>
                <a:gd name="connsiteY39" fmla="*/ 450056 h 481013"/>
                <a:gd name="connsiteX40" fmla="*/ 150019 w 259556"/>
                <a:gd name="connsiteY40" fmla="*/ 452438 h 481013"/>
                <a:gd name="connsiteX41" fmla="*/ 147637 w 259556"/>
                <a:gd name="connsiteY41" fmla="*/ 423863 h 481013"/>
                <a:gd name="connsiteX42" fmla="*/ 152400 w 259556"/>
                <a:gd name="connsiteY42" fmla="*/ 409575 h 481013"/>
                <a:gd name="connsiteX43" fmla="*/ 178594 w 259556"/>
                <a:gd name="connsiteY43" fmla="*/ 450056 h 481013"/>
                <a:gd name="connsiteX44" fmla="*/ 176212 w 259556"/>
                <a:gd name="connsiteY44" fmla="*/ 411956 h 481013"/>
                <a:gd name="connsiteX45" fmla="*/ 183356 w 259556"/>
                <a:gd name="connsiteY45" fmla="*/ 381000 h 481013"/>
                <a:gd name="connsiteX46" fmla="*/ 192881 w 259556"/>
                <a:gd name="connsiteY46" fmla="*/ 342900 h 481013"/>
                <a:gd name="connsiteX47" fmla="*/ 204787 w 259556"/>
                <a:gd name="connsiteY47" fmla="*/ 392906 h 481013"/>
                <a:gd name="connsiteX48" fmla="*/ 219075 w 259556"/>
                <a:gd name="connsiteY48" fmla="*/ 350044 h 481013"/>
                <a:gd name="connsiteX49" fmla="*/ 240506 w 259556"/>
                <a:gd name="connsiteY49" fmla="*/ 328613 h 481013"/>
                <a:gd name="connsiteX50" fmla="*/ 259556 w 259556"/>
                <a:gd name="connsiteY50" fmla="*/ 314325 h 481013"/>
                <a:gd name="connsiteX51" fmla="*/ 259556 w 259556"/>
                <a:gd name="connsiteY51" fmla="*/ 290513 h 481013"/>
                <a:gd name="connsiteX52" fmla="*/ 242887 w 259556"/>
                <a:gd name="connsiteY52" fmla="*/ 304800 h 481013"/>
                <a:gd name="connsiteX53" fmla="*/ 226219 w 259556"/>
                <a:gd name="connsiteY53" fmla="*/ 271463 h 481013"/>
                <a:gd name="connsiteX54" fmla="*/ 211931 w 259556"/>
                <a:gd name="connsiteY54" fmla="*/ 280988 h 481013"/>
                <a:gd name="connsiteX55" fmla="*/ 211931 w 259556"/>
                <a:gd name="connsiteY55" fmla="*/ 280988 h 481013"/>
                <a:gd name="connsiteX56" fmla="*/ 209550 w 259556"/>
                <a:gd name="connsiteY56" fmla="*/ 223838 h 481013"/>
                <a:gd name="connsiteX57" fmla="*/ 202406 w 259556"/>
                <a:gd name="connsiteY57" fmla="*/ 164306 h 481013"/>
                <a:gd name="connsiteX58" fmla="*/ 138112 w 259556"/>
                <a:gd name="connsiteY58" fmla="*/ 145256 h 481013"/>
                <a:gd name="connsiteX0" fmla="*/ 138112 w 259556"/>
                <a:gd name="connsiteY0" fmla="*/ 145256 h 481013"/>
                <a:gd name="connsiteX1" fmla="*/ 97631 w 259556"/>
                <a:gd name="connsiteY1" fmla="*/ 35719 h 481013"/>
                <a:gd name="connsiteX2" fmla="*/ 61912 w 259556"/>
                <a:gd name="connsiteY2" fmla="*/ 0 h 481013"/>
                <a:gd name="connsiteX3" fmla="*/ 38100 w 259556"/>
                <a:gd name="connsiteY3" fmla="*/ 19050 h 481013"/>
                <a:gd name="connsiteX4" fmla="*/ 78581 w 259556"/>
                <a:gd name="connsiteY4" fmla="*/ 42863 h 481013"/>
                <a:gd name="connsiteX5" fmla="*/ 73819 w 259556"/>
                <a:gd name="connsiteY5" fmla="*/ 64294 h 481013"/>
                <a:gd name="connsiteX6" fmla="*/ 54769 w 259556"/>
                <a:gd name="connsiteY6" fmla="*/ 57150 h 481013"/>
                <a:gd name="connsiteX7" fmla="*/ 45244 w 259556"/>
                <a:gd name="connsiteY7" fmla="*/ 73819 h 481013"/>
                <a:gd name="connsiteX8" fmla="*/ 21431 w 259556"/>
                <a:gd name="connsiteY8" fmla="*/ 61913 h 481013"/>
                <a:gd name="connsiteX9" fmla="*/ 19050 w 259556"/>
                <a:gd name="connsiteY9" fmla="*/ 85725 h 481013"/>
                <a:gd name="connsiteX10" fmla="*/ 50006 w 259556"/>
                <a:gd name="connsiteY10" fmla="*/ 114300 h 481013"/>
                <a:gd name="connsiteX11" fmla="*/ 64294 w 259556"/>
                <a:gd name="connsiteY11" fmla="*/ 138113 h 481013"/>
                <a:gd name="connsiteX12" fmla="*/ 54769 w 259556"/>
                <a:gd name="connsiteY12" fmla="*/ 147638 h 481013"/>
                <a:gd name="connsiteX13" fmla="*/ 21431 w 259556"/>
                <a:gd name="connsiteY13" fmla="*/ 140494 h 481013"/>
                <a:gd name="connsiteX14" fmla="*/ 0 w 259556"/>
                <a:gd name="connsiteY14" fmla="*/ 152400 h 481013"/>
                <a:gd name="connsiteX15" fmla="*/ 16669 w 259556"/>
                <a:gd name="connsiteY15" fmla="*/ 185738 h 481013"/>
                <a:gd name="connsiteX16" fmla="*/ 52387 w 259556"/>
                <a:gd name="connsiteY16" fmla="*/ 190500 h 481013"/>
                <a:gd name="connsiteX17" fmla="*/ 45244 w 259556"/>
                <a:gd name="connsiteY17" fmla="*/ 211931 h 481013"/>
                <a:gd name="connsiteX18" fmla="*/ 21431 w 259556"/>
                <a:gd name="connsiteY18" fmla="*/ 233363 h 481013"/>
                <a:gd name="connsiteX19" fmla="*/ 21431 w 259556"/>
                <a:gd name="connsiteY19" fmla="*/ 233363 h 481013"/>
                <a:gd name="connsiteX20" fmla="*/ 38100 w 259556"/>
                <a:gd name="connsiteY20" fmla="*/ 269081 h 481013"/>
                <a:gd name="connsiteX21" fmla="*/ 66675 w 259556"/>
                <a:gd name="connsiteY21" fmla="*/ 266700 h 481013"/>
                <a:gd name="connsiteX22" fmla="*/ 50006 w 259556"/>
                <a:gd name="connsiteY22" fmla="*/ 283369 h 481013"/>
                <a:gd name="connsiteX23" fmla="*/ 28575 w 259556"/>
                <a:gd name="connsiteY23" fmla="*/ 295275 h 481013"/>
                <a:gd name="connsiteX24" fmla="*/ 42862 w 259556"/>
                <a:gd name="connsiteY24" fmla="*/ 307181 h 481013"/>
                <a:gd name="connsiteX25" fmla="*/ 61912 w 259556"/>
                <a:gd name="connsiteY25" fmla="*/ 304800 h 481013"/>
                <a:gd name="connsiteX26" fmla="*/ 71437 w 259556"/>
                <a:gd name="connsiteY26" fmla="*/ 319088 h 481013"/>
                <a:gd name="connsiteX27" fmla="*/ 85725 w 259556"/>
                <a:gd name="connsiteY27" fmla="*/ 304800 h 481013"/>
                <a:gd name="connsiteX28" fmla="*/ 123825 w 259556"/>
                <a:gd name="connsiteY28" fmla="*/ 307181 h 481013"/>
                <a:gd name="connsiteX29" fmla="*/ 104775 w 259556"/>
                <a:gd name="connsiteY29" fmla="*/ 326231 h 481013"/>
                <a:gd name="connsiteX30" fmla="*/ 147637 w 259556"/>
                <a:gd name="connsiteY30" fmla="*/ 323850 h 481013"/>
                <a:gd name="connsiteX31" fmla="*/ 140494 w 259556"/>
                <a:gd name="connsiteY31" fmla="*/ 340519 h 481013"/>
                <a:gd name="connsiteX32" fmla="*/ 102394 w 259556"/>
                <a:gd name="connsiteY32" fmla="*/ 347663 h 481013"/>
                <a:gd name="connsiteX33" fmla="*/ 69056 w 259556"/>
                <a:gd name="connsiteY33" fmla="*/ 364331 h 481013"/>
                <a:gd name="connsiteX34" fmla="*/ 90487 w 259556"/>
                <a:gd name="connsiteY34" fmla="*/ 383381 h 481013"/>
                <a:gd name="connsiteX35" fmla="*/ 83344 w 259556"/>
                <a:gd name="connsiteY35" fmla="*/ 402431 h 481013"/>
                <a:gd name="connsiteX36" fmla="*/ 100012 w 259556"/>
                <a:gd name="connsiteY36" fmla="*/ 416719 h 481013"/>
                <a:gd name="connsiteX37" fmla="*/ 97631 w 259556"/>
                <a:gd name="connsiteY37" fmla="*/ 433388 h 481013"/>
                <a:gd name="connsiteX38" fmla="*/ 128587 w 259556"/>
                <a:gd name="connsiteY38" fmla="*/ 481013 h 481013"/>
                <a:gd name="connsiteX39" fmla="*/ 142875 w 259556"/>
                <a:gd name="connsiteY39" fmla="*/ 450056 h 481013"/>
                <a:gd name="connsiteX40" fmla="*/ 150019 w 259556"/>
                <a:gd name="connsiteY40" fmla="*/ 452438 h 481013"/>
                <a:gd name="connsiteX41" fmla="*/ 147637 w 259556"/>
                <a:gd name="connsiteY41" fmla="*/ 423863 h 481013"/>
                <a:gd name="connsiteX42" fmla="*/ 152400 w 259556"/>
                <a:gd name="connsiteY42" fmla="*/ 409575 h 481013"/>
                <a:gd name="connsiteX43" fmla="*/ 178594 w 259556"/>
                <a:gd name="connsiteY43" fmla="*/ 450056 h 481013"/>
                <a:gd name="connsiteX44" fmla="*/ 176212 w 259556"/>
                <a:gd name="connsiteY44" fmla="*/ 411956 h 481013"/>
                <a:gd name="connsiteX45" fmla="*/ 183356 w 259556"/>
                <a:gd name="connsiteY45" fmla="*/ 381000 h 481013"/>
                <a:gd name="connsiteX46" fmla="*/ 192881 w 259556"/>
                <a:gd name="connsiteY46" fmla="*/ 342900 h 481013"/>
                <a:gd name="connsiteX47" fmla="*/ 204787 w 259556"/>
                <a:gd name="connsiteY47" fmla="*/ 392906 h 481013"/>
                <a:gd name="connsiteX48" fmla="*/ 219075 w 259556"/>
                <a:gd name="connsiteY48" fmla="*/ 350044 h 481013"/>
                <a:gd name="connsiteX49" fmla="*/ 240506 w 259556"/>
                <a:gd name="connsiteY49" fmla="*/ 328613 h 481013"/>
                <a:gd name="connsiteX50" fmla="*/ 259556 w 259556"/>
                <a:gd name="connsiteY50" fmla="*/ 314325 h 481013"/>
                <a:gd name="connsiteX51" fmla="*/ 259556 w 259556"/>
                <a:gd name="connsiteY51" fmla="*/ 290513 h 481013"/>
                <a:gd name="connsiteX52" fmla="*/ 242887 w 259556"/>
                <a:gd name="connsiteY52" fmla="*/ 304800 h 481013"/>
                <a:gd name="connsiteX53" fmla="*/ 226219 w 259556"/>
                <a:gd name="connsiteY53" fmla="*/ 271463 h 481013"/>
                <a:gd name="connsiteX54" fmla="*/ 211931 w 259556"/>
                <a:gd name="connsiteY54" fmla="*/ 280988 h 481013"/>
                <a:gd name="connsiteX55" fmla="*/ 211931 w 259556"/>
                <a:gd name="connsiteY55" fmla="*/ 280988 h 481013"/>
                <a:gd name="connsiteX56" fmla="*/ 209550 w 259556"/>
                <a:gd name="connsiteY56" fmla="*/ 223838 h 481013"/>
                <a:gd name="connsiteX57" fmla="*/ 202406 w 259556"/>
                <a:gd name="connsiteY57" fmla="*/ 164306 h 481013"/>
                <a:gd name="connsiteX58" fmla="*/ 169069 w 259556"/>
                <a:gd name="connsiteY58" fmla="*/ 152400 h 481013"/>
                <a:gd name="connsiteX59" fmla="*/ 138112 w 259556"/>
                <a:gd name="connsiteY59" fmla="*/ 145256 h 481013"/>
                <a:gd name="connsiteX0" fmla="*/ 138112 w 259556"/>
                <a:gd name="connsiteY0" fmla="*/ 145256 h 481013"/>
                <a:gd name="connsiteX1" fmla="*/ 97631 w 259556"/>
                <a:gd name="connsiteY1" fmla="*/ 35719 h 481013"/>
                <a:gd name="connsiteX2" fmla="*/ 61912 w 259556"/>
                <a:gd name="connsiteY2" fmla="*/ 0 h 481013"/>
                <a:gd name="connsiteX3" fmla="*/ 38100 w 259556"/>
                <a:gd name="connsiteY3" fmla="*/ 19050 h 481013"/>
                <a:gd name="connsiteX4" fmla="*/ 78581 w 259556"/>
                <a:gd name="connsiteY4" fmla="*/ 42863 h 481013"/>
                <a:gd name="connsiteX5" fmla="*/ 73819 w 259556"/>
                <a:gd name="connsiteY5" fmla="*/ 64294 h 481013"/>
                <a:gd name="connsiteX6" fmla="*/ 54769 w 259556"/>
                <a:gd name="connsiteY6" fmla="*/ 57150 h 481013"/>
                <a:gd name="connsiteX7" fmla="*/ 45244 w 259556"/>
                <a:gd name="connsiteY7" fmla="*/ 73819 h 481013"/>
                <a:gd name="connsiteX8" fmla="*/ 21431 w 259556"/>
                <a:gd name="connsiteY8" fmla="*/ 61913 h 481013"/>
                <a:gd name="connsiteX9" fmla="*/ 19050 w 259556"/>
                <a:gd name="connsiteY9" fmla="*/ 85725 h 481013"/>
                <a:gd name="connsiteX10" fmla="*/ 50006 w 259556"/>
                <a:gd name="connsiteY10" fmla="*/ 114300 h 481013"/>
                <a:gd name="connsiteX11" fmla="*/ 64294 w 259556"/>
                <a:gd name="connsiteY11" fmla="*/ 138113 h 481013"/>
                <a:gd name="connsiteX12" fmla="*/ 54769 w 259556"/>
                <a:gd name="connsiteY12" fmla="*/ 147638 h 481013"/>
                <a:gd name="connsiteX13" fmla="*/ 21431 w 259556"/>
                <a:gd name="connsiteY13" fmla="*/ 140494 h 481013"/>
                <a:gd name="connsiteX14" fmla="*/ 0 w 259556"/>
                <a:gd name="connsiteY14" fmla="*/ 152400 h 481013"/>
                <a:gd name="connsiteX15" fmla="*/ 16669 w 259556"/>
                <a:gd name="connsiteY15" fmla="*/ 185738 h 481013"/>
                <a:gd name="connsiteX16" fmla="*/ 52387 w 259556"/>
                <a:gd name="connsiteY16" fmla="*/ 190500 h 481013"/>
                <a:gd name="connsiteX17" fmla="*/ 45244 w 259556"/>
                <a:gd name="connsiteY17" fmla="*/ 211931 h 481013"/>
                <a:gd name="connsiteX18" fmla="*/ 21431 w 259556"/>
                <a:gd name="connsiteY18" fmla="*/ 233363 h 481013"/>
                <a:gd name="connsiteX19" fmla="*/ 21431 w 259556"/>
                <a:gd name="connsiteY19" fmla="*/ 233363 h 481013"/>
                <a:gd name="connsiteX20" fmla="*/ 38100 w 259556"/>
                <a:gd name="connsiteY20" fmla="*/ 269081 h 481013"/>
                <a:gd name="connsiteX21" fmla="*/ 66675 w 259556"/>
                <a:gd name="connsiteY21" fmla="*/ 266700 h 481013"/>
                <a:gd name="connsiteX22" fmla="*/ 50006 w 259556"/>
                <a:gd name="connsiteY22" fmla="*/ 283369 h 481013"/>
                <a:gd name="connsiteX23" fmla="*/ 28575 w 259556"/>
                <a:gd name="connsiteY23" fmla="*/ 295275 h 481013"/>
                <a:gd name="connsiteX24" fmla="*/ 42862 w 259556"/>
                <a:gd name="connsiteY24" fmla="*/ 307181 h 481013"/>
                <a:gd name="connsiteX25" fmla="*/ 61912 w 259556"/>
                <a:gd name="connsiteY25" fmla="*/ 304800 h 481013"/>
                <a:gd name="connsiteX26" fmla="*/ 71437 w 259556"/>
                <a:gd name="connsiteY26" fmla="*/ 319088 h 481013"/>
                <a:gd name="connsiteX27" fmla="*/ 85725 w 259556"/>
                <a:gd name="connsiteY27" fmla="*/ 304800 h 481013"/>
                <a:gd name="connsiteX28" fmla="*/ 123825 w 259556"/>
                <a:gd name="connsiteY28" fmla="*/ 307181 h 481013"/>
                <a:gd name="connsiteX29" fmla="*/ 104775 w 259556"/>
                <a:gd name="connsiteY29" fmla="*/ 326231 h 481013"/>
                <a:gd name="connsiteX30" fmla="*/ 147637 w 259556"/>
                <a:gd name="connsiteY30" fmla="*/ 323850 h 481013"/>
                <a:gd name="connsiteX31" fmla="*/ 140494 w 259556"/>
                <a:gd name="connsiteY31" fmla="*/ 340519 h 481013"/>
                <a:gd name="connsiteX32" fmla="*/ 102394 w 259556"/>
                <a:gd name="connsiteY32" fmla="*/ 347663 h 481013"/>
                <a:gd name="connsiteX33" fmla="*/ 69056 w 259556"/>
                <a:gd name="connsiteY33" fmla="*/ 364331 h 481013"/>
                <a:gd name="connsiteX34" fmla="*/ 90487 w 259556"/>
                <a:gd name="connsiteY34" fmla="*/ 383381 h 481013"/>
                <a:gd name="connsiteX35" fmla="*/ 83344 w 259556"/>
                <a:gd name="connsiteY35" fmla="*/ 402431 h 481013"/>
                <a:gd name="connsiteX36" fmla="*/ 100012 w 259556"/>
                <a:gd name="connsiteY36" fmla="*/ 416719 h 481013"/>
                <a:gd name="connsiteX37" fmla="*/ 97631 w 259556"/>
                <a:gd name="connsiteY37" fmla="*/ 433388 h 481013"/>
                <a:gd name="connsiteX38" fmla="*/ 128587 w 259556"/>
                <a:gd name="connsiteY38" fmla="*/ 481013 h 481013"/>
                <a:gd name="connsiteX39" fmla="*/ 142875 w 259556"/>
                <a:gd name="connsiteY39" fmla="*/ 450056 h 481013"/>
                <a:gd name="connsiteX40" fmla="*/ 150019 w 259556"/>
                <a:gd name="connsiteY40" fmla="*/ 452438 h 481013"/>
                <a:gd name="connsiteX41" fmla="*/ 147637 w 259556"/>
                <a:gd name="connsiteY41" fmla="*/ 423863 h 481013"/>
                <a:gd name="connsiteX42" fmla="*/ 152400 w 259556"/>
                <a:gd name="connsiteY42" fmla="*/ 409575 h 481013"/>
                <a:gd name="connsiteX43" fmla="*/ 178594 w 259556"/>
                <a:gd name="connsiteY43" fmla="*/ 450056 h 481013"/>
                <a:gd name="connsiteX44" fmla="*/ 176212 w 259556"/>
                <a:gd name="connsiteY44" fmla="*/ 411956 h 481013"/>
                <a:gd name="connsiteX45" fmla="*/ 183356 w 259556"/>
                <a:gd name="connsiteY45" fmla="*/ 381000 h 481013"/>
                <a:gd name="connsiteX46" fmla="*/ 192881 w 259556"/>
                <a:gd name="connsiteY46" fmla="*/ 342900 h 481013"/>
                <a:gd name="connsiteX47" fmla="*/ 204787 w 259556"/>
                <a:gd name="connsiteY47" fmla="*/ 392906 h 481013"/>
                <a:gd name="connsiteX48" fmla="*/ 219075 w 259556"/>
                <a:gd name="connsiteY48" fmla="*/ 350044 h 481013"/>
                <a:gd name="connsiteX49" fmla="*/ 240506 w 259556"/>
                <a:gd name="connsiteY49" fmla="*/ 328613 h 481013"/>
                <a:gd name="connsiteX50" fmla="*/ 259556 w 259556"/>
                <a:gd name="connsiteY50" fmla="*/ 314325 h 481013"/>
                <a:gd name="connsiteX51" fmla="*/ 259556 w 259556"/>
                <a:gd name="connsiteY51" fmla="*/ 290513 h 481013"/>
                <a:gd name="connsiteX52" fmla="*/ 242887 w 259556"/>
                <a:gd name="connsiteY52" fmla="*/ 304800 h 481013"/>
                <a:gd name="connsiteX53" fmla="*/ 226219 w 259556"/>
                <a:gd name="connsiteY53" fmla="*/ 271463 h 481013"/>
                <a:gd name="connsiteX54" fmla="*/ 211931 w 259556"/>
                <a:gd name="connsiteY54" fmla="*/ 280988 h 481013"/>
                <a:gd name="connsiteX55" fmla="*/ 211931 w 259556"/>
                <a:gd name="connsiteY55" fmla="*/ 280988 h 481013"/>
                <a:gd name="connsiteX56" fmla="*/ 209550 w 259556"/>
                <a:gd name="connsiteY56" fmla="*/ 223838 h 481013"/>
                <a:gd name="connsiteX57" fmla="*/ 202406 w 259556"/>
                <a:gd name="connsiteY57" fmla="*/ 164306 h 481013"/>
                <a:gd name="connsiteX58" fmla="*/ 173832 w 259556"/>
                <a:gd name="connsiteY58" fmla="*/ 204788 h 481013"/>
                <a:gd name="connsiteX59" fmla="*/ 138112 w 259556"/>
                <a:gd name="connsiteY59" fmla="*/ 145256 h 481013"/>
                <a:gd name="connsiteX0" fmla="*/ 138112 w 259556"/>
                <a:gd name="connsiteY0" fmla="*/ 145256 h 481013"/>
                <a:gd name="connsiteX1" fmla="*/ 152400 w 259556"/>
                <a:gd name="connsiteY1" fmla="*/ 166688 h 481013"/>
                <a:gd name="connsiteX2" fmla="*/ 97631 w 259556"/>
                <a:gd name="connsiteY2" fmla="*/ 35719 h 481013"/>
                <a:gd name="connsiteX3" fmla="*/ 61912 w 259556"/>
                <a:gd name="connsiteY3" fmla="*/ 0 h 481013"/>
                <a:gd name="connsiteX4" fmla="*/ 38100 w 259556"/>
                <a:gd name="connsiteY4" fmla="*/ 19050 h 481013"/>
                <a:gd name="connsiteX5" fmla="*/ 78581 w 259556"/>
                <a:gd name="connsiteY5" fmla="*/ 42863 h 481013"/>
                <a:gd name="connsiteX6" fmla="*/ 73819 w 259556"/>
                <a:gd name="connsiteY6" fmla="*/ 64294 h 481013"/>
                <a:gd name="connsiteX7" fmla="*/ 54769 w 259556"/>
                <a:gd name="connsiteY7" fmla="*/ 57150 h 481013"/>
                <a:gd name="connsiteX8" fmla="*/ 45244 w 259556"/>
                <a:gd name="connsiteY8" fmla="*/ 73819 h 481013"/>
                <a:gd name="connsiteX9" fmla="*/ 21431 w 259556"/>
                <a:gd name="connsiteY9" fmla="*/ 61913 h 481013"/>
                <a:gd name="connsiteX10" fmla="*/ 19050 w 259556"/>
                <a:gd name="connsiteY10" fmla="*/ 85725 h 481013"/>
                <a:gd name="connsiteX11" fmla="*/ 50006 w 259556"/>
                <a:gd name="connsiteY11" fmla="*/ 114300 h 481013"/>
                <a:gd name="connsiteX12" fmla="*/ 64294 w 259556"/>
                <a:gd name="connsiteY12" fmla="*/ 138113 h 481013"/>
                <a:gd name="connsiteX13" fmla="*/ 54769 w 259556"/>
                <a:gd name="connsiteY13" fmla="*/ 147638 h 481013"/>
                <a:gd name="connsiteX14" fmla="*/ 21431 w 259556"/>
                <a:gd name="connsiteY14" fmla="*/ 140494 h 481013"/>
                <a:gd name="connsiteX15" fmla="*/ 0 w 259556"/>
                <a:gd name="connsiteY15" fmla="*/ 152400 h 481013"/>
                <a:gd name="connsiteX16" fmla="*/ 16669 w 259556"/>
                <a:gd name="connsiteY16" fmla="*/ 185738 h 481013"/>
                <a:gd name="connsiteX17" fmla="*/ 52387 w 259556"/>
                <a:gd name="connsiteY17" fmla="*/ 190500 h 481013"/>
                <a:gd name="connsiteX18" fmla="*/ 45244 w 259556"/>
                <a:gd name="connsiteY18" fmla="*/ 211931 h 481013"/>
                <a:gd name="connsiteX19" fmla="*/ 21431 w 259556"/>
                <a:gd name="connsiteY19" fmla="*/ 233363 h 481013"/>
                <a:gd name="connsiteX20" fmla="*/ 21431 w 259556"/>
                <a:gd name="connsiteY20" fmla="*/ 233363 h 481013"/>
                <a:gd name="connsiteX21" fmla="*/ 38100 w 259556"/>
                <a:gd name="connsiteY21" fmla="*/ 269081 h 481013"/>
                <a:gd name="connsiteX22" fmla="*/ 66675 w 259556"/>
                <a:gd name="connsiteY22" fmla="*/ 266700 h 481013"/>
                <a:gd name="connsiteX23" fmla="*/ 50006 w 259556"/>
                <a:gd name="connsiteY23" fmla="*/ 283369 h 481013"/>
                <a:gd name="connsiteX24" fmla="*/ 28575 w 259556"/>
                <a:gd name="connsiteY24" fmla="*/ 295275 h 481013"/>
                <a:gd name="connsiteX25" fmla="*/ 42862 w 259556"/>
                <a:gd name="connsiteY25" fmla="*/ 307181 h 481013"/>
                <a:gd name="connsiteX26" fmla="*/ 61912 w 259556"/>
                <a:gd name="connsiteY26" fmla="*/ 304800 h 481013"/>
                <a:gd name="connsiteX27" fmla="*/ 71437 w 259556"/>
                <a:gd name="connsiteY27" fmla="*/ 319088 h 481013"/>
                <a:gd name="connsiteX28" fmla="*/ 85725 w 259556"/>
                <a:gd name="connsiteY28" fmla="*/ 304800 h 481013"/>
                <a:gd name="connsiteX29" fmla="*/ 123825 w 259556"/>
                <a:gd name="connsiteY29" fmla="*/ 307181 h 481013"/>
                <a:gd name="connsiteX30" fmla="*/ 104775 w 259556"/>
                <a:gd name="connsiteY30" fmla="*/ 326231 h 481013"/>
                <a:gd name="connsiteX31" fmla="*/ 147637 w 259556"/>
                <a:gd name="connsiteY31" fmla="*/ 323850 h 481013"/>
                <a:gd name="connsiteX32" fmla="*/ 140494 w 259556"/>
                <a:gd name="connsiteY32" fmla="*/ 340519 h 481013"/>
                <a:gd name="connsiteX33" fmla="*/ 102394 w 259556"/>
                <a:gd name="connsiteY33" fmla="*/ 347663 h 481013"/>
                <a:gd name="connsiteX34" fmla="*/ 69056 w 259556"/>
                <a:gd name="connsiteY34" fmla="*/ 364331 h 481013"/>
                <a:gd name="connsiteX35" fmla="*/ 90487 w 259556"/>
                <a:gd name="connsiteY35" fmla="*/ 383381 h 481013"/>
                <a:gd name="connsiteX36" fmla="*/ 83344 w 259556"/>
                <a:gd name="connsiteY36" fmla="*/ 402431 h 481013"/>
                <a:gd name="connsiteX37" fmla="*/ 100012 w 259556"/>
                <a:gd name="connsiteY37" fmla="*/ 416719 h 481013"/>
                <a:gd name="connsiteX38" fmla="*/ 97631 w 259556"/>
                <a:gd name="connsiteY38" fmla="*/ 433388 h 481013"/>
                <a:gd name="connsiteX39" fmla="*/ 128587 w 259556"/>
                <a:gd name="connsiteY39" fmla="*/ 481013 h 481013"/>
                <a:gd name="connsiteX40" fmla="*/ 142875 w 259556"/>
                <a:gd name="connsiteY40" fmla="*/ 450056 h 481013"/>
                <a:gd name="connsiteX41" fmla="*/ 150019 w 259556"/>
                <a:gd name="connsiteY41" fmla="*/ 452438 h 481013"/>
                <a:gd name="connsiteX42" fmla="*/ 147637 w 259556"/>
                <a:gd name="connsiteY42" fmla="*/ 423863 h 481013"/>
                <a:gd name="connsiteX43" fmla="*/ 152400 w 259556"/>
                <a:gd name="connsiteY43" fmla="*/ 409575 h 481013"/>
                <a:gd name="connsiteX44" fmla="*/ 178594 w 259556"/>
                <a:gd name="connsiteY44" fmla="*/ 450056 h 481013"/>
                <a:gd name="connsiteX45" fmla="*/ 176212 w 259556"/>
                <a:gd name="connsiteY45" fmla="*/ 411956 h 481013"/>
                <a:gd name="connsiteX46" fmla="*/ 183356 w 259556"/>
                <a:gd name="connsiteY46" fmla="*/ 381000 h 481013"/>
                <a:gd name="connsiteX47" fmla="*/ 192881 w 259556"/>
                <a:gd name="connsiteY47" fmla="*/ 342900 h 481013"/>
                <a:gd name="connsiteX48" fmla="*/ 204787 w 259556"/>
                <a:gd name="connsiteY48" fmla="*/ 392906 h 481013"/>
                <a:gd name="connsiteX49" fmla="*/ 219075 w 259556"/>
                <a:gd name="connsiteY49" fmla="*/ 350044 h 481013"/>
                <a:gd name="connsiteX50" fmla="*/ 240506 w 259556"/>
                <a:gd name="connsiteY50" fmla="*/ 328613 h 481013"/>
                <a:gd name="connsiteX51" fmla="*/ 259556 w 259556"/>
                <a:gd name="connsiteY51" fmla="*/ 314325 h 481013"/>
                <a:gd name="connsiteX52" fmla="*/ 259556 w 259556"/>
                <a:gd name="connsiteY52" fmla="*/ 290513 h 481013"/>
                <a:gd name="connsiteX53" fmla="*/ 242887 w 259556"/>
                <a:gd name="connsiteY53" fmla="*/ 304800 h 481013"/>
                <a:gd name="connsiteX54" fmla="*/ 226219 w 259556"/>
                <a:gd name="connsiteY54" fmla="*/ 271463 h 481013"/>
                <a:gd name="connsiteX55" fmla="*/ 211931 w 259556"/>
                <a:gd name="connsiteY55" fmla="*/ 280988 h 481013"/>
                <a:gd name="connsiteX56" fmla="*/ 211931 w 259556"/>
                <a:gd name="connsiteY56" fmla="*/ 280988 h 481013"/>
                <a:gd name="connsiteX57" fmla="*/ 209550 w 259556"/>
                <a:gd name="connsiteY57" fmla="*/ 223838 h 481013"/>
                <a:gd name="connsiteX58" fmla="*/ 202406 w 259556"/>
                <a:gd name="connsiteY58" fmla="*/ 164306 h 481013"/>
                <a:gd name="connsiteX59" fmla="*/ 173832 w 259556"/>
                <a:gd name="connsiteY59" fmla="*/ 204788 h 481013"/>
                <a:gd name="connsiteX60" fmla="*/ 138112 w 259556"/>
                <a:gd name="connsiteY60" fmla="*/ 145256 h 481013"/>
                <a:gd name="connsiteX0" fmla="*/ 138112 w 259556"/>
                <a:gd name="connsiteY0" fmla="*/ 145256 h 481013"/>
                <a:gd name="connsiteX1" fmla="*/ 166687 w 259556"/>
                <a:gd name="connsiteY1" fmla="*/ 157163 h 481013"/>
                <a:gd name="connsiteX2" fmla="*/ 97631 w 259556"/>
                <a:gd name="connsiteY2" fmla="*/ 35719 h 481013"/>
                <a:gd name="connsiteX3" fmla="*/ 61912 w 259556"/>
                <a:gd name="connsiteY3" fmla="*/ 0 h 481013"/>
                <a:gd name="connsiteX4" fmla="*/ 38100 w 259556"/>
                <a:gd name="connsiteY4" fmla="*/ 19050 h 481013"/>
                <a:gd name="connsiteX5" fmla="*/ 78581 w 259556"/>
                <a:gd name="connsiteY5" fmla="*/ 42863 h 481013"/>
                <a:gd name="connsiteX6" fmla="*/ 73819 w 259556"/>
                <a:gd name="connsiteY6" fmla="*/ 64294 h 481013"/>
                <a:gd name="connsiteX7" fmla="*/ 54769 w 259556"/>
                <a:gd name="connsiteY7" fmla="*/ 57150 h 481013"/>
                <a:gd name="connsiteX8" fmla="*/ 45244 w 259556"/>
                <a:gd name="connsiteY8" fmla="*/ 73819 h 481013"/>
                <a:gd name="connsiteX9" fmla="*/ 21431 w 259556"/>
                <a:gd name="connsiteY9" fmla="*/ 61913 h 481013"/>
                <a:gd name="connsiteX10" fmla="*/ 19050 w 259556"/>
                <a:gd name="connsiteY10" fmla="*/ 85725 h 481013"/>
                <a:gd name="connsiteX11" fmla="*/ 50006 w 259556"/>
                <a:gd name="connsiteY11" fmla="*/ 114300 h 481013"/>
                <a:gd name="connsiteX12" fmla="*/ 64294 w 259556"/>
                <a:gd name="connsiteY12" fmla="*/ 138113 h 481013"/>
                <a:gd name="connsiteX13" fmla="*/ 54769 w 259556"/>
                <a:gd name="connsiteY13" fmla="*/ 147638 h 481013"/>
                <a:gd name="connsiteX14" fmla="*/ 21431 w 259556"/>
                <a:gd name="connsiteY14" fmla="*/ 140494 h 481013"/>
                <a:gd name="connsiteX15" fmla="*/ 0 w 259556"/>
                <a:gd name="connsiteY15" fmla="*/ 152400 h 481013"/>
                <a:gd name="connsiteX16" fmla="*/ 16669 w 259556"/>
                <a:gd name="connsiteY16" fmla="*/ 185738 h 481013"/>
                <a:gd name="connsiteX17" fmla="*/ 52387 w 259556"/>
                <a:gd name="connsiteY17" fmla="*/ 190500 h 481013"/>
                <a:gd name="connsiteX18" fmla="*/ 45244 w 259556"/>
                <a:gd name="connsiteY18" fmla="*/ 211931 h 481013"/>
                <a:gd name="connsiteX19" fmla="*/ 21431 w 259556"/>
                <a:gd name="connsiteY19" fmla="*/ 233363 h 481013"/>
                <a:gd name="connsiteX20" fmla="*/ 21431 w 259556"/>
                <a:gd name="connsiteY20" fmla="*/ 233363 h 481013"/>
                <a:gd name="connsiteX21" fmla="*/ 38100 w 259556"/>
                <a:gd name="connsiteY21" fmla="*/ 269081 h 481013"/>
                <a:gd name="connsiteX22" fmla="*/ 66675 w 259556"/>
                <a:gd name="connsiteY22" fmla="*/ 266700 h 481013"/>
                <a:gd name="connsiteX23" fmla="*/ 50006 w 259556"/>
                <a:gd name="connsiteY23" fmla="*/ 283369 h 481013"/>
                <a:gd name="connsiteX24" fmla="*/ 28575 w 259556"/>
                <a:gd name="connsiteY24" fmla="*/ 295275 h 481013"/>
                <a:gd name="connsiteX25" fmla="*/ 42862 w 259556"/>
                <a:gd name="connsiteY25" fmla="*/ 307181 h 481013"/>
                <a:gd name="connsiteX26" fmla="*/ 61912 w 259556"/>
                <a:gd name="connsiteY26" fmla="*/ 304800 h 481013"/>
                <a:gd name="connsiteX27" fmla="*/ 71437 w 259556"/>
                <a:gd name="connsiteY27" fmla="*/ 319088 h 481013"/>
                <a:gd name="connsiteX28" fmla="*/ 85725 w 259556"/>
                <a:gd name="connsiteY28" fmla="*/ 304800 h 481013"/>
                <a:gd name="connsiteX29" fmla="*/ 123825 w 259556"/>
                <a:gd name="connsiteY29" fmla="*/ 307181 h 481013"/>
                <a:gd name="connsiteX30" fmla="*/ 104775 w 259556"/>
                <a:gd name="connsiteY30" fmla="*/ 326231 h 481013"/>
                <a:gd name="connsiteX31" fmla="*/ 147637 w 259556"/>
                <a:gd name="connsiteY31" fmla="*/ 323850 h 481013"/>
                <a:gd name="connsiteX32" fmla="*/ 140494 w 259556"/>
                <a:gd name="connsiteY32" fmla="*/ 340519 h 481013"/>
                <a:gd name="connsiteX33" fmla="*/ 102394 w 259556"/>
                <a:gd name="connsiteY33" fmla="*/ 347663 h 481013"/>
                <a:gd name="connsiteX34" fmla="*/ 69056 w 259556"/>
                <a:gd name="connsiteY34" fmla="*/ 364331 h 481013"/>
                <a:gd name="connsiteX35" fmla="*/ 90487 w 259556"/>
                <a:gd name="connsiteY35" fmla="*/ 383381 h 481013"/>
                <a:gd name="connsiteX36" fmla="*/ 83344 w 259556"/>
                <a:gd name="connsiteY36" fmla="*/ 402431 h 481013"/>
                <a:gd name="connsiteX37" fmla="*/ 100012 w 259556"/>
                <a:gd name="connsiteY37" fmla="*/ 416719 h 481013"/>
                <a:gd name="connsiteX38" fmla="*/ 97631 w 259556"/>
                <a:gd name="connsiteY38" fmla="*/ 433388 h 481013"/>
                <a:gd name="connsiteX39" fmla="*/ 128587 w 259556"/>
                <a:gd name="connsiteY39" fmla="*/ 481013 h 481013"/>
                <a:gd name="connsiteX40" fmla="*/ 142875 w 259556"/>
                <a:gd name="connsiteY40" fmla="*/ 450056 h 481013"/>
                <a:gd name="connsiteX41" fmla="*/ 150019 w 259556"/>
                <a:gd name="connsiteY41" fmla="*/ 452438 h 481013"/>
                <a:gd name="connsiteX42" fmla="*/ 147637 w 259556"/>
                <a:gd name="connsiteY42" fmla="*/ 423863 h 481013"/>
                <a:gd name="connsiteX43" fmla="*/ 152400 w 259556"/>
                <a:gd name="connsiteY43" fmla="*/ 409575 h 481013"/>
                <a:gd name="connsiteX44" fmla="*/ 178594 w 259556"/>
                <a:gd name="connsiteY44" fmla="*/ 450056 h 481013"/>
                <a:gd name="connsiteX45" fmla="*/ 176212 w 259556"/>
                <a:gd name="connsiteY45" fmla="*/ 411956 h 481013"/>
                <a:gd name="connsiteX46" fmla="*/ 183356 w 259556"/>
                <a:gd name="connsiteY46" fmla="*/ 381000 h 481013"/>
                <a:gd name="connsiteX47" fmla="*/ 192881 w 259556"/>
                <a:gd name="connsiteY47" fmla="*/ 342900 h 481013"/>
                <a:gd name="connsiteX48" fmla="*/ 204787 w 259556"/>
                <a:gd name="connsiteY48" fmla="*/ 392906 h 481013"/>
                <a:gd name="connsiteX49" fmla="*/ 219075 w 259556"/>
                <a:gd name="connsiteY49" fmla="*/ 350044 h 481013"/>
                <a:gd name="connsiteX50" fmla="*/ 240506 w 259556"/>
                <a:gd name="connsiteY50" fmla="*/ 328613 h 481013"/>
                <a:gd name="connsiteX51" fmla="*/ 259556 w 259556"/>
                <a:gd name="connsiteY51" fmla="*/ 314325 h 481013"/>
                <a:gd name="connsiteX52" fmla="*/ 259556 w 259556"/>
                <a:gd name="connsiteY52" fmla="*/ 290513 h 481013"/>
                <a:gd name="connsiteX53" fmla="*/ 242887 w 259556"/>
                <a:gd name="connsiteY53" fmla="*/ 304800 h 481013"/>
                <a:gd name="connsiteX54" fmla="*/ 226219 w 259556"/>
                <a:gd name="connsiteY54" fmla="*/ 271463 h 481013"/>
                <a:gd name="connsiteX55" fmla="*/ 211931 w 259556"/>
                <a:gd name="connsiteY55" fmla="*/ 280988 h 481013"/>
                <a:gd name="connsiteX56" fmla="*/ 211931 w 259556"/>
                <a:gd name="connsiteY56" fmla="*/ 280988 h 481013"/>
                <a:gd name="connsiteX57" fmla="*/ 209550 w 259556"/>
                <a:gd name="connsiteY57" fmla="*/ 223838 h 481013"/>
                <a:gd name="connsiteX58" fmla="*/ 202406 w 259556"/>
                <a:gd name="connsiteY58" fmla="*/ 164306 h 481013"/>
                <a:gd name="connsiteX59" fmla="*/ 173832 w 259556"/>
                <a:gd name="connsiteY59" fmla="*/ 204788 h 481013"/>
                <a:gd name="connsiteX60" fmla="*/ 138112 w 259556"/>
                <a:gd name="connsiteY60" fmla="*/ 145256 h 481013"/>
                <a:gd name="connsiteX0" fmla="*/ 138112 w 259556"/>
                <a:gd name="connsiteY0" fmla="*/ 145256 h 481013"/>
                <a:gd name="connsiteX1" fmla="*/ 166687 w 259556"/>
                <a:gd name="connsiteY1" fmla="*/ 157163 h 481013"/>
                <a:gd name="connsiteX2" fmla="*/ 119062 w 259556"/>
                <a:gd name="connsiteY2" fmla="*/ 80963 h 481013"/>
                <a:gd name="connsiteX3" fmla="*/ 97631 w 259556"/>
                <a:gd name="connsiteY3" fmla="*/ 35719 h 481013"/>
                <a:gd name="connsiteX4" fmla="*/ 61912 w 259556"/>
                <a:gd name="connsiteY4" fmla="*/ 0 h 481013"/>
                <a:gd name="connsiteX5" fmla="*/ 38100 w 259556"/>
                <a:gd name="connsiteY5" fmla="*/ 19050 h 481013"/>
                <a:gd name="connsiteX6" fmla="*/ 78581 w 259556"/>
                <a:gd name="connsiteY6" fmla="*/ 42863 h 481013"/>
                <a:gd name="connsiteX7" fmla="*/ 73819 w 259556"/>
                <a:gd name="connsiteY7" fmla="*/ 64294 h 481013"/>
                <a:gd name="connsiteX8" fmla="*/ 54769 w 259556"/>
                <a:gd name="connsiteY8" fmla="*/ 57150 h 481013"/>
                <a:gd name="connsiteX9" fmla="*/ 45244 w 259556"/>
                <a:gd name="connsiteY9" fmla="*/ 73819 h 481013"/>
                <a:gd name="connsiteX10" fmla="*/ 21431 w 259556"/>
                <a:gd name="connsiteY10" fmla="*/ 61913 h 481013"/>
                <a:gd name="connsiteX11" fmla="*/ 19050 w 259556"/>
                <a:gd name="connsiteY11" fmla="*/ 85725 h 481013"/>
                <a:gd name="connsiteX12" fmla="*/ 50006 w 259556"/>
                <a:gd name="connsiteY12" fmla="*/ 114300 h 481013"/>
                <a:gd name="connsiteX13" fmla="*/ 64294 w 259556"/>
                <a:gd name="connsiteY13" fmla="*/ 138113 h 481013"/>
                <a:gd name="connsiteX14" fmla="*/ 54769 w 259556"/>
                <a:gd name="connsiteY14" fmla="*/ 147638 h 481013"/>
                <a:gd name="connsiteX15" fmla="*/ 21431 w 259556"/>
                <a:gd name="connsiteY15" fmla="*/ 140494 h 481013"/>
                <a:gd name="connsiteX16" fmla="*/ 0 w 259556"/>
                <a:gd name="connsiteY16" fmla="*/ 152400 h 481013"/>
                <a:gd name="connsiteX17" fmla="*/ 16669 w 259556"/>
                <a:gd name="connsiteY17" fmla="*/ 185738 h 481013"/>
                <a:gd name="connsiteX18" fmla="*/ 52387 w 259556"/>
                <a:gd name="connsiteY18" fmla="*/ 190500 h 481013"/>
                <a:gd name="connsiteX19" fmla="*/ 45244 w 259556"/>
                <a:gd name="connsiteY19" fmla="*/ 211931 h 481013"/>
                <a:gd name="connsiteX20" fmla="*/ 21431 w 259556"/>
                <a:gd name="connsiteY20" fmla="*/ 233363 h 481013"/>
                <a:gd name="connsiteX21" fmla="*/ 21431 w 259556"/>
                <a:gd name="connsiteY21" fmla="*/ 233363 h 481013"/>
                <a:gd name="connsiteX22" fmla="*/ 38100 w 259556"/>
                <a:gd name="connsiteY22" fmla="*/ 269081 h 481013"/>
                <a:gd name="connsiteX23" fmla="*/ 66675 w 259556"/>
                <a:gd name="connsiteY23" fmla="*/ 266700 h 481013"/>
                <a:gd name="connsiteX24" fmla="*/ 50006 w 259556"/>
                <a:gd name="connsiteY24" fmla="*/ 283369 h 481013"/>
                <a:gd name="connsiteX25" fmla="*/ 28575 w 259556"/>
                <a:gd name="connsiteY25" fmla="*/ 295275 h 481013"/>
                <a:gd name="connsiteX26" fmla="*/ 42862 w 259556"/>
                <a:gd name="connsiteY26" fmla="*/ 307181 h 481013"/>
                <a:gd name="connsiteX27" fmla="*/ 61912 w 259556"/>
                <a:gd name="connsiteY27" fmla="*/ 304800 h 481013"/>
                <a:gd name="connsiteX28" fmla="*/ 71437 w 259556"/>
                <a:gd name="connsiteY28" fmla="*/ 319088 h 481013"/>
                <a:gd name="connsiteX29" fmla="*/ 85725 w 259556"/>
                <a:gd name="connsiteY29" fmla="*/ 304800 h 481013"/>
                <a:gd name="connsiteX30" fmla="*/ 123825 w 259556"/>
                <a:gd name="connsiteY30" fmla="*/ 307181 h 481013"/>
                <a:gd name="connsiteX31" fmla="*/ 104775 w 259556"/>
                <a:gd name="connsiteY31" fmla="*/ 326231 h 481013"/>
                <a:gd name="connsiteX32" fmla="*/ 147637 w 259556"/>
                <a:gd name="connsiteY32" fmla="*/ 323850 h 481013"/>
                <a:gd name="connsiteX33" fmla="*/ 140494 w 259556"/>
                <a:gd name="connsiteY33" fmla="*/ 340519 h 481013"/>
                <a:gd name="connsiteX34" fmla="*/ 102394 w 259556"/>
                <a:gd name="connsiteY34" fmla="*/ 347663 h 481013"/>
                <a:gd name="connsiteX35" fmla="*/ 69056 w 259556"/>
                <a:gd name="connsiteY35" fmla="*/ 364331 h 481013"/>
                <a:gd name="connsiteX36" fmla="*/ 90487 w 259556"/>
                <a:gd name="connsiteY36" fmla="*/ 383381 h 481013"/>
                <a:gd name="connsiteX37" fmla="*/ 83344 w 259556"/>
                <a:gd name="connsiteY37" fmla="*/ 402431 h 481013"/>
                <a:gd name="connsiteX38" fmla="*/ 100012 w 259556"/>
                <a:gd name="connsiteY38" fmla="*/ 416719 h 481013"/>
                <a:gd name="connsiteX39" fmla="*/ 97631 w 259556"/>
                <a:gd name="connsiteY39" fmla="*/ 433388 h 481013"/>
                <a:gd name="connsiteX40" fmla="*/ 128587 w 259556"/>
                <a:gd name="connsiteY40" fmla="*/ 481013 h 481013"/>
                <a:gd name="connsiteX41" fmla="*/ 142875 w 259556"/>
                <a:gd name="connsiteY41" fmla="*/ 450056 h 481013"/>
                <a:gd name="connsiteX42" fmla="*/ 150019 w 259556"/>
                <a:gd name="connsiteY42" fmla="*/ 452438 h 481013"/>
                <a:gd name="connsiteX43" fmla="*/ 147637 w 259556"/>
                <a:gd name="connsiteY43" fmla="*/ 423863 h 481013"/>
                <a:gd name="connsiteX44" fmla="*/ 152400 w 259556"/>
                <a:gd name="connsiteY44" fmla="*/ 409575 h 481013"/>
                <a:gd name="connsiteX45" fmla="*/ 178594 w 259556"/>
                <a:gd name="connsiteY45" fmla="*/ 450056 h 481013"/>
                <a:gd name="connsiteX46" fmla="*/ 176212 w 259556"/>
                <a:gd name="connsiteY46" fmla="*/ 411956 h 481013"/>
                <a:gd name="connsiteX47" fmla="*/ 183356 w 259556"/>
                <a:gd name="connsiteY47" fmla="*/ 381000 h 481013"/>
                <a:gd name="connsiteX48" fmla="*/ 192881 w 259556"/>
                <a:gd name="connsiteY48" fmla="*/ 342900 h 481013"/>
                <a:gd name="connsiteX49" fmla="*/ 204787 w 259556"/>
                <a:gd name="connsiteY49" fmla="*/ 392906 h 481013"/>
                <a:gd name="connsiteX50" fmla="*/ 219075 w 259556"/>
                <a:gd name="connsiteY50" fmla="*/ 350044 h 481013"/>
                <a:gd name="connsiteX51" fmla="*/ 240506 w 259556"/>
                <a:gd name="connsiteY51" fmla="*/ 328613 h 481013"/>
                <a:gd name="connsiteX52" fmla="*/ 259556 w 259556"/>
                <a:gd name="connsiteY52" fmla="*/ 314325 h 481013"/>
                <a:gd name="connsiteX53" fmla="*/ 259556 w 259556"/>
                <a:gd name="connsiteY53" fmla="*/ 290513 h 481013"/>
                <a:gd name="connsiteX54" fmla="*/ 242887 w 259556"/>
                <a:gd name="connsiteY54" fmla="*/ 304800 h 481013"/>
                <a:gd name="connsiteX55" fmla="*/ 226219 w 259556"/>
                <a:gd name="connsiteY55" fmla="*/ 271463 h 481013"/>
                <a:gd name="connsiteX56" fmla="*/ 211931 w 259556"/>
                <a:gd name="connsiteY56" fmla="*/ 280988 h 481013"/>
                <a:gd name="connsiteX57" fmla="*/ 211931 w 259556"/>
                <a:gd name="connsiteY57" fmla="*/ 280988 h 481013"/>
                <a:gd name="connsiteX58" fmla="*/ 209550 w 259556"/>
                <a:gd name="connsiteY58" fmla="*/ 223838 h 481013"/>
                <a:gd name="connsiteX59" fmla="*/ 202406 w 259556"/>
                <a:gd name="connsiteY59" fmla="*/ 164306 h 481013"/>
                <a:gd name="connsiteX60" fmla="*/ 173832 w 259556"/>
                <a:gd name="connsiteY60" fmla="*/ 204788 h 481013"/>
                <a:gd name="connsiteX61" fmla="*/ 138112 w 259556"/>
                <a:gd name="connsiteY61" fmla="*/ 145256 h 481013"/>
                <a:gd name="connsiteX0" fmla="*/ 138112 w 259556"/>
                <a:gd name="connsiteY0" fmla="*/ 145256 h 481013"/>
                <a:gd name="connsiteX1" fmla="*/ 152399 w 259556"/>
                <a:gd name="connsiteY1" fmla="*/ 133351 h 481013"/>
                <a:gd name="connsiteX2" fmla="*/ 119062 w 259556"/>
                <a:gd name="connsiteY2" fmla="*/ 80963 h 481013"/>
                <a:gd name="connsiteX3" fmla="*/ 97631 w 259556"/>
                <a:gd name="connsiteY3" fmla="*/ 35719 h 481013"/>
                <a:gd name="connsiteX4" fmla="*/ 61912 w 259556"/>
                <a:gd name="connsiteY4" fmla="*/ 0 h 481013"/>
                <a:gd name="connsiteX5" fmla="*/ 38100 w 259556"/>
                <a:gd name="connsiteY5" fmla="*/ 19050 h 481013"/>
                <a:gd name="connsiteX6" fmla="*/ 78581 w 259556"/>
                <a:gd name="connsiteY6" fmla="*/ 42863 h 481013"/>
                <a:gd name="connsiteX7" fmla="*/ 73819 w 259556"/>
                <a:gd name="connsiteY7" fmla="*/ 64294 h 481013"/>
                <a:gd name="connsiteX8" fmla="*/ 54769 w 259556"/>
                <a:gd name="connsiteY8" fmla="*/ 57150 h 481013"/>
                <a:gd name="connsiteX9" fmla="*/ 45244 w 259556"/>
                <a:gd name="connsiteY9" fmla="*/ 73819 h 481013"/>
                <a:gd name="connsiteX10" fmla="*/ 21431 w 259556"/>
                <a:gd name="connsiteY10" fmla="*/ 61913 h 481013"/>
                <a:gd name="connsiteX11" fmla="*/ 19050 w 259556"/>
                <a:gd name="connsiteY11" fmla="*/ 85725 h 481013"/>
                <a:gd name="connsiteX12" fmla="*/ 50006 w 259556"/>
                <a:gd name="connsiteY12" fmla="*/ 114300 h 481013"/>
                <a:gd name="connsiteX13" fmla="*/ 64294 w 259556"/>
                <a:gd name="connsiteY13" fmla="*/ 138113 h 481013"/>
                <a:gd name="connsiteX14" fmla="*/ 54769 w 259556"/>
                <a:gd name="connsiteY14" fmla="*/ 147638 h 481013"/>
                <a:gd name="connsiteX15" fmla="*/ 21431 w 259556"/>
                <a:gd name="connsiteY15" fmla="*/ 140494 h 481013"/>
                <a:gd name="connsiteX16" fmla="*/ 0 w 259556"/>
                <a:gd name="connsiteY16" fmla="*/ 152400 h 481013"/>
                <a:gd name="connsiteX17" fmla="*/ 16669 w 259556"/>
                <a:gd name="connsiteY17" fmla="*/ 185738 h 481013"/>
                <a:gd name="connsiteX18" fmla="*/ 52387 w 259556"/>
                <a:gd name="connsiteY18" fmla="*/ 190500 h 481013"/>
                <a:gd name="connsiteX19" fmla="*/ 45244 w 259556"/>
                <a:gd name="connsiteY19" fmla="*/ 211931 h 481013"/>
                <a:gd name="connsiteX20" fmla="*/ 21431 w 259556"/>
                <a:gd name="connsiteY20" fmla="*/ 233363 h 481013"/>
                <a:gd name="connsiteX21" fmla="*/ 21431 w 259556"/>
                <a:gd name="connsiteY21" fmla="*/ 233363 h 481013"/>
                <a:gd name="connsiteX22" fmla="*/ 38100 w 259556"/>
                <a:gd name="connsiteY22" fmla="*/ 269081 h 481013"/>
                <a:gd name="connsiteX23" fmla="*/ 66675 w 259556"/>
                <a:gd name="connsiteY23" fmla="*/ 266700 h 481013"/>
                <a:gd name="connsiteX24" fmla="*/ 50006 w 259556"/>
                <a:gd name="connsiteY24" fmla="*/ 283369 h 481013"/>
                <a:gd name="connsiteX25" fmla="*/ 28575 w 259556"/>
                <a:gd name="connsiteY25" fmla="*/ 295275 h 481013"/>
                <a:gd name="connsiteX26" fmla="*/ 42862 w 259556"/>
                <a:gd name="connsiteY26" fmla="*/ 307181 h 481013"/>
                <a:gd name="connsiteX27" fmla="*/ 61912 w 259556"/>
                <a:gd name="connsiteY27" fmla="*/ 304800 h 481013"/>
                <a:gd name="connsiteX28" fmla="*/ 71437 w 259556"/>
                <a:gd name="connsiteY28" fmla="*/ 319088 h 481013"/>
                <a:gd name="connsiteX29" fmla="*/ 85725 w 259556"/>
                <a:gd name="connsiteY29" fmla="*/ 304800 h 481013"/>
                <a:gd name="connsiteX30" fmla="*/ 123825 w 259556"/>
                <a:gd name="connsiteY30" fmla="*/ 307181 h 481013"/>
                <a:gd name="connsiteX31" fmla="*/ 104775 w 259556"/>
                <a:gd name="connsiteY31" fmla="*/ 326231 h 481013"/>
                <a:gd name="connsiteX32" fmla="*/ 147637 w 259556"/>
                <a:gd name="connsiteY32" fmla="*/ 323850 h 481013"/>
                <a:gd name="connsiteX33" fmla="*/ 140494 w 259556"/>
                <a:gd name="connsiteY33" fmla="*/ 340519 h 481013"/>
                <a:gd name="connsiteX34" fmla="*/ 102394 w 259556"/>
                <a:gd name="connsiteY34" fmla="*/ 347663 h 481013"/>
                <a:gd name="connsiteX35" fmla="*/ 69056 w 259556"/>
                <a:gd name="connsiteY35" fmla="*/ 364331 h 481013"/>
                <a:gd name="connsiteX36" fmla="*/ 90487 w 259556"/>
                <a:gd name="connsiteY36" fmla="*/ 383381 h 481013"/>
                <a:gd name="connsiteX37" fmla="*/ 83344 w 259556"/>
                <a:gd name="connsiteY37" fmla="*/ 402431 h 481013"/>
                <a:gd name="connsiteX38" fmla="*/ 100012 w 259556"/>
                <a:gd name="connsiteY38" fmla="*/ 416719 h 481013"/>
                <a:gd name="connsiteX39" fmla="*/ 97631 w 259556"/>
                <a:gd name="connsiteY39" fmla="*/ 433388 h 481013"/>
                <a:gd name="connsiteX40" fmla="*/ 128587 w 259556"/>
                <a:gd name="connsiteY40" fmla="*/ 481013 h 481013"/>
                <a:gd name="connsiteX41" fmla="*/ 142875 w 259556"/>
                <a:gd name="connsiteY41" fmla="*/ 450056 h 481013"/>
                <a:gd name="connsiteX42" fmla="*/ 150019 w 259556"/>
                <a:gd name="connsiteY42" fmla="*/ 452438 h 481013"/>
                <a:gd name="connsiteX43" fmla="*/ 147637 w 259556"/>
                <a:gd name="connsiteY43" fmla="*/ 423863 h 481013"/>
                <a:gd name="connsiteX44" fmla="*/ 152400 w 259556"/>
                <a:gd name="connsiteY44" fmla="*/ 409575 h 481013"/>
                <a:gd name="connsiteX45" fmla="*/ 178594 w 259556"/>
                <a:gd name="connsiteY45" fmla="*/ 450056 h 481013"/>
                <a:gd name="connsiteX46" fmla="*/ 176212 w 259556"/>
                <a:gd name="connsiteY46" fmla="*/ 411956 h 481013"/>
                <a:gd name="connsiteX47" fmla="*/ 183356 w 259556"/>
                <a:gd name="connsiteY47" fmla="*/ 381000 h 481013"/>
                <a:gd name="connsiteX48" fmla="*/ 192881 w 259556"/>
                <a:gd name="connsiteY48" fmla="*/ 342900 h 481013"/>
                <a:gd name="connsiteX49" fmla="*/ 204787 w 259556"/>
                <a:gd name="connsiteY49" fmla="*/ 392906 h 481013"/>
                <a:gd name="connsiteX50" fmla="*/ 219075 w 259556"/>
                <a:gd name="connsiteY50" fmla="*/ 350044 h 481013"/>
                <a:gd name="connsiteX51" fmla="*/ 240506 w 259556"/>
                <a:gd name="connsiteY51" fmla="*/ 328613 h 481013"/>
                <a:gd name="connsiteX52" fmla="*/ 259556 w 259556"/>
                <a:gd name="connsiteY52" fmla="*/ 314325 h 481013"/>
                <a:gd name="connsiteX53" fmla="*/ 259556 w 259556"/>
                <a:gd name="connsiteY53" fmla="*/ 290513 h 481013"/>
                <a:gd name="connsiteX54" fmla="*/ 242887 w 259556"/>
                <a:gd name="connsiteY54" fmla="*/ 304800 h 481013"/>
                <a:gd name="connsiteX55" fmla="*/ 226219 w 259556"/>
                <a:gd name="connsiteY55" fmla="*/ 271463 h 481013"/>
                <a:gd name="connsiteX56" fmla="*/ 211931 w 259556"/>
                <a:gd name="connsiteY56" fmla="*/ 280988 h 481013"/>
                <a:gd name="connsiteX57" fmla="*/ 211931 w 259556"/>
                <a:gd name="connsiteY57" fmla="*/ 280988 h 481013"/>
                <a:gd name="connsiteX58" fmla="*/ 209550 w 259556"/>
                <a:gd name="connsiteY58" fmla="*/ 223838 h 481013"/>
                <a:gd name="connsiteX59" fmla="*/ 202406 w 259556"/>
                <a:gd name="connsiteY59" fmla="*/ 164306 h 481013"/>
                <a:gd name="connsiteX60" fmla="*/ 173832 w 259556"/>
                <a:gd name="connsiteY60" fmla="*/ 204788 h 481013"/>
                <a:gd name="connsiteX61" fmla="*/ 138112 w 259556"/>
                <a:gd name="connsiteY61" fmla="*/ 145256 h 481013"/>
                <a:gd name="connsiteX0" fmla="*/ 157162 w 259556"/>
                <a:gd name="connsiteY0" fmla="*/ 150019 h 481013"/>
                <a:gd name="connsiteX1" fmla="*/ 152399 w 259556"/>
                <a:gd name="connsiteY1" fmla="*/ 133351 h 481013"/>
                <a:gd name="connsiteX2" fmla="*/ 119062 w 259556"/>
                <a:gd name="connsiteY2" fmla="*/ 80963 h 481013"/>
                <a:gd name="connsiteX3" fmla="*/ 97631 w 259556"/>
                <a:gd name="connsiteY3" fmla="*/ 35719 h 481013"/>
                <a:gd name="connsiteX4" fmla="*/ 61912 w 259556"/>
                <a:gd name="connsiteY4" fmla="*/ 0 h 481013"/>
                <a:gd name="connsiteX5" fmla="*/ 38100 w 259556"/>
                <a:gd name="connsiteY5" fmla="*/ 19050 h 481013"/>
                <a:gd name="connsiteX6" fmla="*/ 78581 w 259556"/>
                <a:gd name="connsiteY6" fmla="*/ 42863 h 481013"/>
                <a:gd name="connsiteX7" fmla="*/ 73819 w 259556"/>
                <a:gd name="connsiteY7" fmla="*/ 64294 h 481013"/>
                <a:gd name="connsiteX8" fmla="*/ 54769 w 259556"/>
                <a:gd name="connsiteY8" fmla="*/ 57150 h 481013"/>
                <a:gd name="connsiteX9" fmla="*/ 45244 w 259556"/>
                <a:gd name="connsiteY9" fmla="*/ 73819 h 481013"/>
                <a:gd name="connsiteX10" fmla="*/ 21431 w 259556"/>
                <a:gd name="connsiteY10" fmla="*/ 61913 h 481013"/>
                <a:gd name="connsiteX11" fmla="*/ 19050 w 259556"/>
                <a:gd name="connsiteY11" fmla="*/ 85725 h 481013"/>
                <a:gd name="connsiteX12" fmla="*/ 50006 w 259556"/>
                <a:gd name="connsiteY12" fmla="*/ 114300 h 481013"/>
                <a:gd name="connsiteX13" fmla="*/ 64294 w 259556"/>
                <a:gd name="connsiteY13" fmla="*/ 138113 h 481013"/>
                <a:gd name="connsiteX14" fmla="*/ 54769 w 259556"/>
                <a:gd name="connsiteY14" fmla="*/ 147638 h 481013"/>
                <a:gd name="connsiteX15" fmla="*/ 21431 w 259556"/>
                <a:gd name="connsiteY15" fmla="*/ 140494 h 481013"/>
                <a:gd name="connsiteX16" fmla="*/ 0 w 259556"/>
                <a:gd name="connsiteY16" fmla="*/ 152400 h 481013"/>
                <a:gd name="connsiteX17" fmla="*/ 16669 w 259556"/>
                <a:gd name="connsiteY17" fmla="*/ 185738 h 481013"/>
                <a:gd name="connsiteX18" fmla="*/ 52387 w 259556"/>
                <a:gd name="connsiteY18" fmla="*/ 190500 h 481013"/>
                <a:gd name="connsiteX19" fmla="*/ 45244 w 259556"/>
                <a:gd name="connsiteY19" fmla="*/ 211931 h 481013"/>
                <a:gd name="connsiteX20" fmla="*/ 21431 w 259556"/>
                <a:gd name="connsiteY20" fmla="*/ 233363 h 481013"/>
                <a:gd name="connsiteX21" fmla="*/ 21431 w 259556"/>
                <a:gd name="connsiteY21" fmla="*/ 233363 h 481013"/>
                <a:gd name="connsiteX22" fmla="*/ 38100 w 259556"/>
                <a:gd name="connsiteY22" fmla="*/ 269081 h 481013"/>
                <a:gd name="connsiteX23" fmla="*/ 66675 w 259556"/>
                <a:gd name="connsiteY23" fmla="*/ 266700 h 481013"/>
                <a:gd name="connsiteX24" fmla="*/ 50006 w 259556"/>
                <a:gd name="connsiteY24" fmla="*/ 283369 h 481013"/>
                <a:gd name="connsiteX25" fmla="*/ 28575 w 259556"/>
                <a:gd name="connsiteY25" fmla="*/ 295275 h 481013"/>
                <a:gd name="connsiteX26" fmla="*/ 42862 w 259556"/>
                <a:gd name="connsiteY26" fmla="*/ 307181 h 481013"/>
                <a:gd name="connsiteX27" fmla="*/ 61912 w 259556"/>
                <a:gd name="connsiteY27" fmla="*/ 304800 h 481013"/>
                <a:gd name="connsiteX28" fmla="*/ 71437 w 259556"/>
                <a:gd name="connsiteY28" fmla="*/ 319088 h 481013"/>
                <a:gd name="connsiteX29" fmla="*/ 85725 w 259556"/>
                <a:gd name="connsiteY29" fmla="*/ 304800 h 481013"/>
                <a:gd name="connsiteX30" fmla="*/ 123825 w 259556"/>
                <a:gd name="connsiteY30" fmla="*/ 307181 h 481013"/>
                <a:gd name="connsiteX31" fmla="*/ 104775 w 259556"/>
                <a:gd name="connsiteY31" fmla="*/ 326231 h 481013"/>
                <a:gd name="connsiteX32" fmla="*/ 147637 w 259556"/>
                <a:gd name="connsiteY32" fmla="*/ 323850 h 481013"/>
                <a:gd name="connsiteX33" fmla="*/ 140494 w 259556"/>
                <a:gd name="connsiteY33" fmla="*/ 340519 h 481013"/>
                <a:gd name="connsiteX34" fmla="*/ 102394 w 259556"/>
                <a:gd name="connsiteY34" fmla="*/ 347663 h 481013"/>
                <a:gd name="connsiteX35" fmla="*/ 69056 w 259556"/>
                <a:gd name="connsiteY35" fmla="*/ 364331 h 481013"/>
                <a:gd name="connsiteX36" fmla="*/ 90487 w 259556"/>
                <a:gd name="connsiteY36" fmla="*/ 383381 h 481013"/>
                <a:gd name="connsiteX37" fmla="*/ 83344 w 259556"/>
                <a:gd name="connsiteY37" fmla="*/ 402431 h 481013"/>
                <a:gd name="connsiteX38" fmla="*/ 100012 w 259556"/>
                <a:gd name="connsiteY38" fmla="*/ 416719 h 481013"/>
                <a:gd name="connsiteX39" fmla="*/ 97631 w 259556"/>
                <a:gd name="connsiteY39" fmla="*/ 433388 h 481013"/>
                <a:gd name="connsiteX40" fmla="*/ 128587 w 259556"/>
                <a:gd name="connsiteY40" fmla="*/ 481013 h 481013"/>
                <a:gd name="connsiteX41" fmla="*/ 142875 w 259556"/>
                <a:gd name="connsiteY41" fmla="*/ 450056 h 481013"/>
                <a:gd name="connsiteX42" fmla="*/ 150019 w 259556"/>
                <a:gd name="connsiteY42" fmla="*/ 452438 h 481013"/>
                <a:gd name="connsiteX43" fmla="*/ 147637 w 259556"/>
                <a:gd name="connsiteY43" fmla="*/ 423863 h 481013"/>
                <a:gd name="connsiteX44" fmla="*/ 152400 w 259556"/>
                <a:gd name="connsiteY44" fmla="*/ 409575 h 481013"/>
                <a:gd name="connsiteX45" fmla="*/ 178594 w 259556"/>
                <a:gd name="connsiteY45" fmla="*/ 450056 h 481013"/>
                <a:gd name="connsiteX46" fmla="*/ 176212 w 259556"/>
                <a:gd name="connsiteY46" fmla="*/ 411956 h 481013"/>
                <a:gd name="connsiteX47" fmla="*/ 183356 w 259556"/>
                <a:gd name="connsiteY47" fmla="*/ 381000 h 481013"/>
                <a:gd name="connsiteX48" fmla="*/ 192881 w 259556"/>
                <a:gd name="connsiteY48" fmla="*/ 342900 h 481013"/>
                <a:gd name="connsiteX49" fmla="*/ 204787 w 259556"/>
                <a:gd name="connsiteY49" fmla="*/ 392906 h 481013"/>
                <a:gd name="connsiteX50" fmla="*/ 219075 w 259556"/>
                <a:gd name="connsiteY50" fmla="*/ 350044 h 481013"/>
                <a:gd name="connsiteX51" fmla="*/ 240506 w 259556"/>
                <a:gd name="connsiteY51" fmla="*/ 328613 h 481013"/>
                <a:gd name="connsiteX52" fmla="*/ 259556 w 259556"/>
                <a:gd name="connsiteY52" fmla="*/ 314325 h 481013"/>
                <a:gd name="connsiteX53" fmla="*/ 259556 w 259556"/>
                <a:gd name="connsiteY53" fmla="*/ 290513 h 481013"/>
                <a:gd name="connsiteX54" fmla="*/ 242887 w 259556"/>
                <a:gd name="connsiteY54" fmla="*/ 304800 h 481013"/>
                <a:gd name="connsiteX55" fmla="*/ 226219 w 259556"/>
                <a:gd name="connsiteY55" fmla="*/ 271463 h 481013"/>
                <a:gd name="connsiteX56" fmla="*/ 211931 w 259556"/>
                <a:gd name="connsiteY56" fmla="*/ 280988 h 481013"/>
                <a:gd name="connsiteX57" fmla="*/ 211931 w 259556"/>
                <a:gd name="connsiteY57" fmla="*/ 280988 h 481013"/>
                <a:gd name="connsiteX58" fmla="*/ 209550 w 259556"/>
                <a:gd name="connsiteY58" fmla="*/ 223838 h 481013"/>
                <a:gd name="connsiteX59" fmla="*/ 202406 w 259556"/>
                <a:gd name="connsiteY59" fmla="*/ 164306 h 481013"/>
                <a:gd name="connsiteX60" fmla="*/ 173832 w 259556"/>
                <a:gd name="connsiteY60" fmla="*/ 204788 h 481013"/>
                <a:gd name="connsiteX61" fmla="*/ 157162 w 259556"/>
                <a:gd name="connsiteY61" fmla="*/ 150019 h 481013"/>
                <a:gd name="connsiteX0" fmla="*/ 157162 w 259556"/>
                <a:gd name="connsiteY0" fmla="*/ 150019 h 481013"/>
                <a:gd name="connsiteX1" fmla="*/ 152399 w 259556"/>
                <a:gd name="connsiteY1" fmla="*/ 133351 h 481013"/>
                <a:gd name="connsiteX2" fmla="*/ 111918 w 259556"/>
                <a:gd name="connsiteY2" fmla="*/ 97631 h 481013"/>
                <a:gd name="connsiteX3" fmla="*/ 97631 w 259556"/>
                <a:gd name="connsiteY3" fmla="*/ 35719 h 481013"/>
                <a:gd name="connsiteX4" fmla="*/ 61912 w 259556"/>
                <a:gd name="connsiteY4" fmla="*/ 0 h 481013"/>
                <a:gd name="connsiteX5" fmla="*/ 38100 w 259556"/>
                <a:gd name="connsiteY5" fmla="*/ 19050 h 481013"/>
                <a:gd name="connsiteX6" fmla="*/ 78581 w 259556"/>
                <a:gd name="connsiteY6" fmla="*/ 42863 h 481013"/>
                <a:gd name="connsiteX7" fmla="*/ 73819 w 259556"/>
                <a:gd name="connsiteY7" fmla="*/ 64294 h 481013"/>
                <a:gd name="connsiteX8" fmla="*/ 54769 w 259556"/>
                <a:gd name="connsiteY8" fmla="*/ 57150 h 481013"/>
                <a:gd name="connsiteX9" fmla="*/ 45244 w 259556"/>
                <a:gd name="connsiteY9" fmla="*/ 73819 h 481013"/>
                <a:gd name="connsiteX10" fmla="*/ 21431 w 259556"/>
                <a:gd name="connsiteY10" fmla="*/ 61913 h 481013"/>
                <a:gd name="connsiteX11" fmla="*/ 19050 w 259556"/>
                <a:gd name="connsiteY11" fmla="*/ 85725 h 481013"/>
                <a:gd name="connsiteX12" fmla="*/ 50006 w 259556"/>
                <a:gd name="connsiteY12" fmla="*/ 114300 h 481013"/>
                <a:gd name="connsiteX13" fmla="*/ 64294 w 259556"/>
                <a:gd name="connsiteY13" fmla="*/ 138113 h 481013"/>
                <a:gd name="connsiteX14" fmla="*/ 54769 w 259556"/>
                <a:gd name="connsiteY14" fmla="*/ 147638 h 481013"/>
                <a:gd name="connsiteX15" fmla="*/ 21431 w 259556"/>
                <a:gd name="connsiteY15" fmla="*/ 140494 h 481013"/>
                <a:gd name="connsiteX16" fmla="*/ 0 w 259556"/>
                <a:gd name="connsiteY16" fmla="*/ 152400 h 481013"/>
                <a:gd name="connsiteX17" fmla="*/ 16669 w 259556"/>
                <a:gd name="connsiteY17" fmla="*/ 185738 h 481013"/>
                <a:gd name="connsiteX18" fmla="*/ 52387 w 259556"/>
                <a:gd name="connsiteY18" fmla="*/ 190500 h 481013"/>
                <a:gd name="connsiteX19" fmla="*/ 45244 w 259556"/>
                <a:gd name="connsiteY19" fmla="*/ 211931 h 481013"/>
                <a:gd name="connsiteX20" fmla="*/ 21431 w 259556"/>
                <a:gd name="connsiteY20" fmla="*/ 233363 h 481013"/>
                <a:gd name="connsiteX21" fmla="*/ 21431 w 259556"/>
                <a:gd name="connsiteY21" fmla="*/ 233363 h 481013"/>
                <a:gd name="connsiteX22" fmla="*/ 38100 w 259556"/>
                <a:gd name="connsiteY22" fmla="*/ 269081 h 481013"/>
                <a:gd name="connsiteX23" fmla="*/ 66675 w 259556"/>
                <a:gd name="connsiteY23" fmla="*/ 266700 h 481013"/>
                <a:gd name="connsiteX24" fmla="*/ 50006 w 259556"/>
                <a:gd name="connsiteY24" fmla="*/ 283369 h 481013"/>
                <a:gd name="connsiteX25" fmla="*/ 28575 w 259556"/>
                <a:gd name="connsiteY25" fmla="*/ 295275 h 481013"/>
                <a:gd name="connsiteX26" fmla="*/ 42862 w 259556"/>
                <a:gd name="connsiteY26" fmla="*/ 307181 h 481013"/>
                <a:gd name="connsiteX27" fmla="*/ 61912 w 259556"/>
                <a:gd name="connsiteY27" fmla="*/ 304800 h 481013"/>
                <a:gd name="connsiteX28" fmla="*/ 71437 w 259556"/>
                <a:gd name="connsiteY28" fmla="*/ 319088 h 481013"/>
                <a:gd name="connsiteX29" fmla="*/ 85725 w 259556"/>
                <a:gd name="connsiteY29" fmla="*/ 304800 h 481013"/>
                <a:gd name="connsiteX30" fmla="*/ 123825 w 259556"/>
                <a:gd name="connsiteY30" fmla="*/ 307181 h 481013"/>
                <a:gd name="connsiteX31" fmla="*/ 104775 w 259556"/>
                <a:gd name="connsiteY31" fmla="*/ 326231 h 481013"/>
                <a:gd name="connsiteX32" fmla="*/ 147637 w 259556"/>
                <a:gd name="connsiteY32" fmla="*/ 323850 h 481013"/>
                <a:gd name="connsiteX33" fmla="*/ 140494 w 259556"/>
                <a:gd name="connsiteY33" fmla="*/ 340519 h 481013"/>
                <a:gd name="connsiteX34" fmla="*/ 102394 w 259556"/>
                <a:gd name="connsiteY34" fmla="*/ 347663 h 481013"/>
                <a:gd name="connsiteX35" fmla="*/ 69056 w 259556"/>
                <a:gd name="connsiteY35" fmla="*/ 364331 h 481013"/>
                <a:gd name="connsiteX36" fmla="*/ 90487 w 259556"/>
                <a:gd name="connsiteY36" fmla="*/ 383381 h 481013"/>
                <a:gd name="connsiteX37" fmla="*/ 83344 w 259556"/>
                <a:gd name="connsiteY37" fmla="*/ 402431 h 481013"/>
                <a:gd name="connsiteX38" fmla="*/ 100012 w 259556"/>
                <a:gd name="connsiteY38" fmla="*/ 416719 h 481013"/>
                <a:gd name="connsiteX39" fmla="*/ 97631 w 259556"/>
                <a:gd name="connsiteY39" fmla="*/ 433388 h 481013"/>
                <a:gd name="connsiteX40" fmla="*/ 128587 w 259556"/>
                <a:gd name="connsiteY40" fmla="*/ 481013 h 481013"/>
                <a:gd name="connsiteX41" fmla="*/ 142875 w 259556"/>
                <a:gd name="connsiteY41" fmla="*/ 450056 h 481013"/>
                <a:gd name="connsiteX42" fmla="*/ 150019 w 259556"/>
                <a:gd name="connsiteY42" fmla="*/ 452438 h 481013"/>
                <a:gd name="connsiteX43" fmla="*/ 147637 w 259556"/>
                <a:gd name="connsiteY43" fmla="*/ 423863 h 481013"/>
                <a:gd name="connsiteX44" fmla="*/ 152400 w 259556"/>
                <a:gd name="connsiteY44" fmla="*/ 409575 h 481013"/>
                <a:gd name="connsiteX45" fmla="*/ 178594 w 259556"/>
                <a:gd name="connsiteY45" fmla="*/ 450056 h 481013"/>
                <a:gd name="connsiteX46" fmla="*/ 176212 w 259556"/>
                <a:gd name="connsiteY46" fmla="*/ 411956 h 481013"/>
                <a:gd name="connsiteX47" fmla="*/ 183356 w 259556"/>
                <a:gd name="connsiteY47" fmla="*/ 381000 h 481013"/>
                <a:gd name="connsiteX48" fmla="*/ 192881 w 259556"/>
                <a:gd name="connsiteY48" fmla="*/ 342900 h 481013"/>
                <a:gd name="connsiteX49" fmla="*/ 204787 w 259556"/>
                <a:gd name="connsiteY49" fmla="*/ 392906 h 481013"/>
                <a:gd name="connsiteX50" fmla="*/ 219075 w 259556"/>
                <a:gd name="connsiteY50" fmla="*/ 350044 h 481013"/>
                <a:gd name="connsiteX51" fmla="*/ 240506 w 259556"/>
                <a:gd name="connsiteY51" fmla="*/ 328613 h 481013"/>
                <a:gd name="connsiteX52" fmla="*/ 259556 w 259556"/>
                <a:gd name="connsiteY52" fmla="*/ 314325 h 481013"/>
                <a:gd name="connsiteX53" fmla="*/ 259556 w 259556"/>
                <a:gd name="connsiteY53" fmla="*/ 290513 h 481013"/>
                <a:gd name="connsiteX54" fmla="*/ 242887 w 259556"/>
                <a:gd name="connsiteY54" fmla="*/ 304800 h 481013"/>
                <a:gd name="connsiteX55" fmla="*/ 226219 w 259556"/>
                <a:gd name="connsiteY55" fmla="*/ 271463 h 481013"/>
                <a:gd name="connsiteX56" fmla="*/ 211931 w 259556"/>
                <a:gd name="connsiteY56" fmla="*/ 280988 h 481013"/>
                <a:gd name="connsiteX57" fmla="*/ 211931 w 259556"/>
                <a:gd name="connsiteY57" fmla="*/ 280988 h 481013"/>
                <a:gd name="connsiteX58" fmla="*/ 209550 w 259556"/>
                <a:gd name="connsiteY58" fmla="*/ 223838 h 481013"/>
                <a:gd name="connsiteX59" fmla="*/ 202406 w 259556"/>
                <a:gd name="connsiteY59" fmla="*/ 164306 h 481013"/>
                <a:gd name="connsiteX60" fmla="*/ 173832 w 259556"/>
                <a:gd name="connsiteY60" fmla="*/ 204788 h 481013"/>
                <a:gd name="connsiteX61" fmla="*/ 157162 w 259556"/>
                <a:gd name="connsiteY61" fmla="*/ 150019 h 481013"/>
                <a:gd name="connsiteX0" fmla="*/ 157162 w 259556"/>
                <a:gd name="connsiteY0" fmla="*/ 150019 h 481013"/>
                <a:gd name="connsiteX1" fmla="*/ 152399 w 259556"/>
                <a:gd name="connsiteY1" fmla="*/ 133351 h 481013"/>
                <a:gd name="connsiteX2" fmla="*/ 107155 w 259556"/>
                <a:gd name="connsiteY2" fmla="*/ 119063 h 481013"/>
                <a:gd name="connsiteX3" fmla="*/ 97631 w 259556"/>
                <a:gd name="connsiteY3" fmla="*/ 35719 h 481013"/>
                <a:gd name="connsiteX4" fmla="*/ 61912 w 259556"/>
                <a:gd name="connsiteY4" fmla="*/ 0 h 481013"/>
                <a:gd name="connsiteX5" fmla="*/ 38100 w 259556"/>
                <a:gd name="connsiteY5" fmla="*/ 19050 h 481013"/>
                <a:gd name="connsiteX6" fmla="*/ 78581 w 259556"/>
                <a:gd name="connsiteY6" fmla="*/ 42863 h 481013"/>
                <a:gd name="connsiteX7" fmla="*/ 73819 w 259556"/>
                <a:gd name="connsiteY7" fmla="*/ 64294 h 481013"/>
                <a:gd name="connsiteX8" fmla="*/ 54769 w 259556"/>
                <a:gd name="connsiteY8" fmla="*/ 57150 h 481013"/>
                <a:gd name="connsiteX9" fmla="*/ 45244 w 259556"/>
                <a:gd name="connsiteY9" fmla="*/ 73819 h 481013"/>
                <a:gd name="connsiteX10" fmla="*/ 21431 w 259556"/>
                <a:gd name="connsiteY10" fmla="*/ 61913 h 481013"/>
                <a:gd name="connsiteX11" fmla="*/ 19050 w 259556"/>
                <a:gd name="connsiteY11" fmla="*/ 85725 h 481013"/>
                <a:gd name="connsiteX12" fmla="*/ 50006 w 259556"/>
                <a:gd name="connsiteY12" fmla="*/ 114300 h 481013"/>
                <a:gd name="connsiteX13" fmla="*/ 64294 w 259556"/>
                <a:gd name="connsiteY13" fmla="*/ 138113 h 481013"/>
                <a:gd name="connsiteX14" fmla="*/ 54769 w 259556"/>
                <a:gd name="connsiteY14" fmla="*/ 147638 h 481013"/>
                <a:gd name="connsiteX15" fmla="*/ 21431 w 259556"/>
                <a:gd name="connsiteY15" fmla="*/ 140494 h 481013"/>
                <a:gd name="connsiteX16" fmla="*/ 0 w 259556"/>
                <a:gd name="connsiteY16" fmla="*/ 152400 h 481013"/>
                <a:gd name="connsiteX17" fmla="*/ 16669 w 259556"/>
                <a:gd name="connsiteY17" fmla="*/ 185738 h 481013"/>
                <a:gd name="connsiteX18" fmla="*/ 52387 w 259556"/>
                <a:gd name="connsiteY18" fmla="*/ 190500 h 481013"/>
                <a:gd name="connsiteX19" fmla="*/ 45244 w 259556"/>
                <a:gd name="connsiteY19" fmla="*/ 211931 h 481013"/>
                <a:gd name="connsiteX20" fmla="*/ 21431 w 259556"/>
                <a:gd name="connsiteY20" fmla="*/ 233363 h 481013"/>
                <a:gd name="connsiteX21" fmla="*/ 21431 w 259556"/>
                <a:gd name="connsiteY21" fmla="*/ 233363 h 481013"/>
                <a:gd name="connsiteX22" fmla="*/ 38100 w 259556"/>
                <a:gd name="connsiteY22" fmla="*/ 269081 h 481013"/>
                <a:gd name="connsiteX23" fmla="*/ 66675 w 259556"/>
                <a:gd name="connsiteY23" fmla="*/ 266700 h 481013"/>
                <a:gd name="connsiteX24" fmla="*/ 50006 w 259556"/>
                <a:gd name="connsiteY24" fmla="*/ 283369 h 481013"/>
                <a:gd name="connsiteX25" fmla="*/ 28575 w 259556"/>
                <a:gd name="connsiteY25" fmla="*/ 295275 h 481013"/>
                <a:gd name="connsiteX26" fmla="*/ 42862 w 259556"/>
                <a:gd name="connsiteY26" fmla="*/ 307181 h 481013"/>
                <a:gd name="connsiteX27" fmla="*/ 61912 w 259556"/>
                <a:gd name="connsiteY27" fmla="*/ 304800 h 481013"/>
                <a:gd name="connsiteX28" fmla="*/ 71437 w 259556"/>
                <a:gd name="connsiteY28" fmla="*/ 319088 h 481013"/>
                <a:gd name="connsiteX29" fmla="*/ 85725 w 259556"/>
                <a:gd name="connsiteY29" fmla="*/ 304800 h 481013"/>
                <a:gd name="connsiteX30" fmla="*/ 123825 w 259556"/>
                <a:gd name="connsiteY30" fmla="*/ 307181 h 481013"/>
                <a:gd name="connsiteX31" fmla="*/ 104775 w 259556"/>
                <a:gd name="connsiteY31" fmla="*/ 326231 h 481013"/>
                <a:gd name="connsiteX32" fmla="*/ 147637 w 259556"/>
                <a:gd name="connsiteY32" fmla="*/ 323850 h 481013"/>
                <a:gd name="connsiteX33" fmla="*/ 140494 w 259556"/>
                <a:gd name="connsiteY33" fmla="*/ 340519 h 481013"/>
                <a:gd name="connsiteX34" fmla="*/ 102394 w 259556"/>
                <a:gd name="connsiteY34" fmla="*/ 347663 h 481013"/>
                <a:gd name="connsiteX35" fmla="*/ 69056 w 259556"/>
                <a:gd name="connsiteY35" fmla="*/ 364331 h 481013"/>
                <a:gd name="connsiteX36" fmla="*/ 90487 w 259556"/>
                <a:gd name="connsiteY36" fmla="*/ 383381 h 481013"/>
                <a:gd name="connsiteX37" fmla="*/ 83344 w 259556"/>
                <a:gd name="connsiteY37" fmla="*/ 402431 h 481013"/>
                <a:gd name="connsiteX38" fmla="*/ 100012 w 259556"/>
                <a:gd name="connsiteY38" fmla="*/ 416719 h 481013"/>
                <a:gd name="connsiteX39" fmla="*/ 97631 w 259556"/>
                <a:gd name="connsiteY39" fmla="*/ 433388 h 481013"/>
                <a:gd name="connsiteX40" fmla="*/ 128587 w 259556"/>
                <a:gd name="connsiteY40" fmla="*/ 481013 h 481013"/>
                <a:gd name="connsiteX41" fmla="*/ 142875 w 259556"/>
                <a:gd name="connsiteY41" fmla="*/ 450056 h 481013"/>
                <a:gd name="connsiteX42" fmla="*/ 150019 w 259556"/>
                <a:gd name="connsiteY42" fmla="*/ 452438 h 481013"/>
                <a:gd name="connsiteX43" fmla="*/ 147637 w 259556"/>
                <a:gd name="connsiteY43" fmla="*/ 423863 h 481013"/>
                <a:gd name="connsiteX44" fmla="*/ 152400 w 259556"/>
                <a:gd name="connsiteY44" fmla="*/ 409575 h 481013"/>
                <a:gd name="connsiteX45" fmla="*/ 178594 w 259556"/>
                <a:gd name="connsiteY45" fmla="*/ 450056 h 481013"/>
                <a:gd name="connsiteX46" fmla="*/ 176212 w 259556"/>
                <a:gd name="connsiteY46" fmla="*/ 411956 h 481013"/>
                <a:gd name="connsiteX47" fmla="*/ 183356 w 259556"/>
                <a:gd name="connsiteY47" fmla="*/ 381000 h 481013"/>
                <a:gd name="connsiteX48" fmla="*/ 192881 w 259556"/>
                <a:gd name="connsiteY48" fmla="*/ 342900 h 481013"/>
                <a:gd name="connsiteX49" fmla="*/ 204787 w 259556"/>
                <a:gd name="connsiteY49" fmla="*/ 392906 h 481013"/>
                <a:gd name="connsiteX50" fmla="*/ 219075 w 259556"/>
                <a:gd name="connsiteY50" fmla="*/ 350044 h 481013"/>
                <a:gd name="connsiteX51" fmla="*/ 240506 w 259556"/>
                <a:gd name="connsiteY51" fmla="*/ 328613 h 481013"/>
                <a:gd name="connsiteX52" fmla="*/ 259556 w 259556"/>
                <a:gd name="connsiteY52" fmla="*/ 314325 h 481013"/>
                <a:gd name="connsiteX53" fmla="*/ 259556 w 259556"/>
                <a:gd name="connsiteY53" fmla="*/ 290513 h 481013"/>
                <a:gd name="connsiteX54" fmla="*/ 242887 w 259556"/>
                <a:gd name="connsiteY54" fmla="*/ 304800 h 481013"/>
                <a:gd name="connsiteX55" fmla="*/ 226219 w 259556"/>
                <a:gd name="connsiteY55" fmla="*/ 271463 h 481013"/>
                <a:gd name="connsiteX56" fmla="*/ 211931 w 259556"/>
                <a:gd name="connsiteY56" fmla="*/ 280988 h 481013"/>
                <a:gd name="connsiteX57" fmla="*/ 211931 w 259556"/>
                <a:gd name="connsiteY57" fmla="*/ 280988 h 481013"/>
                <a:gd name="connsiteX58" fmla="*/ 209550 w 259556"/>
                <a:gd name="connsiteY58" fmla="*/ 223838 h 481013"/>
                <a:gd name="connsiteX59" fmla="*/ 202406 w 259556"/>
                <a:gd name="connsiteY59" fmla="*/ 164306 h 481013"/>
                <a:gd name="connsiteX60" fmla="*/ 173832 w 259556"/>
                <a:gd name="connsiteY60" fmla="*/ 204788 h 481013"/>
                <a:gd name="connsiteX61" fmla="*/ 157162 w 259556"/>
                <a:gd name="connsiteY61" fmla="*/ 150019 h 48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59556" h="481013">
                  <a:moveTo>
                    <a:pt x="157162" y="150019"/>
                  </a:moveTo>
                  <a:lnTo>
                    <a:pt x="152399" y="133351"/>
                  </a:lnTo>
                  <a:lnTo>
                    <a:pt x="107155" y="119063"/>
                  </a:lnTo>
                  <a:lnTo>
                    <a:pt x="97631" y="35719"/>
                  </a:lnTo>
                  <a:lnTo>
                    <a:pt x="61912" y="0"/>
                  </a:lnTo>
                  <a:lnTo>
                    <a:pt x="38100" y="19050"/>
                  </a:lnTo>
                  <a:lnTo>
                    <a:pt x="78581" y="42863"/>
                  </a:lnTo>
                  <a:lnTo>
                    <a:pt x="73819" y="64294"/>
                  </a:lnTo>
                  <a:lnTo>
                    <a:pt x="54769" y="57150"/>
                  </a:lnTo>
                  <a:lnTo>
                    <a:pt x="45244" y="73819"/>
                  </a:lnTo>
                  <a:lnTo>
                    <a:pt x="21431" y="61913"/>
                  </a:lnTo>
                  <a:lnTo>
                    <a:pt x="19050" y="85725"/>
                  </a:lnTo>
                  <a:lnTo>
                    <a:pt x="50006" y="114300"/>
                  </a:lnTo>
                  <a:lnTo>
                    <a:pt x="64294" y="138113"/>
                  </a:lnTo>
                  <a:lnTo>
                    <a:pt x="54769" y="147638"/>
                  </a:lnTo>
                  <a:lnTo>
                    <a:pt x="21431" y="140494"/>
                  </a:lnTo>
                  <a:lnTo>
                    <a:pt x="0" y="152400"/>
                  </a:lnTo>
                  <a:lnTo>
                    <a:pt x="16669" y="185738"/>
                  </a:lnTo>
                  <a:lnTo>
                    <a:pt x="52387" y="190500"/>
                  </a:lnTo>
                  <a:lnTo>
                    <a:pt x="45244" y="211931"/>
                  </a:lnTo>
                  <a:lnTo>
                    <a:pt x="21431" y="233363"/>
                  </a:lnTo>
                  <a:lnTo>
                    <a:pt x="21431" y="233363"/>
                  </a:lnTo>
                  <a:lnTo>
                    <a:pt x="38100" y="269081"/>
                  </a:lnTo>
                  <a:lnTo>
                    <a:pt x="66675" y="266700"/>
                  </a:lnTo>
                  <a:lnTo>
                    <a:pt x="50006" y="283369"/>
                  </a:lnTo>
                  <a:lnTo>
                    <a:pt x="28575" y="295275"/>
                  </a:lnTo>
                  <a:lnTo>
                    <a:pt x="42862" y="307181"/>
                  </a:lnTo>
                  <a:lnTo>
                    <a:pt x="61912" y="304800"/>
                  </a:lnTo>
                  <a:lnTo>
                    <a:pt x="71437" y="319088"/>
                  </a:lnTo>
                  <a:lnTo>
                    <a:pt x="85725" y="304800"/>
                  </a:lnTo>
                  <a:lnTo>
                    <a:pt x="123825" y="307181"/>
                  </a:lnTo>
                  <a:lnTo>
                    <a:pt x="104775" y="326231"/>
                  </a:lnTo>
                  <a:lnTo>
                    <a:pt x="147637" y="323850"/>
                  </a:lnTo>
                  <a:lnTo>
                    <a:pt x="140494" y="340519"/>
                  </a:lnTo>
                  <a:lnTo>
                    <a:pt x="102394" y="347663"/>
                  </a:lnTo>
                  <a:lnTo>
                    <a:pt x="69056" y="364331"/>
                  </a:lnTo>
                  <a:lnTo>
                    <a:pt x="90487" y="383381"/>
                  </a:lnTo>
                  <a:lnTo>
                    <a:pt x="83344" y="402431"/>
                  </a:lnTo>
                  <a:lnTo>
                    <a:pt x="100012" y="416719"/>
                  </a:lnTo>
                  <a:lnTo>
                    <a:pt x="97631" y="433388"/>
                  </a:lnTo>
                  <a:lnTo>
                    <a:pt x="128587" y="481013"/>
                  </a:lnTo>
                  <a:lnTo>
                    <a:pt x="142875" y="450056"/>
                  </a:lnTo>
                  <a:lnTo>
                    <a:pt x="150019" y="452438"/>
                  </a:lnTo>
                  <a:lnTo>
                    <a:pt x="147637" y="423863"/>
                  </a:lnTo>
                  <a:lnTo>
                    <a:pt x="152400" y="409575"/>
                  </a:lnTo>
                  <a:lnTo>
                    <a:pt x="178594" y="450056"/>
                  </a:lnTo>
                  <a:lnTo>
                    <a:pt x="176212" y="411956"/>
                  </a:lnTo>
                  <a:lnTo>
                    <a:pt x="183356" y="381000"/>
                  </a:lnTo>
                  <a:lnTo>
                    <a:pt x="192881" y="342900"/>
                  </a:lnTo>
                  <a:lnTo>
                    <a:pt x="204787" y="392906"/>
                  </a:lnTo>
                  <a:lnTo>
                    <a:pt x="219075" y="350044"/>
                  </a:lnTo>
                  <a:lnTo>
                    <a:pt x="240506" y="328613"/>
                  </a:lnTo>
                  <a:lnTo>
                    <a:pt x="259556" y="314325"/>
                  </a:lnTo>
                  <a:lnTo>
                    <a:pt x="259556" y="290513"/>
                  </a:lnTo>
                  <a:lnTo>
                    <a:pt x="242887" y="304800"/>
                  </a:lnTo>
                  <a:lnTo>
                    <a:pt x="226219" y="271463"/>
                  </a:lnTo>
                  <a:lnTo>
                    <a:pt x="211931" y="280988"/>
                  </a:lnTo>
                  <a:lnTo>
                    <a:pt x="211931" y="280988"/>
                  </a:lnTo>
                  <a:cubicBezTo>
                    <a:pt x="211137" y="261938"/>
                    <a:pt x="210344" y="242888"/>
                    <a:pt x="209550" y="223838"/>
                  </a:cubicBezTo>
                  <a:lnTo>
                    <a:pt x="202406" y="164306"/>
                  </a:lnTo>
                  <a:lnTo>
                    <a:pt x="173832" y="204788"/>
                  </a:lnTo>
                  <a:lnTo>
                    <a:pt x="157162" y="1500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0" name="Freeform: Shape 97"/>
            <p:cNvSpPr/>
            <p:nvPr/>
          </p:nvSpPr>
          <p:spPr bwMode="auto">
            <a:xfrm>
              <a:off x="1883569" y="1621631"/>
              <a:ext cx="421481" cy="259557"/>
            </a:xfrm>
            <a:custGeom>
              <a:avLst/>
              <a:gdLst>
                <a:gd name="connsiteX0" fmla="*/ 366712 w 421481"/>
                <a:gd name="connsiteY0" fmla="*/ 257175 h 259557"/>
                <a:gd name="connsiteX1" fmla="*/ 395287 w 421481"/>
                <a:gd name="connsiteY1" fmla="*/ 204788 h 259557"/>
                <a:gd name="connsiteX2" fmla="*/ 421481 w 421481"/>
                <a:gd name="connsiteY2" fmla="*/ 183357 h 259557"/>
                <a:gd name="connsiteX3" fmla="*/ 404812 w 421481"/>
                <a:gd name="connsiteY3" fmla="*/ 157163 h 259557"/>
                <a:gd name="connsiteX4" fmla="*/ 373856 w 421481"/>
                <a:gd name="connsiteY4" fmla="*/ 126207 h 259557"/>
                <a:gd name="connsiteX5" fmla="*/ 354806 w 421481"/>
                <a:gd name="connsiteY5" fmla="*/ 145257 h 259557"/>
                <a:gd name="connsiteX6" fmla="*/ 335756 w 421481"/>
                <a:gd name="connsiteY6" fmla="*/ 135732 h 259557"/>
                <a:gd name="connsiteX7" fmla="*/ 311944 w 421481"/>
                <a:gd name="connsiteY7" fmla="*/ 147638 h 259557"/>
                <a:gd name="connsiteX8" fmla="*/ 290512 w 421481"/>
                <a:gd name="connsiteY8" fmla="*/ 159544 h 259557"/>
                <a:gd name="connsiteX9" fmla="*/ 278606 w 421481"/>
                <a:gd name="connsiteY9" fmla="*/ 178594 h 259557"/>
                <a:gd name="connsiteX10" fmla="*/ 257175 w 421481"/>
                <a:gd name="connsiteY10" fmla="*/ 176213 h 259557"/>
                <a:gd name="connsiteX11" fmla="*/ 233362 w 421481"/>
                <a:gd name="connsiteY11" fmla="*/ 161925 h 259557"/>
                <a:gd name="connsiteX12" fmla="*/ 200025 w 421481"/>
                <a:gd name="connsiteY12" fmla="*/ 171450 h 259557"/>
                <a:gd name="connsiteX13" fmla="*/ 180975 w 421481"/>
                <a:gd name="connsiteY13" fmla="*/ 173832 h 259557"/>
                <a:gd name="connsiteX14" fmla="*/ 171450 w 421481"/>
                <a:gd name="connsiteY14" fmla="*/ 154782 h 259557"/>
                <a:gd name="connsiteX15" fmla="*/ 176212 w 421481"/>
                <a:gd name="connsiteY15" fmla="*/ 133350 h 259557"/>
                <a:gd name="connsiteX16" fmla="*/ 161925 w 421481"/>
                <a:gd name="connsiteY16" fmla="*/ 128588 h 259557"/>
                <a:gd name="connsiteX17" fmla="*/ 135731 w 421481"/>
                <a:gd name="connsiteY17" fmla="*/ 135732 h 259557"/>
                <a:gd name="connsiteX18" fmla="*/ 140494 w 421481"/>
                <a:gd name="connsiteY18" fmla="*/ 111919 h 259557"/>
                <a:gd name="connsiteX19" fmla="*/ 121444 w 421481"/>
                <a:gd name="connsiteY19" fmla="*/ 78582 h 259557"/>
                <a:gd name="connsiteX20" fmla="*/ 176212 w 421481"/>
                <a:gd name="connsiteY20" fmla="*/ 92869 h 259557"/>
                <a:gd name="connsiteX21" fmla="*/ 133350 w 421481"/>
                <a:gd name="connsiteY21" fmla="*/ 69057 h 259557"/>
                <a:gd name="connsiteX22" fmla="*/ 145256 w 421481"/>
                <a:gd name="connsiteY22" fmla="*/ 47625 h 259557"/>
                <a:gd name="connsiteX23" fmla="*/ 104775 w 421481"/>
                <a:gd name="connsiteY23" fmla="*/ 50007 h 259557"/>
                <a:gd name="connsiteX24" fmla="*/ 85725 w 421481"/>
                <a:gd name="connsiteY24" fmla="*/ 61913 h 259557"/>
                <a:gd name="connsiteX25" fmla="*/ 83344 w 421481"/>
                <a:gd name="connsiteY25" fmla="*/ 16669 h 259557"/>
                <a:gd name="connsiteX26" fmla="*/ 50006 w 421481"/>
                <a:gd name="connsiteY26" fmla="*/ 14288 h 259557"/>
                <a:gd name="connsiteX27" fmla="*/ 21431 w 421481"/>
                <a:gd name="connsiteY27" fmla="*/ 0 h 259557"/>
                <a:gd name="connsiteX28" fmla="*/ 0 w 421481"/>
                <a:gd name="connsiteY28" fmla="*/ 21432 h 259557"/>
                <a:gd name="connsiteX29" fmla="*/ 23812 w 421481"/>
                <a:gd name="connsiteY29" fmla="*/ 52388 h 259557"/>
                <a:gd name="connsiteX30" fmla="*/ 50006 w 421481"/>
                <a:gd name="connsiteY30" fmla="*/ 78582 h 259557"/>
                <a:gd name="connsiteX31" fmla="*/ 61912 w 421481"/>
                <a:gd name="connsiteY31" fmla="*/ 76200 h 259557"/>
                <a:gd name="connsiteX32" fmla="*/ 90487 w 421481"/>
                <a:gd name="connsiteY32" fmla="*/ 76200 h 259557"/>
                <a:gd name="connsiteX33" fmla="*/ 104775 w 421481"/>
                <a:gd name="connsiteY33" fmla="*/ 111919 h 259557"/>
                <a:gd name="connsiteX34" fmla="*/ 126206 w 421481"/>
                <a:gd name="connsiteY34" fmla="*/ 154782 h 259557"/>
                <a:gd name="connsiteX35" fmla="*/ 111919 w 421481"/>
                <a:gd name="connsiteY35" fmla="*/ 190500 h 259557"/>
                <a:gd name="connsiteX36" fmla="*/ 119062 w 421481"/>
                <a:gd name="connsiteY36" fmla="*/ 207169 h 259557"/>
                <a:gd name="connsiteX37" fmla="*/ 116681 w 421481"/>
                <a:gd name="connsiteY37" fmla="*/ 235744 h 259557"/>
                <a:gd name="connsiteX38" fmla="*/ 140494 w 421481"/>
                <a:gd name="connsiteY38" fmla="*/ 221457 h 259557"/>
                <a:gd name="connsiteX39" fmla="*/ 173831 w 421481"/>
                <a:gd name="connsiteY39" fmla="*/ 250032 h 259557"/>
                <a:gd name="connsiteX40" fmla="*/ 178594 w 421481"/>
                <a:gd name="connsiteY40" fmla="*/ 221457 h 259557"/>
                <a:gd name="connsiteX41" fmla="*/ 207169 w 421481"/>
                <a:gd name="connsiteY41" fmla="*/ 223838 h 259557"/>
                <a:gd name="connsiteX42" fmla="*/ 209550 w 421481"/>
                <a:gd name="connsiteY42" fmla="*/ 257175 h 259557"/>
                <a:gd name="connsiteX43" fmla="*/ 242887 w 421481"/>
                <a:gd name="connsiteY43" fmla="*/ 259557 h 259557"/>
                <a:gd name="connsiteX44" fmla="*/ 288131 w 421481"/>
                <a:gd name="connsiteY44" fmla="*/ 238125 h 259557"/>
                <a:gd name="connsiteX45" fmla="*/ 295275 w 421481"/>
                <a:gd name="connsiteY45" fmla="*/ 252413 h 259557"/>
                <a:gd name="connsiteX46" fmla="*/ 366712 w 421481"/>
                <a:gd name="connsiteY46" fmla="*/ 257175 h 259557"/>
                <a:gd name="connsiteX0" fmla="*/ 366712 w 421481"/>
                <a:gd name="connsiteY0" fmla="*/ 257175 h 259557"/>
                <a:gd name="connsiteX1" fmla="*/ 395287 w 421481"/>
                <a:gd name="connsiteY1" fmla="*/ 204788 h 259557"/>
                <a:gd name="connsiteX2" fmla="*/ 421481 w 421481"/>
                <a:gd name="connsiteY2" fmla="*/ 183357 h 259557"/>
                <a:gd name="connsiteX3" fmla="*/ 404812 w 421481"/>
                <a:gd name="connsiteY3" fmla="*/ 157163 h 259557"/>
                <a:gd name="connsiteX4" fmla="*/ 373856 w 421481"/>
                <a:gd name="connsiteY4" fmla="*/ 126207 h 259557"/>
                <a:gd name="connsiteX5" fmla="*/ 354806 w 421481"/>
                <a:gd name="connsiteY5" fmla="*/ 145257 h 259557"/>
                <a:gd name="connsiteX6" fmla="*/ 335756 w 421481"/>
                <a:gd name="connsiteY6" fmla="*/ 135732 h 259557"/>
                <a:gd name="connsiteX7" fmla="*/ 311944 w 421481"/>
                <a:gd name="connsiteY7" fmla="*/ 147638 h 259557"/>
                <a:gd name="connsiteX8" fmla="*/ 290512 w 421481"/>
                <a:gd name="connsiteY8" fmla="*/ 159544 h 259557"/>
                <a:gd name="connsiteX9" fmla="*/ 278606 w 421481"/>
                <a:gd name="connsiteY9" fmla="*/ 178594 h 259557"/>
                <a:gd name="connsiteX10" fmla="*/ 257175 w 421481"/>
                <a:gd name="connsiteY10" fmla="*/ 176213 h 259557"/>
                <a:gd name="connsiteX11" fmla="*/ 233362 w 421481"/>
                <a:gd name="connsiteY11" fmla="*/ 161925 h 259557"/>
                <a:gd name="connsiteX12" fmla="*/ 200025 w 421481"/>
                <a:gd name="connsiteY12" fmla="*/ 171450 h 259557"/>
                <a:gd name="connsiteX13" fmla="*/ 180975 w 421481"/>
                <a:gd name="connsiteY13" fmla="*/ 173832 h 259557"/>
                <a:gd name="connsiteX14" fmla="*/ 171450 w 421481"/>
                <a:gd name="connsiteY14" fmla="*/ 154782 h 259557"/>
                <a:gd name="connsiteX15" fmla="*/ 176212 w 421481"/>
                <a:gd name="connsiteY15" fmla="*/ 133350 h 259557"/>
                <a:gd name="connsiteX16" fmla="*/ 161925 w 421481"/>
                <a:gd name="connsiteY16" fmla="*/ 128588 h 259557"/>
                <a:gd name="connsiteX17" fmla="*/ 135731 w 421481"/>
                <a:gd name="connsiteY17" fmla="*/ 135732 h 259557"/>
                <a:gd name="connsiteX18" fmla="*/ 140494 w 421481"/>
                <a:gd name="connsiteY18" fmla="*/ 111919 h 259557"/>
                <a:gd name="connsiteX19" fmla="*/ 121444 w 421481"/>
                <a:gd name="connsiteY19" fmla="*/ 78582 h 259557"/>
                <a:gd name="connsiteX20" fmla="*/ 176212 w 421481"/>
                <a:gd name="connsiteY20" fmla="*/ 92869 h 259557"/>
                <a:gd name="connsiteX21" fmla="*/ 133350 w 421481"/>
                <a:gd name="connsiteY21" fmla="*/ 69057 h 259557"/>
                <a:gd name="connsiteX22" fmla="*/ 145256 w 421481"/>
                <a:gd name="connsiteY22" fmla="*/ 47625 h 259557"/>
                <a:gd name="connsiteX23" fmla="*/ 104775 w 421481"/>
                <a:gd name="connsiteY23" fmla="*/ 50007 h 259557"/>
                <a:gd name="connsiteX24" fmla="*/ 85725 w 421481"/>
                <a:gd name="connsiteY24" fmla="*/ 61913 h 259557"/>
                <a:gd name="connsiteX25" fmla="*/ 83344 w 421481"/>
                <a:gd name="connsiteY25" fmla="*/ 16669 h 259557"/>
                <a:gd name="connsiteX26" fmla="*/ 50006 w 421481"/>
                <a:gd name="connsiteY26" fmla="*/ 14288 h 259557"/>
                <a:gd name="connsiteX27" fmla="*/ 21431 w 421481"/>
                <a:gd name="connsiteY27" fmla="*/ 0 h 259557"/>
                <a:gd name="connsiteX28" fmla="*/ 0 w 421481"/>
                <a:gd name="connsiteY28" fmla="*/ 21432 h 259557"/>
                <a:gd name="connsiteX29" fmla="*/ 23812 w 421481"/>
                <a:gd name="connsiteY29" fmla="*/ 52388 h 259557"/>
                <a:gd name="connsiteX30" fmla="*/ 50006 w 421481"/>
                <a:gd name="connsiteY30" fmla="*/ 78582 h 259557"/>
                <a:gd name="connsiteX31" fmla="*/ 61912 w 421481"/>
                <a:gd name="connsiteY31" fmla="*/ 76200 h 259557"/>
                <a:gd name="connsiteX32" fmla="*/ 90487 w 421481"/>
                <a:gd name="connsiteY32" fmla="*/ 76200 h 259557"/>
                <a:gd name="connsiteX33" fmla="*/ 104775 w 421481"/>
                <a:gd name="connsiteY33" fmla="*/ 111919 h 259557"/>
                <a:gd name="connsiteX34" fmla="*/ 126206 w 421481"/>
                <a:gd name="connsiteY34" fmla="*/ 154782 h 259557"/>
                <a:gd name="connsiteX35" fmla="*/ 111919 w 421481"/>
                <a:gd name="connsiteY35" fmla="*/ 190500 h 259557"/>
                <a:gd name="connsiteX36" fmla="*/ 119062 w 421481"/>
                <a:gd name="connsiteY36" fmla="*/ 207169 h 259557"/>
                <a:gd name="connsiteX37" fmla="*/ 116681 w 421481"/>
                <a:gd name="connsiteY37" fmla="*/ 235744 h 259557"/>
                <a:gd name="connsiteX38" fmla="*/ 140494 w 421481"/>
                <a:gd name="connsiteY38" fmla="*/ 221457 h 259557"/>
                <a:gd name="connsiteX39" fmla="*/ 173831 w 421481"/>
                <a:gd name="connsiteY39" fmla="*/ 250032 h 259557"/>
                <a:gd name="connsiteX40" fmla="*/ 178594 w 421481"/>
                <a:gd name="connsiteY40" fmla="*/ 221457 h 259557"/>
                <a:gd name="connsiteX41" fmla="*/ 207169 w 421481"/>
                <a:gd name="connsiteY41" fmla="*/ 223838 h 259557"/>
                <a:gd name="connsiteX42" fmla="*/ 209550 w 421481"/>
                <a:gd name="connsiteY42" fmla="*/ 257175 h 259557"/>
                <a:gd name="connsiteX43" fmla="*/ 242887 w 421481"/>
                <a:gd name="connsiteY43" fmla="*/ 259557 h 259557"/>
                <a:gd name="connsiteX44" fmla="*/ 288131 w 421481"/>
                <a:gd name="connsiteY44" fmla="*/ 238125 h 259557"/>
                <a:gd name="connsiteX45" fmla="*/ 295275 w 421481"/>
                <a:gd name="connsiteY45" fmla="*/ 252413 h 259557"/>
                <a:gd name="connsiteX46" fmla="*/ 342900 w 421481"/>
                <a:gd name="connsiteY46" fmla="*/ 254794 h 259557"/>
                <a:gd name="connsiteX47" fmla="*/ 366712 w 421481"/>
                <a:gd name="connsiteY47" fmla="*/ 257175 h 259557"/>
                <a:gd name="connsiteX0" fmla="*/ 366712 w 421481"/>
                <a:gd name="connsiteY0" fmla="*/ 257175 h 259557"/>
                <a:gd name="connsiteX1" fmla="*/ 395287 w 421481"/>
                <a:gd name="connsiteY1" fmla="*/ 204788 h 259557"/>
                <a:gd name="connsiteX2" fmla="*/ 421481 w 421481"/>
                <a:gd name="connsiteY2" fmla="*/ 183357 h 259557"/>
                <a:gd name="connsiteX3" fmla="*/ 404812 w 421481"/>
                <a:gd name="connsiteY3" fmla="*/ 157163 h 259557"/>
                <a:gd name="connsiteX4" fmla="*/ 373856 w 421481"/>
                <a:gd name="connsiteY4" fmla="*/ 126207 h 259557"/>
                <a:gd name="connsiteX5" fmla="*/ 354806 w 421481"/>
                <a:gd name="connsiteY5" fmla="*/ 145257 h 259557"/>
                <a:gd name="connsiteX6" fmla="*/ 335756 w 421481"/>
                <a:gd name="connsiteY6" fmla="*/ 135732 h 259557"/>
                <a:gd name="connsiteX7" fmla="*/ 311944 w 421481"/>
                <a:gd name="connsiteY7" fmla="*/ 147638 h 259557"/>
                <a:gd name="connsiteX8" fmla="*/ 290512 w 421481"/>
                <a:gd name="connsiteY8" fmla="*/ 159544 h 259557"/>
                <a:gd name="connsiteX9" fmla="*/ 278606 w 421481"/>
                <a:gd name="connsiteY9" fmla="*/ 178594 h 259557"/>
                <a:gd name="connsiteX10" fmla="*/ 257175 w 421481"/>
                <a:gd name="connsiteY10" fmla="*/ 176213 h 259557"/>
                <a:gd name="connsiteX11" fmla="*/ 233362 w 421481"/>
                <a:gd name="connsiteY11" fmla="*/ 161925 h 259557"/>
                <a:gd name="connsiteX12" fmla="*/ 200025 w 421481"/>
                <a:gd name="connsiteY12" fmla="*/ 171450 h 259557"/>
                <a:gd name="connsiteX13" fmla="*/ 180975 w 421481"/>
                <a:gd name="connsiteY13" fmla="*/ 173832 h 259557"/>
                <a:gd name="connsiteX14" fmla="*/ 171450 w 421481"/>
                <a:gd name="connsiteY14" fmla="*/ 154782 h 259557"/>
                <a:gd name="connsiteX15" fmla="*/ 176212 w 421481"/>
                <a:gd name="connsiteY15" fmla="*/ 133350 h 259557"/>
                <a:gd name="connsiteX16" fmla="*/ 161925 w 421481"/>
                <a:gd name="connsiteY16" fmla="*/ 128588 h 259557"/>
                <a:gd name="connsiteX17" fmla="*/ 135731 w 421481"/>
                <a:gd name="connsiteY17" fmla="*/ 135732 h 259557"/>
                <a:gd name="connsiteX18" fmla="*/ 140494 w 421481"/>
                <a:gd name="connsiteY18" fmla="*/ 111919 h 259557"/>
                <a:gd name="connsiteX19" fmla="*/ 121444 w 421481"/>
                <a:gd name="connsiteY19" fmla="*/ 78582 h 259557"/>
                <a:gd name="connsiteX20" fmla="*/ 176212 w 421481"/>
                <a:gd name="connsiteY20" fmla="*/ 92869 h 259557"/>
                <a:gd name="connsiteX21" fmla="*/ 133350 w 421481"/>
                <a:gd name="connsiteY21" fmla="*/ 69057 h 259557"/>
                <a:gd name="connsiteX22" fmla="*/ 145256 w 421481"/>
                <a:gd name="connsiteY22" fmla="*/ 47625 h 259557"/>
                <a:gd name="connsiteX23" fmla="*/ 104775 w 421481"/>
                <a:gd name="connsiteY23" fmla="*/ 50007 h 259557"/>
                <a:gd name="connsiteX24" fmla="*/ 85725 w 421481"/>
                <a:gd name="connsiteY24" fmla="*/ 61913 h 259557"/>
                <a:gd name="connsiteX25" fmla="*/ 83344 w 421481"/>
                <a:gd name="connsiteY25" fmla="*/ 16669 h 259557"/>
                <a:gd name="connsiteX26" fmla="*/ 50006 w 421481"/>
                <a:gd name="connsiteY26" fmla="*/ 14288 h 259557"/>
                <a:gd name="connsiteX27" fmla="*/ 21431 w 421481"/>
                <a:gd name="connsiteY27" fmla="*/ 0 h 259557"/>
                <a:gd name="connsiteX28" fmla="*/ 0 w 421481"/>
                <a:gd name="connsiteY28" fmla="*/ 21432 h 259557"/>
                <a:gd name="connsiteX29" fmla="*/ 23812 w 421481"/>
                <a:gd name="connsiteY29" fmla="*/ 52388 h 259557"/>
                <a:gd name="connsiteX30" fmla="*/ 50006 w 421481"/>
                <a:gd name="connsiteY30" fmla="*/ 78582 h 259557"/>
                <a:gd name="connsiteX31" fmla="*/ 61912 w 421481"/>
                <a:gd name="connsiteY31" fmla="*/ 76200 h 259557"/>
                <a:gd name="connsiteX32" fmla="*/ 90487 w 421481"/>
                <a:gd name="connsiteY32" fmla="*/ 76200 h 259557"/>
                <a:gd name="connsiteX33" fmla="*/ 104775 w 421481"/>
                <a:gd name="connsiteY33" fmla="*/ 111919 h 259557"/>
                <a:gd name="connsiteX34" fmla="*/ 126206 w 421481"/>
                <a:gd name="connsiteY34" fmla="*/ 154782 h 259557"/>
                <a:gd name="connsiteX35" fmla="*/ 111919 w 421481"/>
                <a:gd name="connsiteY35" fmla="*/ 190500 h 259557"/>
                <a:gd name="connsiteX36" fmla="*/ 119062 w 421481"/>
                <a:gd name="connsiteY36" fmla="*/ 207169 h 259557"/>
                <a:gd name="connsiteX37" fmla="*/ 116681 w 421481"/>
                <a:gd name="connsiteY37" fmla="*/ 235744 h 259557"/>
                <a:gd name="connsiteX38" fmla="*/ 140494 w 421481"/>
                <a:gd name="connsiteY38" fmla="*/ 221457 h 259557"/>
                <a:gd name="connsiteX39" fmla="*/ 173831 w 421481"/>
                <a:gd name="connsiteY39" fmla="*/ 250032 h 259557"/>
                <a:gd name="connsiteX40" fmla="*/ 178594 w 421481"/>
                <a:gd name="connsiteY40" fmla="*/ 221457 h 259557"/>
                <a:gd name="connsiteX41" fmla="*/ 207169 w 421481"/>
                <a:gd name="connsiteY41" fmla="*/ 223838 h 259557"/>
                <a:gd name="connsiteX42" fmla="*/ 209550 w 421481"/>
                <a:gd name="connsiteY42" fmla="*/ 257175 h 259557"/>
                <a:gd name="connsiteX43" fmla="*/ 242887 w 421481"/>
                <a:gd name="connsiteY43" fmla="*/ 259557 h 259557"/>
                <a:gd name="connsiteX44" fmla="*/ 288131 w 421481"/>
                <a:gd name="connsiteY44" fmla="*/ 238125 h 259557"/>
                <a:gd name="connsiteX45" fmla="*/ 295275 w 421481"/>
                <a:gd name="connsiteY45" fmla="*/ 252413 h 259557"/>
                <a:gd name="connsiteX46" fmla="*/ 352425 w 421481"/>
                <a:gd name="connsiteY46" fmla="*/ 214313 h 259557"/>
                <a:gd name="connsiteX47" fmla="*/ 366712 w 421481"/>
                <a:gd name="connsiteY47" fmla="*/ 257175 h 259557"/>
                <a:gd name="connsiteX0" fmla="*/ 366712 w 421481"/>
                <a:gd name="connsiteY0" fmla="*/ 257175 h 259557"/>
                <a:gd name="connsiteX1" fmla="*/ 383381 w 421481"/>
                <a:gd name="connsiteY1" fmla="*/ 230982 h 259557"/>
                <a:gd name="connsiteX2" fmla="*/ 395287 w 421481"/>
                <a:gd name="connsiteY2" fmla="*/ 204788 h 259557"/>
                <a:gd name="connsiteX3" fmla="*/ 421481 w 421481"/>
                <a:gd name="connsiteY3" fmla="*/ 183357 h 259557"/>
                <a:gd name="connsiteX4" fmla="*/ 404812 w 421481"/>
                <a:gd name="connsiteY4" fmla="*/ 157163 h 259557"/>
                <a:gd name="connsiteX5" fmla="*/ 373856 w 421481"/>
                <a:gd name="connsiteY5" fmla="*/ 126207 h 259557"/>
                <a:gd name="connsiteX6" fmla="*/ 354806 w 421481"/>
                <a:gd name="connsiteY6" fmla="*/ 145257 h 259557"/>
                <a:gd name="connsiteX7" fmla="*/ 335756 w 421481"/>
                <a:gd name="connsiteY7" fmla="*/ 135732 h 259557"/>
                <a:gd name="connsiteX8" fmla="*/ 311944 w 421481"/>
                <a:gd name="connsiteY8" fmla="*/ 147638 h 259557"/>
                <a:gd name="connsiteX9" fmla="*/ 290512 w 421481"/>
                <a:gd name="connsiteY9" fmla="*/ 159544 h 259557"/>
                <a:gd name="connsiteX10" fmla="*/ 278606 w 421481"/>
                <a:gd name="connsiteY10" fmla="*/ 178594 h 259557"/>
                <a:gd name="connsiteX11" fmla="*/ 257175 w 421481"/>
                <a:gd name="connsiteY11" fmla="*/ 176213 h 259557"/>
                <a:gd name="connsiteX12" fmla="*/ 233362 w 421481"/>
                <a:gd name="connsiteY12" fmla="*/ 161925 h 259557"/>
                <a:gd name="connsiteX13" fmla="*/ 200025 w 421481"/>
                <a:gd name="connsiteY13" fmla="*/ 171450 h 259557"/>
                <a:gd name="connsiteX14" fmla="*/ 180975 w 421481"/>
                <a:gd name="connsiteY14" fmla="*/ 173832 h 259557"/>
                <a:gd name="connsiteX15" fmla="*/ 171450 w 421481"/>
                <a:gd name="connsiteY15" fmla="*/ 154782 h 259557"/>
                <a:gd name="connsiteX16" fmla="*/ 176212 w 421481"/>
                <a:gd name="connsiteY16" fmla="*/ 133350 h 259557"/>
                <a:gd name="connsiteX17" fmla="*/ 161925 w 421481"/>
                <a:gd name="connsiteY17" fmla="*/ 128588 h 259557"/>
                <a:gd name="connsiteX18" fmla="*/ 135731 w 421481"/>
                <a:gd name="connsiteY18" fmla="*/ 135732 h 259557"/>
                <a:gd name="connsiteX19" fmla="*/ 140494 w 421481"/>
                <a:gd name="connsiteY19" fmla="*/ 111919 h 259557"/>
                <a:gd name="connsiteX20" fmla="*/ 121444 w 421481"/>
                <a:gd name="connsiteY20" fmla="*/ 78582 h 259557"/>
                <a:gd name="connsiteX21" fmla="*/ 176212 w 421481"/>
                <a:gd name="connsiteY21" fmla="*/ 92869 h 259557"/>
                <a:gd name="connsiteX22" fmla="*/ 133350 w 421481"/>
                <a:gd name="connsiteY22" fmla="*/ 69057 h 259557"/>
                <a:gd name="connsiteX23" fmla="*/ 145256 w 421481"/>
                <a:gd name="connsiteY23" fmla="*/ 47625 h 259557"/>
                <a:gd name="connsiteX24" fmla="*/ 104775 w 421481"/>
                <a:gd name="connsiteY24" fmla="*/ 50007 h 259557"/>
                <a:gd name="connsiteX25" fmla="*/ 85725 w 421481"/>
                <a:gd name="connsiteY25" fmla="*/ 61913 h 259557"/>
                <a:gd name="connsiteX26" fmla="*/ 83344 w 421481"/>
                <a:gd name="connsiteY26" fmla="*/ 16669 h 259557"/>
                <a:gd name="connsiteX27" fmla="*/ 50006 w 421481"/>
                <a:gd name="connsiteY27" fmla="*/ 14288 h 259557"/>
                <a:gd name="connsiteX28" fmla="*/ 21431 w 421481"/>
                <a:gd name="connsiteY28" fmla="*/ 0 h 259557"/>
                <a:gd name="connsiteX29" fmla="*/ 0 w 421481"/>
                <a:gd name="connsiteY29" fmla="*/ 21432 h 259557"/>
                <a:gd name="connsiteX30" fmla="*/ 23812 w 421481"/>
                <a:gd name="connsiteY30" fmla="*/ 52388 h 259557"/>
                <a:gd name="connsiteX31" fmla="*/ 50006 w 421481"/>
                <a:gd name="connsiteY31" fmla="*/ 78582 h 259557"/>
                <a:gd name="connsiteX32" fmla="*/ 61912 w 421481"/>
                <a:gd name="connsiteY32" fmla="*/ 76200 h 259557"/>
                <a:gd name="connsiteX33" fmla="*/ 90487 w 421481"/>
                <a:gd name="connsiteY33" fmla="*/ 76200 h 259557"/>
                <a:gd name="connsiteX34" fmla="*/ 104775 w 421481"/>
                <a:gd name="connsiteY34" fmla="*/ 111919 h 259557"/>
                <a:gd name="connsiteX35" fmla="*/ 126206 w 421481"/>
                <a:gd name="connsiteY35" fmla="*/ 154782 h 259557"/>
                <a:gd name="connsiteX36" fmla="*/ 111919 w 421481"/>
                <a:gd name="connsiteY36" fmla="*/ 190500 h 259557"/>
                <a:gd name="connsiteX37" fmla="*/ 119062 w 421481"/>
                <a:gd name="connsiteY37" fmla="*/ 207169 h 259557"/>
                <a:gd name="connsiteX38" fmla="*/ 116681 w 421481"/>
                <a:gd name="connsiteY38" fmla="*/ 235744 h 259557"/>
                <a:gd name="connsiteX39" fmla="*/ 140494 w 421481"/>
                <a:gd name="connsiteY39" fmla="*/ 221457 h 259557"/>
                <a:gd name="connsiteX40" fmla="*/ 173831 w 421481"/>
                <a:gd name="connsiteY40" fmla="*/ 250032 h 259557"/>
                <a:gd name="connsiteX41" fmla="*/ 178594 w 421481"/>
                <a:gd name="connsiteY41" fmla="*/ 221457 h 259557"/>
                <a:gd name="connsiteX42" fmla="*/ 207169 w 421481"/>
                <a:gd name="connsiteY42" fmla="*/ 223838 h 259557"/>
                <a:gd name="connsiteX43" fmla="*/ 209550 w 421481"/>
                <a:gd name="connsiteY43" fmla="*/ 257175 h 259557"/>
                <a:gd name="connsiteX44" fmla="*/ 242887 w 421481"/>
                <a:gd name="connsiteY44" fmla="*/ 259557 h 259557"/>
                <a:gd name="connsiteX45" fmla="*/ 288131 w 421481"/>
                <a:gd name="connsiteY45" fmla="*/ 238125 h 259557"/>
                <a:gd name="connsiteX46" fmla="*/ 295275 w 421481"/>
                <a:gd name="connsiteY46" fmla="*/ 252413 h 259557"/>
                <a:gd name="connsiteX47" fmla="*/ 352425 w 421481"/>
                <a:gd name="connsiteY47" fmla="*/ 214313 h 259557"/>
                <a:gd name="connsiteX48" fmla="*/ 366712 w 421481"/>
                <a:gd name="connsiteY48" fmla="*/ 257175 h 259557"/>
                <a:gd name="connsiteX0" fmla="*/ 366712 w 421481"/>
                <a:gd name="connsiteY0" fmla="*/ 257175 h 259557"/>
                <a:gd name="connsiteX1" fmla="*/ 392906 w 421481"/>
                <a:gd name="connsiteY1" fmla="*/ 245269 h 259557"/>
                <a:gd name="connsiteX2" fmla="*/ 395287 w 421481"/>
                <a:gd name="connsiteY2" fmla="*/ 204788 h 259557"/>
                <a:gd name="connsiteX3" fmla="*/ 421481 w 421481"/>
                <a:gd name="connsiteY3" fmla="*/ 183357 h 259557"/>
                <a:gd name="connsiteX4" fmla="*/ 404812 w 421481"/>
                <a:gd name="connsiteY4" fmla="*/ 157163 h 259557"/>
                <a:gd name="connsiteX5" fmla="*/ 373856 w 421481"/>
                <a:gd name="connsiteY5" fmla="*/ 126207 h 259557"/>
                <a:gd name="connsiteX6" fmla="*/ 354806 w 421481"/>
                <a:gd name="connsiteY6" fmla="*/ 145257 h 259557"/>
                <a:gd name="connsiteX7" fmla="*/ 335756 w 421481"/>
                <a:gd name="connsiteY7" fmla="*/ 135732 h 259557"/>
                <a:gd name="connsiteX8" fmla="*/ 311944 w 421481"/>
                <a:gd name="connsiteY8" fmla="*/ 147638 h 259557"/>
                <a:gd name="connsiteX9" fmla="*/ 290512 w 421481"/>
                <a:gd name="connsiteY9" fmla="*/ 159544 h 259557"/>
                <a:gd name="connsiteX10" fmla="*/ 278606 w 421481"/>
                <a:gd name="connsiteY10" fmla="*/ 178594 h 259557"/>
                <a:gd name="connsiteX11" fmla="*/ 257175 w 421481"/>
                <a:gd name="connsiteY11" fmla="*/ 176213 h 259557"/>
                <a:gd name="connsiteX12" fmla="*/ 233362 w 421481"/>
                <a:gd name="connsiteY12" fmla="*/ 161925 h 259557"/>
                <a:gd name="connsiteX13" fmla="*/ 200025 w 421481"/>
                <a:gd name="connsiteY13" fmla="*/ 171450 h 259557"/>
                <a:gd name="connsiteX14" fmla="*/ 180975 w 421481"/>
                <a:gd name="connsiteY14" fmla="*/ 173832 h 259557"/>
                <a:gd name="connsiteX15" fmla="*/ 171450 w 421481"/>
                <a:gd name="connsiteY15" fmla="*/ 154782 h 259557"/>
                <a:gd name="connsiteX16" fmla="*/ 176212 w 421481"/>
                <a:gd name="connsiteY16" fmla="*/ 133350 h 259557"/>
                <a:gd name="connsiteX17" fmla="*/ 161925 w 421481"/>
                <a:gd name="connsiteY17" fmla="*/ 128588 h 259557"/>
                <a:gd name="connsiteX18" fmla="*/ 135731 w 421481"/>
                <a:gd name="connsiteY18" fmla="*/ 135732 h 259557"/>
                <a:gd name="connsiteX19" fmla="*/ 140494 w 421481"/>
                <a:gd name="connsiteY19" fmla="*/ 111919 h 259557"/>
                <a:gd name="connsiteX20" fmla="*/ 121444 w 421481"/>
                <a:gd name="connsiteY20" fmla="*/ 78582 h 259557"/>
                <a:gd name="connsiteX21" fmla="*/ 176212 w 421481"/>
                <a:gd name="connsiteY21" fmla="*/ 92869 h 259557"/>
                <a:gd name="connsiteX22" fmla="*/ 133350 w 421481"/>
                <a:gd name="connsiteY22" fmla="*/ 69057 h 259557"/>
                <a:gd name="connsiteX23" fmla="*/ 145256 w 421481"/>
                <a:gd name="connsiteY23" fmla="*/ 47625 h 259557"/>
                <a:gd name="connsiteX24" fmla="*/ 104775 w 421481"/>
                <a:gd name="connsiteY24" fmla="*/ 50007 h 259557"/>
                <a:gd name="connsiteX25" fmla="*/ 85725 w 421481"/>
                <a:gd name="connsiteY25" fmla="*/ 61913 h 259557"/>
                <a:gd name="connsiteX26" fmla="*/ 83344 w 421481"/>
                <a:gd name="connsiteY26" fmla="*/ 16669 h 259557"/>
                <a:gd name="connsiteX27" fmla="*/ 50006 w 421481"/>
                <a:gd name="connsiteY27" fmla="*/ 14288 h 259557"/>
                <a:gd name="connsiteX28" fmla="*/ 21431 w 421481"/>
                <a:gd name="connsiteY28" fmla="*/ 0 h 259557"/>
                <a:gd name="connsiteX29" fmla="*/ 0 w 421481"/>
                <a:gd name="connsiteY29" fmla="*/ 21432 h 259557"/>
                <a:gd name="connsiteX30" fmla="*/ 23812 w 421481"/>
                <a:gd name="connsiteY30" fmla="*/ 52388 h 259557"/>
                <a:gd name="connsiteX31" fmla="*/ 50006 w 421481"/>
                <a:gd name="connsiteY31" fmla="*/ 78582 h 259557"/>
                <a:gd name="connsiteX32" fmla="*/ 61912 w 421481"/>
                <a:gd name="connsiteY32" fmla="*/ 76200 h 259557"/>
                <a:gd name="connsiteX33" fmla="*/ 90487 w 421481"/>
                <a:gd name="connsiteY33" fmla="*/ 76200 h 259557"/>
                <a:gd name="connsiteX34" fmla="*/ 104775 w 421481"/>
                <a:gd name="connsiteY34" fmla="*/ 111919 h 259557"/>
                <a:gd name="connsiteX35" fmla="*/ 126206 w 421481"/>
                <a:gd name="connsiteY35" fmla="*/ 154782 h 259557"/>
                <a:gd name="connsiteX36" fmla="*/ 111919 w 421481"/>
                <a:gd name="connsiteY36" fmla="*/ 190500 h 259557"/>
                <a:gd name="connsiteX37" fmla="*/ 119062 w 421481"/>
                <a:gd name="connsiteY37" fmla="*/ 207169 h 259557"/>
                <a:gd name="connsiteX38" fmla="*/ 116681 w 421481"/>
                <a:gd name="connsiteY38" fmla="*/ 235744 h 259557"/>
                <a:gd name="connsiteX39" fmla="*/ 140494 w 421481"/>
                <a:gd name="connsiteY39" fmla="*/ 221457 h 259557"/>
                <a:gd name="connsiteX40" fmla="*/ 173831 w 421481"/>
                <a:gd name="connsiteY40" fmla="*/ 250032 h 259557"/>
                <a:gd name="connsiteX41" fmla="*/ 178594 w 421481"/>
                <a:gd name="connsiteY41" fmla="*/ 221457 h 259557"/>
                <a:gd name="connsiteX42" fmla="*/ 207169 w 421481"/>
                <a:gd name="connsiteY42" fmla="*/ 223838 h 259557"/>
                <a:gd name="connsiteX43" fmla="*/ 209550 w 421481"/>
                <a:gd name="connsiteY43" fmla="*/ 257175 h 259557"/>
                <a:gd name="connsiteX44" fmla="*/ 242887 w 421481"/>
                <a:gd name="connsiteY44" fmla="*/ 259557 h 259557"/>
                <a:gd name="connsiteX45" fmla="*/ 288131 w 421481"/>
                <a:gd name="connsiteY45" fmla="*/ 238125 h 259557"/>
                <a:gd name="connsiteX46" fmla="*/ 295275 w 421481"/>
                <a:gd name="connsiteY46" fmla="*/ 252413 h 259557"/>
                <a:gd name="connsiteX47" fmla="*/ 352425 w 421481"/>
                <a:gd name="connsiteY47" fmla="*/ 214313 h 259557"/>
                <a:gd name="connsiteX48" fmla="*/ 366712 w 421481"/>
                <a:gd name="connsiteY48" fmla="*/ 257175 h 25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1481" h="259557">
                  <a:moveTo>
                    <a:pt x="366712" y="257175"/>
                  </a:moveTo>
                  <a:lnTo>
                    <a:pt x="392906" y="245269"/>
                  </a:lnTo>
                  <a:lnTo>
                    <a:pt x="395287" y="204788"/>
                  </a:lnTo>
                  <a:lnTo>
                    <a:pt x="421481" y="183357"/>
                  </a:lnTo>
                  <a:lnTo>
                    <a:pt x="404812" y="157163"/>
                  </a:lnTo>
                  <a:lnTo>
                    <a:pt x="373856" y="126207"/>
                  </a:lnTo>
                  <a:lnTo>
                    <a:pt x="354806" y="145257"/>
                  </a:lnTo>
                  <a:lnTo>
                    <a:pt x="335756" y="135732"/>
                  </a:lnTo>
                  <a:lnTo>
                    <a:pt x="311944" y="147638"/>
                  </a:lnTo>
                  <a:lnTo>
                    <a:pt x="290512" y="159544"/>
                  </a:lnTo>
                  <a:lnTo>
                    <a:pt x="278606" y="178594"/>
                  </a:lnTo>
                  <a:lnTo>
                    <a:pt x="257175" y="176213"/>
                  </a:lnTo>
                  <a:lnTo>
                    <a:pt x="233362" y="161925"/>
                  </a:lnTo>
                  <a:lnTo>
                    <a:pt x="200025" y="171450"/>
                  </a:lnTo>
                  <a:lnTo>
                    <a:pt x="180975" y="173832"/>
                  </a:lnTo>
                  <a:lnTo>
                    <a:pt x="171450" y="154782"/>
                  </a:lnTo>
                  <a:lnTo>
                    <a:pt x="176212" y="133350"/>
                  </a:lnTo>
                  <a:lnTo>
                    <a:pt x="161925" y="128588"/>
                  </a:lnTo>
                  <a:lnTo>
                    <a:pt x="135731" y="135732"/>
                  </a:lnTo>
                  <a:lnTo>
                    <a:pt x="140494" y="111919"/>
                  </a:lnTo>
                  <a:lnTo>
                    <a:pt x="121444" y="78582"/>
                  </a:lnTo>
                  <a:lnTo>
                    <a:pt x="176212" y="92869"/>
                  </a:lnTo>
                  <a:lnTo>
                    <a:pt x="133350" y="69057"/>
                  </a:lnTo>
                  <a:lnTo>
                    <a:pt x="145256" y="47625"/>
                  </a:lnTo>
                  <a:lnTo>
                    <a:pt x="104775" y="50007"/>
                  </a:lnTo>
                  <a:lnTo>
                    <a:pt x="85725" y="61913"/>
                  </a:lnTo>
                  <a:lnTo>
                    <a:pt x="83344" y="16669"/>
                  </a:lnTo>
                  <a:lnTo>
                    <a:pt x="50006" y="14288"/>
                  </a:lnTo>
                  <a:lnTo>
                    <a:pt x="21431" y="0"/>
                  </a:lnTo>
                  <a:lnTo>
                    <a:pt x="0" y="21432"/>
                  </a:lnTo>
                  <a:lnTo>
                    <a:pt x="23812" y="52388"/>
                  </a:lnTo>
                  <a:lnTo>
                    <a:pt x="50006" y="78582"/>
                  </a:lnTo>
                  <a:lnTo>
                    <a:pt x="61912" y="76200"/>
                  </a:lnTo>
                  <a:lnTo>
                    <a:pt x="90487" y="76200"/>
                  </a:lnTo>
                  <a:lnTo>
                    <a:pt x="104775" y="111919"/>
                  </a:lnTo>
                  <a:lnTo>
                    <a:pt x="126206" y="154782"/>
                  </a:lnTo>
                  <a:lnTo>
                    <a:pt x="111919" y="190500"/>
                  </a:lnTo>
                  <a:lnTo>
                    <a:pt x="119062" y="207169"/>
                  </a:lnTo>
                  <a:lnTo>
                    <a:pt x="116681" y="235744"/>
                  </a:lnTo>
                  <a:lnTo>
                    <a:pt x="140494" y="221457"/>
                  </a:lnTo>
                  <a:lnTo>
                    <a:pt x="173831" y="250032"/>
                  </a:lnTo>
                  <a:lnTo>
                    <a:pt x="178594" y="221457"/>
                  </a:lnTo>
                  <a:lnTo>
                    <a:pt x="207169" y="223838"/>
                  </a:lnTo>
                  <a:lnTo>
                    <a:pt x="209550" y="257175"/>
                  </a:lnTo>
                  <a:lnTo>
                    <a:pt x="242887" y="259557"/>
                  </a:lnTo>
                  <a:lnTo>
                    <a:pt x="288131" y="238125"/>
                  </a:lnTo>
                  <a:lnTo>
                    <a:pt x="295275" y="252413"/>
                  </a:lnTo>
                  <a:lnTo>
                    <a:pt x="352425" y="214313"/>
                  </a:lnTo>
                  <a:lnTo>
                    <a:pt x="366712" y="25717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1" name="Freeform: Shape 98"/>
            <p:cNvSpPr/>
            <p:nvPr/>
          </p:nvSpPr>
          <p:spPr bwMode="auto">
            <a:xfrm>
              <a:off x="2031206" y="1547813"/>
              <a:ext cx="16669" cy="54768"/>
            </a:xfrm>
            <a:custGeom>
              <a:avLst/>
              <a:gdLst>
                <a:gd name="connsiteX0" fmla="*/ 0 w 16669"/>
                <a:gd name="connsiteY0" fmla="*/ 0 h 54768"/>
                <a:gd name="connsiteX1" fmla="*/ 16669 w 16669"/>
                <a:gd name="connsiteY1" fmla="*/ 54768 h 54768"/>
                <a:gd name="connsiteX2" fmla="*/ 0 w 16669"/>
                <a:gd name="connsiteY2" fmla="*/ 0 h 5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669" h="54768">
                  <a:moveTo>
                    <a:pt x="0" y="0"/>
                  </a:moveTo>
                  <a:lnTo>
                    <a:pt x="16669" y="547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2" name="Freeform: Shape 99"/>
            <p:cNvSpPr/>
            <p:nvPr/>
          </p:nvSpPr>
          <p:spPr bwMode="auto">
            <a:xfrm>
              <a:off x="1852613" y="1409700"/>
              <a:ext cx="78581" cy="119063"/>
            </a:xfrm>
            <a:custGeom>
              <a:avLst/>
              <a:gdLst>
                <a:gd name="connsiteX0" fmla="*/ 0 w 78581"/>
                <a:gd name="connsiteY0" fmla="*/ 0 h 119063"/>
                <a:gd name="connsiteX1" fmla="*/ 14287 w 78581"/>
                <a:gd name="connsiteY1" fmla="*/ 57150 h 119063"/>
                <a:gd name="connsiteX2" fmla="*/ 45243 w 78581"/>
                <a:gd name="connsiteY2" fmla="*/ 73819 h 119063"/>
                <a:gd name="connsiteX3" fmla="*/ 26193 w 78581"/>
                <a:gd name="connsiteY3" fmla="*/ 95250 h 119063"/>
                <a:gd name="connsiteX4" fmla="*/ 23812 w 78581"/>
                <a:gd name="connsiteY4" fmla="*/ 119063 h 119063"/>
                <a:gd name="connsiteX5" fmla="*/ 78581 w 78581"/>
                <a:gd name="connsiteY5" fmla="*/ 104775 h 119063"/>
                <a:gd name="connsiteX6" fmla="*/ 73818 w 78581"/>
                <a:gd name="connsiteY6" fmla="*/ 69056 h 119063"/>
                <a:gd name="connsiteX7" fmla="*/ 73818 w 78581"/>
                <a:gd name="connsiteY7" fmla="*/ 35719 h 119063"/>
                <a:gd name="connsiteX8" fmla="*/ 47625 w 78581"/>
                <a:gd name="connsiteY8" fmla="*/ 16669 h 119063"/>
                <a:gd name="connsiteX9" fmla="*/ 0 w 78581"/>
                <a:gd name="connsiteY9" fmla="*/ 0 h 119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581" h="119063">
                  <a:moveTo>
                    <a:pt x="0" y="0"/>
                  </a:moveTo>
                  <a:lnTo>
                    <a:pt x="14287" y="57150"/>
                  </a:lnTo>
                  <a:lnTo>
                    <a:pt x="45243" y="73819"/>
                  </a:lnTo>
                  <a:lnTo>
                    <a:pt x="26193" y="95250"/>
                  </a:lnTo>
                  <a:lnTo>
                    <a:pt x="23812" y="119063"/>
                  </a:lnTo>
                  <a:lnTo>
                    <a:pt x="78581" y="104775"/>
                  </a:lnTo>
                  <a:lnTo>
                    <a:pt x="73818" y="69056"/>
                  </a:lnTo>
                  <a:lnTo>
                    <a:pt x="73818" y="35719"/>
                  </a:lnTo>
                  <a:lnTo>
                    <a:pt x="47625" y="166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3" name="Freeform: Shape 100"/>
            <p:cNvSpPr/>
            <p:nvPr/>
          </p:nvSpPr>
          <p:spPr bwMode="auto">
            <a:xfrm>
              <a:off x="1666875" y="1354932"/>
              <a:ext cx="152400" cy="164306"/>
            </a:xfrm>
            <a:custGeom>
              <a:avLst/>
              <a:gdLst>
                <a:gd name="connsiteX0" fmla="*/ 152400 w 152400"/>
                <a:gd name="connsiteY0" fmla="*/ 157163 h 157163"/>
                <a:gd name="connsiteX1" fmla="*/ 140494 w 152400"/>
                <a:gd name="connsiteY1" fmla="*/ 92869 h 157163"/>
                <a:gd name="connsiteX2" fmla="*/ 123825 w 152400"/>
                <a:gd name="connsiteY2" fmla="*/ 52388 h 157163"/>
                <a:gd name="connsiteX3" fmla="*/ 95250 w 152400"/>
                <a:gd name="connsiteY3" fmla="*/ 57150 h 157163"/>
                <a:gd name="connsiteX4" fmla="*/ 85725 w 152400"/>
                <a:gd name="connsiteY4" fmla="*/ 16669 h 157163"/>
                <a:gd name="connsiteX5" fmla="*/ 71438 w 152400"/>
                <a:gd name="connsiteY5" fmla="*/ 7144 h 157163"/>
                <a:gd name="connsiteX6" fmla="*/ 61913 w 152400"/>
                <a:gd name="connsiteY6" fmla="*/ 42863 h 157163"/>
                <a:gd name="connsiteX7" fmla="*/ 50006 w 152400"/>
                <a:gd name="connsiteY7" fmla="*/ 0 h 157163"/>
                <a:gd name="connsiteX8" fmla="*/ 0 w 152400"/>
                <a:gd name="connsiteY8" fmla="*/ 0 h 157163"/>
                <a:gd name="connsiteX9" fmla="*/ 21431 w 152400"/>
                <a:gd name="connsiteY9" fmla="*/ 19050 h 157163"/>
                <a:gd name="connsiteX10" fmla="*/ 35719 w 152400"/>
                <a:gd name="connsiteY10" fmla="*/ 30957 h 157163"/>
                <a:gd name="connsiteX11" fmla="*/ 52388 w 152400"/>
                <a:gd name="connsiteY11" fmla="*/ 50007 h 157163"/>
                <a:gd name="connsiteX12" fmla="*/ 64294 w 152400"/>
                <a:gd name="connsiteY12" fmla="*/ 88107 h 157163"/>
                <a:gd name="connsiteX13" fmla="*/ 42863 w 152400"/>
                <a:gd name="connsiteY13" fmla="*/ 97632 h 157163"/>
                <a:gd name="connsiteX14" fmla="*/ 26194 w 152400"/>
                <a:gd name="connsiteY14" fmla="*/ 85725 h 157163"/>
                <a:gd name="connsiteX15" fmla="*/ 30956 w 152400"/>
                <a:gd name="connsiteY15" fmla="*/ 119063 h 157163"/>
                <a:gd name="connsiteX16" fmla="*/ 57150 w 152400"/>
                <a:gd name="connsiteY16" fmla="*/ 102394 h 157163"/>
                <a:gd name="connsiteX17" fmla="*/ 78581 w 152400"/>
                <a:gd name="connsiteY17" fmla="*/ 116682 h 157163"/>
                <a:gd name="connsiteX18" fmla="*/ 114300 w 152400"/>
                <a:gd name="connsiteY18" fmla="*/ 123825 h 157163"/>
                <a:gd name="connsiteX19" fmla="*/ 152400 w 152400"/>
                <a:gd name="connsiteY19" fmla="*/ 157163 h 157163"/>
                <a:gd name="connsiteX0" fmla="*/ 152400 w 152400"/>
                <a:gd name="connsiteY0" fmla="*/ 157163 h 157163"/>
                <a:gd name="connsiteX1" fmla="*/ 140494 w 152400"/>
                <a:gd name="connsiteY1" fmla="*/ 92869 h 157163"/>
                <a:gd name="connsiteX2" fmla="*/ 123825 w 152400"/>
                <a:gd name="connsiteY2" fmla="*/ 52388 h 157163"/>
                <a:gd name="connsiteX3" fmla="*/ 95250 w 152400"/>
                <a:gd name="connsiteY3" fmla="*/ 57150 h 157163"/>
                <a:gd name="connsiteX4" fmla="*/ 85725 w 152400"/>
                <a:gd name="connsiteY4" fmla="*/ 16669 h 157163"/>
                <a:gd name="connsiteX5" fmla="*/ 71438 w 152400"/>
                <a:gd name="connsiteY5" fmla="*/ 7144 h 157163"/>
                <a:gd name="connsiteX6" fmla="*/ 61913 w 152400"/>
                <a:gd name="connsiteY6" fmla="*/ 42863 h 157163"/>
                <a:gd name="connsiteX7" fmla="*/ 50006 w 152400"/>
                <a:gd name="connsiteY7" fmla="*/ 0 h 157163"/>
                <a:gd name="connsiteX8" fmla="*/ 0 w 152400"/>
                <a:gd name="connsiteY8" fmla="*/ 0 h 157163"/>
                <a:gd name="connsiteX9" fmla="*/ 21431 w 152400"/>
                <a:gd name="connsiteY9" fmla="*/ 19050 h 157163"/>
                <a:gd name="connsiteX10" fmla="*/ 35719 w 152400"/>
                <a:gd name="connsiteY10" fmla="*/ 30957 h 157163"/>
                <a:gd name="connsiteX11" fmla="*/ 52388 w 152400"/>
                <a:gd name="connsiteY11" fmla="*/ 50007 h 157163"/>
                <a:gd name="connsiteX12" fmla="*/ 64294 w 152400"/>
                <a:gd name="connsiteY12" fmla="*/ 88107 h 157163"/>
                <a:gd name="connsiteX13" fmla="*/ 42863 w 152400"/>
                <a:gd name="connsiteY13" fmla="*/ 97632 h 157163"/>
                <a:gd name="connsiteX14" fmla="*/ 26194 w 152400"/>
                <a:gd name="connsiteY14" fmla="*/ 85725 h 157163"/>
                <a:gd name="connsiteX15" fmla="*/ 30956 w 152400"/>
                <a:gd name="connsiteY15" fmla="*/ 119063 h 157163"/>
                <a:gd name="connsiteX16" fmla="*/ 57150 w 152400"/>
                <a:gd name="connsiteY16" fmla="*/ 102394 h 157163"/>
                <a:gd name="connsiteX17" fmla="*/ 78581 w 152400"/>
                <a:gd name="connsiteY17" fmla="*/ 116682 h 157163"/>
                <a:gd name="connsiteX18" fmla="*/ 114300 w 152400"/>
                <a:gd name="connsiteY18" fmla="*/ 123825 h 157163"/>
                <a:gd name="connsiteX19" fmla="*/ 130969 w 152400"/>
                <a:gd name="connsiteY19" fmla="*/ 140494 h 157163"/>
                <a:gd name="connsiteX20" fmla="*/ 152400 w 152400"/>
                <a:gd name="connsiteY20" fmla="*/ 157163 h 157163"/>
                <a:gd name="connsiteX0" fmla="*/ 152400 w 152400"/>
                <a:gd name="connsiteY0" fmla="*/ 157163 h 164306"/>
                <a:gd name="connsiteX1" fmla="*/ 140494 w 152400"/>
                <a:gd name="connsiteY1" fmla="*/ 92869 h 164306"/>
                <a:gd name="connsiteX2" fmla="*/ 123825 w 152400"/>
                <a:gd name="connsiteY2" fmla="*/ 52388 h 164306"/>
                <a:gd name="connsiteX3" fmla="*/ 95250 w 152400"/>
                <a:gd name="connsiteY3" fmla="*/ 57150 h 164306"/>
                <a:gd name="connsiteX4" fmla="*/ 85725 w 152400"/>
                <a:gd name="connsiteY4" fmla="*/ 16669 h 164306"/>
                <a:gd name="connsiteX5" fmla="*/ 71438 w 152400"/>
                <a:gd name="connsiteY5" fmla="*/ 7144 h 164306"/>
                <a:gd name="connsiteX6" fmla="*/ 61913 w 152400"/>
                <a:gd name="connsiteY6" fmla="*/ 42863 h 164306"/>
                <a:gd name="connsiteX7" fmla="*/ 50006 w 152400"/>
                <a:gd name="connsiteY7" fmla="*/ 0 h 164306"/>
                <a:gd name="connsiteX8" fmla="*/ 0 w 152400"/>
                <a:gd name="connsiteY8" fmla="*/ 0 h 164306"/>
                <a:gd name="connsiteX9" fmla="*/ 21431 w 152400"/>
                <a:gd name="connsiteY9" fmla="*/ 19050 h 164306"/>
                <a:gd name="connsiteX10" fmla="*/ 35719 w 152400"/>
                <a:gd name="connsiteY10" fmla="*/ 30957 h 164306"/>
                <a:gd name="connsiteX11" fmla="*/ 52388 w 152400"/>
                <a:gd name="connsiteY11" fmla="*/ 50007 h 164306"/>
                <a:gd name="connsiteX12" fmla="*/ 64294 w 152400"/>
                <a:gd name="connsiteY12" fmla="*/ 88107 h 164306"/>
                <a:gd name="connsiteX13" fmla="*/ 42863 w 152400"/>
                <a:gd name="connsiteY13" fmla="*/ 97632 h 164306"/>
                <a:gd name="connsiteX14" fmla="*/ 26194 w 152400"/>
                <a:gd name="connsiteY14" fmla="*/ 85725 h 164306"/>
                <a:gd name="connsiteX15" fmla="*/ 30956 w 152400"/>
                <a:gd name="connsiteY15" fmla="*/ 119063 h 164306"/>
                <a:gd name="connsiteX16" fmla="*/ 57150 w 152400"/>
                <a:gd name="connsiteY16" fmla="*/ 102394 h 164306"/>
                <a:gd name="connsiteX17" fmla="*/ 78581 w 152400"/>
                <a:gd name="connsiteY17" fmla="*/ 116682 h 164306"/>
                <a:gd name="connsiteX18" fmla="*/ 114300 w 152400"/>
                <a:gd name="connsiteY18" fmla="*/ 123825 h 164306"/>
                <a:gd name="connsiteX19" fmla="*/ 138113 w 152400"/>
                <a:gd name="connsiteY19" fmla="*/ 164306 h 164306"/>
                <a:gd name="connsiteX20" fmla="*/ 152400 w 152400"/>
                <a:gd name="connsiteY20" fmla="*/ 157163 h 164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2400" h="164306">
                  <a:moveTo>
                    <a:pt x="152400" y="157163"/>
                  </a:moveTo>
                  <a:lnTo>
                    <a:pt x="140494" y="92869"/>
                  </a:lnTo>
                  <a:lnTo>
                    <a:pt x="123825" y="52388"/>
                  </a:lnTo>
                  <a:lnTo>
                    <a:pt x="95250" y="57150"/>
                  </a:lnTo>
                  <a:lnTo>
                    <a:pt x="85725" y="16669"/>
                  </a:lnTo>
                  <a:lnTo>
                    <a:pt x="71438" y="7144"/>
                  </a:lnTo>
                  <a:lnTo>
                    <a:pt x="61913" y="42863"/>
                  </a:lnTo>
                  <a:lnTo>
                    <a:pt x="50006" y="0"/>
                  </a:lnTo>
                  <a:lnTo>
                    <a:pt x="0" y="0"/>
                  </a:lnTo>
                  <a:lnTo>
                    <a:pt x="21431" y="19050"/>
                  </a:lnTo>
                  <a:lnTo>
                    <a:pt x="35719" y="30957"/>
                  </a:lnTo>
                  <a:lnTo>
                    <a:pt x="52388" y="50007"/>
                  </a:lnTo>
                  <a:lnTo>
                    <a:pt x="64294" y="88107"/>
                  </a:lnTo>
                  <a:lnTo>
                    <a:pt x="42863" y="97632"/>
                  </a:lnTo>
                  <a:lnTo>
                    <a:pt x="26194" y="85725"/>
                  </a:lnTo>
                  <a:lnTo>
                    <a:pt x="30956" y="119063"/>
                  </a:lnTo>
                  <a:lnTo>
                    <a:pt x="57150" y="102394"/>
                  </a:lnTo>
                  <a:lnTo>
                    <a:pt x="78581" y="116682"/>
                  </a:lnTo>
                  <a:lnTo>
                    <a:pt x="114300" y="123825"/>
                  </a:lnTo>
                  <a:lnTo>
                    <a:pt x="138113" y="164306"/>
                  </a:lnTo>
                  <a:lnTo>
                    <a:pt x="152400" y="1571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4" name="Freeform: Shape 101"/>
            <p:cNvSpPr/>
            <p:nvPr/>
          </p:nvSpPr>
          <p:spPr bwMode="auto">
            <a:xfrm>
              <a:off x="1907382" y="1538288"/>
              <a:ext cx="69056" cy="40481"/>
            </a:xfrm>
            <a:custGeom>
              <a:avLst/>
              <a:gdLst>
                <a:gd name="connsiteX0" fmla="*/ 0 w 57150"/>
                <a:gd name="connsiteY0" fmla="*/ 0 h 40481"/>
                <a:gd name="connsiteX1" fmla="*/ 57150 w 57150"/>
                <a:gd name="connsiteY1" fmla="*/ 14287 h 40481"/>
                <a:gd name="connsiteX2" fmla="*/ 42862 w 57150"/>
                <a:gd name="connsiteY2" fmla="*/ 40481 h 40481"/>
                <a:gd name="connsiteX3" fmla="*/ 0 w 57150"/>
                <a:gd name="connsiteY3" fmla="*/ 0 h 40481"/>
                <a:gd name="connsiteX0" fmla="*/ 0 w 57150"/>
                <a:gd name="connsiteY0" fmla="*/ 0 h 40481"/>
                <a:gd name="connsiteX1" fmla="*/ 57150 w 57150"/>
                <a:gd name="connsiteY1" fmla="*/ 14287 h 40481"/>
                <a:gd name="connsiteX2" fmla="*/ 42862 w 57150"/>
                <a:gd name="connsiteY2" fmla="*/ 40481 h 40481"/>
                <a:gd name="connsiteX3" fmla="*/ 19050 w 57150"/>
                <a:gd name="connsiteY3" fmla="*/ 16668 h 40481"/>
                <a:gd name="connsiteX4" fmla="*/ 0 w 57150"/>
                <a:gd name="connsiteY4" fmla="*/ 0 h 40481"/>
                <a:gd name="connsiteX0" fmla="*/ 11906 w 69056"/>
                <a:gd name="connsiteY0" fmla="*/ 0 h 40481"/>
                <a:gd name="connsiteX1" fmla="*/ 69056 w 69056"/>
                <a:gd name="connsiteY1" fmla="*/ 14287 h 40481"/>
                <a:gd name="connsiteX2" fmla="*/ 54768 w 69056"/>
                <a:gd name="connsiteY2" fmla="*/ 40481 h 40481"/>
                <a:gd name="connsiteX3" fmla="*/ 0 w 69056"/>
                <a:gd name="connsiteY3" fmla="*/ 19050 h 40481"/>
                <a:gd name="connsiteX4" fmla="*/ 11906 w 69056"/>
                <a:gd name="connsiteY4" fmla="*/ 0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056" h="40481">
                  <a:moveTo>
                    <a:pt x="11906" y="0"/>
                  </a:moveTo>
                  <a:lnTo>
                    <a:pt x="69056" y="14287"/>
                  </a:lnTo>
                  <a:lnTo>
                    <a:pt x="54768" y="40481"/>
                  </a:lnTo>
                  <a:lnTo>
                    <a:pt x="0" y="19050"/>
                  </a:lnTo>
                  <a:lnTo>
                    <a:pt x="11906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5" name="Freeform: Shape 102"/>
            <p:cNvSpPr/>
            <p:nvPr/>
          </p:nvSpPr>
          <p:spPr bwMode="auto">
            <a:xfrm>
              <a:off x="1890713" y="1764506"/>
              <a:ext cx="76200" cy="102394"/>
            </a:xfrm>
            <a:custGeom>
              <a:avLst/>
              <a:gdLst>
                <a:gd name="connsiteX0" fmla="*/ 0 w 76200"/>
                <a:gd name="connsiteY0" fmla="*/ 47625 h 102394"/>
                <a:gd name="connsiteX1" fmla="*/ 57150 w 76200"/>
                <a:gd name="connsiteY1" fmla="*/ 102394 h 102394"/>
                <a:gd name="connsiteX2" fmla="*/ 76200 w 76200"/>
                <a:gd name="connsiteY2" fmla="*/ 97632 h 102394"/>
                <a:gd name="connsiteX3" fmla="*/ 73818 w 76200"/>
                <a:gd name="connsiteY3" fmla="*/ 52388 h 102394"/>
                <a:gd name="connsiteX4" fmla="*/ 69056 w 76200"/>
                <a:gd name="connsiteY4" fmla="*/ 33338 h 102394"/>
                <a:gd name="connsiteX5" fmla="*/ 50006 w 76200"/>
                <a:gd name="connsiteY5" fmla="*/ 14288 h 102394"/>
                <a:gd name="connsiteX6" fmla="*/ 33337 w 76200"/>
                <a:gd name="connsiteY6" fmla="*/ 0 h 102394"/>
                <a:gd name="connsiteX7" fmla="*/ 0 w 76200"/>
                <a:gd name="connsiteY7" fmla="*/ 47625 h 102394"/>
                <a:gd name="connsiteX0" fmla="*/ 0 w 76200"/>
                <a:gd name="connsiteY0" fmla="*/ 47625 h 102394"/>
                <a:gd name="connsiteX1" fmla="*/ 57150 w 76200"/>
                <a:gd name="connsiteY1" fmla="*/ 102394 h 102394"/>
                <a:gd name="connsiteX2" fmla="*/ 76200 w 76200"/>
                <a:gd name="connsiteY2" fmla="*/ 97632 h 102394"/>
                <a:gd name="connsiteX3" fmla="*/ 73818 w 76200"/>
                <a:gd name="connsiteY3" fmla="*/ 52388 h 102394"/>
                <a:gd name="connsiteX4" fmla="*/ 69056 w 76200"/>
                <a:gd name="connsiteY4" fmla="*/ 33338 h 102394"/>
                <a:gd name="connsiteX5" fmla="*/ 50006 w 76200"/>
                <a:gd name="connsiteY5" fmla="*/ 14288 h 102394"/>
                <a:gd name="connsiteX6" fmla="*/ 33337 w 76200"/>
                <a:gd name="connsiteY6" fmla="*/ 0 h 102394"/>
                <a:gd name="connsiteX7" fmla="*/ 19050 w 76200"/>
                <a:gd name="connsiteY7" fmla="*/ 26194 h 102394"/>
                <a:gd name="connsiteX8" fmla="*/ 0 w 76200"/>
                <a:gd name="connsiteY8" fmla="*/ 47625 h 102394"/>
                <a:gd name="connsiteX0" fmla="*/ 0 w 76200"/>
                <a:gd name="connsiteY0" fmla="*/ 47625 h 102394"/>
                <a:gd name="connsiteX1" fmla="*/ 57150 w 76200"/>
                <a:gd name="connsiteY1" fmla="*/ 102394 h 102394"/>
                <a:gd name="connsiteX2" fmla="*/ 76200 w 76200"/>
                <a:gd name="connsiteY2" fmla="*/ 97632 h 102394"/>
                <a:gd name="connsiteX3" fmla="*/ 73818 w 76200"/>
                <a:gd name="connsiteY3" fmla="*/ 52388 h 102394"/>
                <a:gd name="connsiteX4" fmla="*/ 69056 w 76200"/>
                <a:gd name="connsiteY4" fmla="*/ 33338 h 102394"/>
                <a:gd name="connsiteX5" fmla="*/ 50006 w 76200"/>
                <a:gd name="connsiteY5" fmla="*/ 14288 h 102394"/>
                <a:gd name="connsiteX6" fmla="*/ 33337 w 76200"/>
                <a:gd name="connsiteY6" fmla="*/ 0 h 102394"/>
                <a:gd name="connsiteX7" fmla="*/ 28575 w 76200"/>
                <a:gd name="connsiteY7" fmla="*/ 47626 h 102394"/>
                <a:gd name="connsiteX8" fmla="*/ 0 w 76200"/>
                <a:gd name="connsiteY8" fmla="*/ 47625 h 10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200" h="102394">
                  <a:moveTo>
                    <a:pt x="0" y="47625"/>
                  </a:moveTo>
                  <a:lnTo>
                    <a:pt x="57150" y="102394"/>
                  </a:lnTo>
                  <a:lnTo>
                    <a:pt x="76200" y="97632"/>
                  </a:lnTo>
                  <a:lnTo>
                    <a:pt x="73818" y="52388"/>
                  </a:lnTo>
                  <a:lnTo>
                    <a:pt x="69056" y="33338"/>
                  </a:lnTo>
                  <a:lnTo>
                    <a:pt x="50006" y="14288"/>
                  </a:lnTo>
                  <a:lnTo>
                    <a:pt x="33337" y="0"/>
                  </a:lnTo>
                  <a:cubicBezTo>
                    <a:pt x="30162" y="5556"/>
                    <a:pt x="31750" y="42070"/>
                    <a:pt x="28575" y="47626"/>
                  </a:cubicBezTo>
                  <a:lnTo>
                    <a:pt x="0" y="4762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6" name="Freeform: Shape 103"/>
            <p:cNvSpPr/>
            <p:nvPr/>
          </p:nvSpPr>
          <p:spPr bwMode="auto">
            <a:xfrm>
              <a:off x="1752600" y="1943100"/>
              <a:ext cx="138113" cy="195262"/>
            </a:xfrm>
            <a:custGeom>
              <a:avLst/>
              <a:gdLst>
                <a:gd name="connsiteX0" fmla="*/ 88106 w 138113"/>
                <a:gd name="connsiteY0" fmla="*/ 204788 h 204788"/>
                <a:gd name="connsiteX1" fmla="*/ 45244 w 138113"/>
                <a:gd name="connsiteY1" fmla="*/ 133350 h 204788"/>
                <a:gd name="connsiteX2" fmla="*/ 16669 w 138113"/>
                <a:gd name="connsiteY2" fmla="*/ 126206 h 204788"/>
                <a:gd name="connsiteX3" fmla="*/ 0 w 138113"/>
                <a:gd name="connsiteY3" fmla="*/ 80963 h 204788"/>
                <a:gd name="connsiteX4" fmla="*/ 30956 w 138113"/>
                <a:gd name="connsiteY4" fmla="*/ 95250 h 204788"/>
                <a:gd name="connsiteX5" fmla="*/ 54769 w 138113"/>
                <a:gd name="connsiteY5" fmla="*/ 92869 h 204788"/>
                <a:gd name="connsiteX6" fmla="*/ 61913 w 138113"/>
                <a:gd name="connsiteY6" fmla="*/ 73819 h 204788"/>
                <a:gd name="connsiteX7" fmla="*/ 61913 w 138113"/>
                <a:gd name="connsiteY7" fmla="*/ 47625 h 204788"/>
                <a:gd name="connsiteX8" fmla="*/ 28575 w 138113"/>
                <a:gd name="connsiteY8" fmla="*/ 2381 h 204788"/>
                <a:gd name="connsiteX9" fmla="*/ 66675 w 138113"/>
                <a:gd name="connsiteY9" fmla="*/ 11906 h 204788"/>
                <a:gd name="connsiteX10" fmla="*/ 116681 w 138113"/>
                <a:gd name="connsiteY10" fmla="*/ 0 h 204788"/>
                <a:gd name="connsiteX11" fmla="*/ 116681 w 138113"/>
                <a:gd name="connsiteY11" fmla="*/ 16669 h 204788"/>
                <a:gd name="connsiteX12" fmla="*/ 97631 w 138113"/>
                <a:gd name="connsiteY12" fmla="*/ 40481 h 204788"/>
                <a:gd name="connsiteX13" fmla="*/ 85725 w 138113"/>
                <a:gd name="connsiteY13" fmla="*/ 64294 h 204788"/>
                <a:gd name="connsiteX14" fmla="*/ 114300 w 138113"/>
                <a:gd name="connsiteY14" fmla="*/ 71438 h 204788"/>
                <a:gd name="connsiteX15" fmla="*/ 123825 w 138113"/>
                <a:gd name="connsiteY15" fmla="*/ 100013 h 204788"/>
                <a:gd name="connsiteX16" fmla="*/ 138113 w 138113"/>
                <a:gd name="connsiteY16" fmla="*/ 104775 h 204788"/>
                <a:gd name="connsiteX17" fmla="*/ 138113 w 138113"/>
                <a:gd name="connsiteY17" fmla="*/ 147638 h 204788"/>
                <a:gd name="connsiteX18" fmla="*/ 138113 w 138113"/>
                <a:gd name="connsiteY18" fmla="*/ 180975 h 204788"/>
                <a:gd name="connsiteX19" fmla="*/ 88106 w 138113"/>
                <a:gd name="connsiteY19" fmla="*/ 204788 h 204788"/>
                <a:gd name="connsiteX0" fmla="*/ 88106 w 138113"/>
                <a:gd name="connsiteY0" fmla="*/ 204788 h 204788"/>
                <a:gd name="connsiteX1" fmla="*/ 116681 w 138113"/>
                <a:gd name="connsiteY1" fmla="*/ 192881 h 204788"/>
                <a:gd name="connsiteX2" fmla="*/ 45244 w 138113"/>
                <a:gd name="connsiteY2" fmla="*/ 133350 h 204788"/>
                <a:gd name="connsiteX3" fmla="*/ 16669 w 138113"/>
                <a:gd name="connsiteY3" fmla="*/ 126206 h 204788"/>
                <a:gd name="connsiteX4" fmla="*/ 0 w 138113"/>
                <a:gd name="connsiteY4" fmla="*/ 80963 h 204788"/>
                <a:gd name="connsiteX5" fmla="*/ 30956 w 138113"/>
                <a:gd name="connsiteY5" fmla="*/ 95250 h 204788"/>
                <a:gd name="connsiteX6" fmla="*/ 54769 w 138113"/>
                <a:gd name="connsiteY6" fmla="*/ 92869 h 204788"/>
                <a:gd name="connsiteX7" fmla="*/ 61913 w 138113"/>
                <a:gd name="connsiteY7" fmla="*/ 73819 h 204788"/>
                <a:gd name="connsiteX8" fmla="*/ 61913 w 138113"/>
                <a:gd name="connsiteY8" fmla="*/ 47625 h 204788"/>
                <a:gd name="connsiteX9" fmla="*/ 28575 w 138113"/>
                <a:gd name="connsiteY9" fmla="*/ 2381 h 204788"/>
                <a:gd name="connsiteX10" fmla="*/ 66675 w 138113"/>
                <a:gd name="connsiteY10" fmla="*/ 11906 h 204788"/>
                <a:gd name="connsiteX11" fmla="*/ 116681 w 138113"/>
                <a:gd name="connsiteY11" fmla="*/ 0 h 204788"/>
                <a:gd name="connsiteX12" fmla="*/ 116681 w 138113"/>
                <a:gd name="connsiteY12" fmla="*/ 16669 h 204788"/>
                <a:gd name="connsiteX13" fmla="*/ 97631 w 138113"/>
                <a:gd name="connsiteY13" fmla="*/ 40481 h 204788"/>
                <a:gd name="connsiteX14" fmla="*/ 85725 w 138113"/>
                <a:gd name="connsiteY14" fmla="*/ 64294 h 204788"/>
                <a:gd name="connsiteX15" fmla="*/ 114300 w 138113"/>
                <a:gd name="connsiteY15" fmla="*/ 71438 h 204788"/>
                <a:gd name="connsiteX16" fmla="*/ 123825 w 138113"/>
                <a:gd name="connsiteY16" fmla="*/ 100013 h 204788"/>
                <a:gd name="connsiteX17" fmla="*/ 138113 w 138113"/>
                <a:gd name="connsiteY17" fmla="*/ 104775 h 204788"/>
                <a:gd name="connsiteX18" fmla="*/ 138113 w 138113"/>
                <a:gd name="connsiteY18" fmla="*/ 147638 h 204788"/>
                <a:gd name="connsiteX19" fmla="*/ 138113 w 138113"/>
                <a:gd name="connsiteY19" fmla="*/ 180975 h 204788"/>
                <a:gd name="connsiteX20" fmla="*/ 88106 w 138113"/>
                <a:gd name="connsiteY20" fmla="*/ 204788 h 204788"/>
                <a:gd name="connsiteX0" fmla="*/ 88106 w 138113"/>
                <a:gd name="connsiteY0" fmla="*/ 204788 h 204788"/>
                <a:gd name="connsiteX1" fmla="*/ 73818 w 138113"/>
                <a:gd name="connsiteY1" fmla="*/ 188118 h 204788"/>
                <a:gd name="connsiteX2" fmla="*/ 45244 w 138113"/>
                <a:gd name="connsiteY2" fmla="*/ 133350 h 204788"/>
                <a:gd name="connsiteX3" fmla="*/ 16669 w 138113"/>
                <a:gd name="connsiteY3" fmla="*/ 126206 h 204788"/>
                <a:gd name="connsiteX4" fmla="*/ 0 w 138113"/>
                <a:gd name="connsiteY4" fmla="*/ 80963 h 204788"/>
                <a:gd name="connsiteX5" fmla="*/ 30956 w 138113"/>
                <a:gd name="connsiteY5" fmla="*/ 95250 h 204788"/>
                <a:gd name="connsiteX6" fmla="*/ 54769 w 138113"/>
                <a:gd name="connsiteY6" fmla="*/ 92869 h 204788"/>
                <a:gd name="connsiteX7" fmla="*/ 61913 w 138113"/>
                <a:gd name="connsiteY7" fmla="*/ 73819 h 204788"/>
                <a:gd name="connsiteX8" fmla="*/ 61913 w 138113"/>
                <a:gd name="connsiteY8" fmla="*/ 47625 h 204788"/>
                <a:gd name="connsiteX9" fmla="*/ 28575 w 138113"/>
                <a:gd name="connsiteY9" fmla="*/ 2381 h 204788"/>
                <a:gd name="connsiteX10" fmla="*/ 66675 w 138113"/>
                <a:gd name="connsiteY10" fmla="*/ 11906 h 204788"/>
                <a:gd name="connsiteX11" fmla="*/ 116681 w 138113"/>
                <a:gd name="connsiteY11" fmla="*/ 0 h 204788"/>
                <a:gd name="connsiteX12" fmla="*/ 116681 w 138113"/>
                <a:gd name="connsiteY12" fmla="*/ 16669 h 204788"/>
                <a:gd name="connsiteX13" fmla="*/ 97631 w 138113"/>
                <a:gd name="connsiteY13" fmla="*/ 40481 h 204788"/>
                <a:gd name="connsiteX14" fmla="*/ 85725 w 138113"/>
                <a:gd name="connsiteY14" fmla="*/ 64294 h 204788"/>
                <a:gd name="connsiteX15" fmla="*/ 114300 w 138113"/>
                <a:gd name="connsiteY15" fmla="*/ 71438 h 204788"/>
                <a:gd name="connsiteX16" fmla="*/ 123825 w 138113"/>
                <a:gd name="connsiteY16" fmla="*/ 100013 h 204788"/>
                <a:gd name="connsiteX17" fmla="*/ 138113 w 138113"/>
                <a:gd name="connsiteY17" fmla="*/ 104775 h 204788"/>
                <a:gd name="connsiteX18" fmla="*/ 138113 w 138113"/>
                <a:gd name="connsiteY18" fmla="*/ 147638 h 204788"/>
                <a:gd name="connsiteX19" fmla="*/ 138113 w 138113"/>
                <a:gd name="connsiteY19" fmla="*/ 180975 h 204788"/>
                <a:gd name="connsiteX20" fmla="*/ 88106 w 138113"/>
                <a:gd name="connsiteY20" fmla="*/ 204788 h 204788"/>
                <a:gd name="connsiteX0" fmla="*/ 104775 w 138113"/>
                <a:gd name="connsiteY0" fmla="*/ 169069 h 188118"/>
                <a:gd name="connsiteX1" fmla="*/ 73818 w 138113"/>
                <a:gd name="connsiteY1" fmla="*/ 188118 h 188118"/>
                <a:gd name="connsiteX2" fmla="*/ 45244 w 138113"/>
                <a:gd name="connsiteY2" fmla="*/ 133350 h 188118"/>
                <a:gd name="connsiteX3" fmla="*/ 16669 w 138113"/>
                <a:gd name="connsiteY3" fmla="*/ 126206 h 188118"/>
                <a:gd name="connsiteX4" fmla="*/ 0 w 138113"/>
                <a:gd name="connsiteY4" fmla="*/ 80963 h 188118"/>
                <a:gd name="connsiteX5" fmla="*/ 30956 w 138113"/>
                <a:gd name="connsiteY5" fmla="*/ 95250 h 188118"/>
                <a:gd name="connsiteX6" fmla="*/ 54769 w 138113"/>
                <a:gd name="connsiteY6" fmla="*/ 92869 h 188118"/>
                <a:gd name="connsiteX7" fmla="*/ 61913 w 138113"/>
                <a:gd name="connsiteY7" fmla="*/ 73819 h 188118"/>
                <a:gd name="connsiteX8" fmla="*/ 61913 w 138113"/>
                <a:gd name="connsiteY8" fmla="*/ 47625 h 188118"/>
                <a:gd name="connsiteX9" fmla="*/ 28575 w 138113"/>
                <a:gd name="connsiteY9" fmla="*/ 2381 h 188118"/>
                <a:gd name="connsiteX10" fmla="*/ 66675 w 138113"/>
                <a:gd name="connsiteY10" fmla="*/ 11906 h 188118"/>
                <a:gd name="connsiteX11" fmla="*/ 116681 w 138113"/>
                <a:gd name="connsiteY11" fmla="*/ 0 h 188118"/>
                <a:gd name="connsiteX12" fmla="*/ 116681 w 138113"/>
                <a:gd name="connsiteY12" fmla="*/ 16669 h 188118"/>
                <a:gd name="connsiteX13" fmla="*/ 97631 w 138113"/>
                <a:gd name="connsiteY13" fmla="*/ 40481 h 188118"/>
                <a:gd name="connsiteX14" fmla="*/ 85725 w 138113"/>
                <a:gd name="connsiteY14" fmla="*/ 64294 h 188118"/>
                <a:gd name="connsiteX15" fmla="*/ 114300 w 138113"/>
                <a:gd name="connsiteY15" fmla="*/ 71438 h 188118"/>
                <a:gd name="connsiteX16" fmla="*/ 123825 w 138113"/>
                <a:gd name="connsiteY16" fmla="*/ 100013 h 188118"/>
                <a:gd name="connsiteX17" fmla="*/ 138113 w 138113"/>
                <a:gd name="connsiteY17" fmla="*/ 104775 h 188118"/>
                <a:gd name="connsiteX18" fmla="*/ 138113 w 138113"/>
                <a:gd name="connsiteY18" fmla="*/ 147638 h 188118"/>
                <a:gd name="connsiteX19" fmla="*/ 138113 w 138113"/>
                <a:gd name="connsiteY19" fmla="*/ 180975 h 188118"/>
                <a:gd name="connsiteX20" fmla="*/ 104775 w 138113"/>
                <a:gd name="connsiteY20" fmla="*/ 169069 h 188118"/>
                <a:gd name="connsiteX0" fmla="*/ 104775 w 138113"/>
                <a:gd name="connsiteY0" fmla="*/ 169069 h 195262"/>
                <a:gd name="connsiteX1" fmla="*/ 80962 w 138113"/>
                <a:gd name="connsiteY1" fmla="*/ 195262 h 195262"/>
                <a:gd name="connsiteX2" fmla="*/ 45244 w 138113"/>
                <a:gd name="connsiteY2" fmla="*/ 133350 h 195262"/>
                <a:gd name="connsiteX3" fmla="*/ 16669 w 138113"/>
                <a:gd name="connsiteY3" fmla="*/ 126206 h 195262"/>
                <a:gd name="connsiteX4" fmla="*/ 0 w 138113"/>
                <a:gd name="connsiteY4" fmla="*/ 80963 h 195262"/>
                <a:gd name="connsiteX5" fmla="*/ 30956 w 138113"/>
                <a:gd name="connsiteY5" fmla="*/ 95250 h 195262"/>
                <a:gd name="connsiteX6" fmla="*/ 54769 w 138113"/>
                <a:gd name="connsiteY6" fmla="*/ 92869 h 195262"/>
                <a:gd name="connsiteX7" fmla="*/ 61913 w 138113"/>
                <a:gd name="connsiteY7" fmla="*/ 73819 h 195262"/>
                <a:gd name="connsiteX8" fmla="*/ 61913 w 138113"/>
                <a:gd name="connsiteY8" fmla="*/ 47625 h 195262"/>
                <a:gd name="connsiteX9" fmla="*/ 28575 w 138113"/>
                <a:gd name="connsiteY9" fmla="*/ 2381 h 195262"/>
                <a:gd name="connsiteX10" fmla="*/ 66675 w 138113"/>
                <a:gd name="connsiteY10" fmla="*/ 11906 h 195262"/>
                <a:gd name="connsiteX11" fmla="*/ 116681 w 138113"/>
                <a:gd name="connsiteY11" fmla="*/ 0 h 195262"/>
                <a:gd name="connsiteX12" fmla="*/ 116681 w 138113"/>
                <a:gd name="connsiteY12" fmla="*/ 16669 h 195262"/>
                <a:gd name="connsiteX13" fmla="*/ 97631 w 138113"/>
                <a:gd name="connsiteY13" fmla="*/ 40481 h 195262"/>
                <a:gd name="connsiteX14" fmla="*/ 85725 w 138113"/>
                <a:gd name="connsiteY14" fmla="*/ 64294 h 195262"/>
                <a:gd name="connsiteX15" fmla="*/ 114300 w 138113"/>
                <a:gd name="connsiteY15" fmla="*/ 71438 h 195262"/>
                <a:gd name="connsiteX16" fmla="*/ 123825 w 138113"/>
                <a:gd name="connsiteY16" fmla="*/ 100013 h 195262"/>
                <a:gd name="connsiteX17" fmla="*/ 138113 w 138113"/>
                <a:gd name="connsiteY17" fmla="*/ 104775 h 195262"/>
                <a:gd name="connsiteX18" fmla="*/ 138113 w 138113"/>
                <a:gd name="connsiteY18" fmla="*/ 147638 h 195262"/>
                <a:gd name="connsiteX19" fmla="*/ 138113 w 138113"/>
                <a:gd name="connsiteY19" fmla="*/ 180975 h 195262"/>
                <a:gd name="connsiteX20" fmla="*/ 104775 w 138113"/>
                <a:gd name="connsiteY20" fmla="*/ 169069 h 195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8113" h="195262">
                  <a:moveTo>
                    <a:pt x="104775" y="169069"/>
                  </a:moveTo>
                  <a:lnTo>
                    <a:pt x="80962" y="195262"/>
                  </a:lnTo>
                  <a:lnTo>
                    <a:pt x="45244" y="133350"/>
                  </a:lnTo>
                  <a:lnTo>
                    <a:pt x="16669" y="126206"/>
                  </a:lnTo>
                  <a:lnTo>
                    <a:pt x="0" y="80963"/>
                  </a:lnTo>
                  <a:lnTo>
                    <a:pt x="30956" y="95250"/>
                  </a:lnTo>
                  <a:lnTo>
                    <a:pt x="54769" y="92869"/>
                  </a:lnTo>
                  <a:lnTo>
                    <a:pt x="61913" y="73819"/>
                  </a:lnTo>
                  <a:lnTo>
                    <a:pt x="61913" y="47625"/>
                  </a:lnTo>
                  <a:lnTo>
                    <a:pt x="28575" y="2381"/>
                  </a:lnTo>
                  <a:lnTo>
                    <a:pt x="66675" y="11906"/>
                  </a:lnTo>
                  <a:lnTo>
                    <a:pt x="116681" y="0"/>
                  </a:lnTo>
                  <a:lnTo>
                    <a:pt x="116681" y="16669"/>
                  </a:lnTo>
                  <a:lnTo>
                    <a:pt x="97631" y="40481"/>
                  </a:lnTo>
                  <a:lnTo>
                    <a:pt x="85725" y="64294"/>
                  </a:lnTo>
                  <a:lnTo>
                    <a:pt x="114300" y="71438"/>
                  </a:lnTo>
                  <a:lnTo>
                    <a:pt x="123825" y="100013"/>
                  </a:lnTo>
                  <a:lnTo>
                    <a:pt x="138113" y="104775"/>
                  </a:lnTo>
                  <a:lnTo>
                    <a:pt x="138113" y="147638"/>
                  </a:lnTo>
                  <a:lnTo>
                    <a:pt x="138113" y="180975"/>
                  </a:lnTo>
                  <a:lnTo>
                    <a:pt x="104775" y="16906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7" name="Freeform: Shape 104"/>
            <p:cNvSpPr/>
            <p:nvPr/>
          </p:nvSpPr>
          <p:spPr bwMode="auto">
            <a:xfrm>
              <a:off x="1476375" y="1414463"/>
              <a:ext cx="88106" cy="52387"/>
            </a:xfrm>
            <a:custGeom>
              <a:avLst/>
              <a:gdLst>
                <a:gd name="connsiteX0" fmla="*/ 71438 w 88106"/>
                <a:gd name="connsiteY0" fmla="*/ 0 h 52387"/>
                <a:gd name="connsiteX1" fmla="*/ 0 w 88106"/>
                <a:gd name="connsiteY1" fmla="*/ 45243 h 52387"/>
                <a:gd name="connsiteX2" fmla="*/ 33338 w 88106"/>
                <a:gd name="connsiteY2" fmla="*/ 50006 h 52387"/>
                <a:gd name="connsiteX3" fmla="*/ 88106 w 88106"/>
                <a:gd name="connsiteY3" fmla="*/ 52387 h 52387"/>
                <a:gd name="connsiteX4" fmla="*/ 71438 w 88106"/>
                <a:gd name="connsiteY4" fmla="*/ 0 h 5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106" h="52387">
                  <a:moveTo>
                    <a:pt x="71438" y="0"/>
                  </a:moveTo>
                  <a:lnTo>
                    <a:pt x="0" y="45243"/>
                  </a:lnTo>
                  <a:lnTo>
                    <a:pt x="33338" y="50006"/>
                  </a:lnTo>
                  <a:lnTo>
                    <a:pt x="88106" y="52387"/>
                  </a:lnTo>
                  <a:lnTo>
                    <a:pt x="7143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8" name="Freeform: Shape 105"/>
            <p:cNvSpPr/>
            <p:nvPr/>
          </p:nvSpPr>
          <p:spPr bwMode="auto">
            <a:xfrm>
              <a:off x="1750219" y="1664494"/>
              <a:ext cx="119062" cy="157162"/>
            </a:xfrm>
            <a:custGeom>
              <a:avLst/>
              <a:gdLst>
                <a:gd name="connsiteX0" fmla="*/ 100012 w 119062"/>
                <a:gd name="connsiteY0" fmla="*/ 157162 h 157162"/>
                <a:gd name="connsiteX1" fmla="*/ 119062 w 119062"/>
                <a:gd name="connsiteY1" fmla="*/ 97631 h 157162"/>
                <a:gd name="connsiteX2" fmla="*/ 109537 w 119062"/>
                <a:gd name="connsiteY2" fmla="*/ 73819 h 157162"/>
                <a:gd name="connsiteX3" fmla="*/ 92869 w 119062"/>
                <a:gd name="connsiteY3" fmla="*/ 2381 h 157162"/>
                <a:gd name="connsiteX4" fmla="*/ 76200 w 119062"/>
                <a:gd name="connsiteY4" fmla="*/ 14287 h 157162"/>
                <a:gd name="connsiteX5" fmla="*/ 42862 w 119062"/>
                <a:gd name="connsiteY5" fmla="*/ 0 h 157162"/>
                <a:gd name="connsiteX6" fmla="*/ 40481 w 119062"/>
                <a:gd name="connsiteY6" fmla="*/ 21431 h 157162"/>
                <a:gd name="connsiteX7" fmla="*/ 64294 w 119062"/>
                <a:gd name="connsiteY7" fmla="*/ 59531 h 157162"/>
                <a:gd name="connsiteX8" fmla="*/ 59531 w 119062"/>
                <a:gd name="connsiteY8" fmla="*/ 76200 h 157162"/>
                <a:gd name="connsiteX9" fmla="*/ 9525 w 119062"/>
                <a:gd name="connsiteY9" fmla="*/ 26194 h 157162"/>
                <a:gd name="connsiteX10" fmla="*/ 23812 w 119062"/>
                <a:gd name="connsiteY10" fmla="*/ 85725 h 157162"/>
                <a:gd name="connsiteX11" fmla="*/ 0 w 119062"/>
                <a:gd name="connsiteY11" fmla="*/ 109537 h 157162"/>
                <a:gd name="connsiteX12" fmla="*/ 78581 w 119062"/>
                <a:gd name="connsiteY12" fmla="*/ 83344 h 157162"/>
                <a:gd name="connsiteX13" fmla="*/ 100012 w 119062"/>
                <a:gd name="connsiteY13" fmla="*/ 157162 h 157162"/>
                <a:gd name="connsiteX0" fmla="*/ 100012 w 119062"/>
                <a:gd name="connsiteY0" fmla="*/ 157162 h 157162"/>
                <a:gd name="connsiteX1" fmla="*/ 119062 w 119062"/>
                <a:gd name="connsiteY1" fmla="*/ 97631 h 157162"/>
                <a:gd name="connsiteX2" fmla="*/ 109537 w 119062"/>
                <a:gd name="connsiteY2" fmla="*/ 73819 h 157162"/>
                <a:gd name="connsiteX3" fmla="*/ 92869 w 119062"/>
                <a:gd name="connsiteY3" fmla="*/ 2381 h 157162"/>
                <a:gd name="connsiteX4" fmla="*/ 76200 w 119062"/>
                <a:gd name="connsiteY4" fmla="*/ 14287 h 157162"/>
                <a:gd name="connsiteX5" fmla="*/ 42862 w 119062"/>
                <a:gd name="connsiteY5" fmla="*/ 0 h 157162"/>
                <a:gd name="connsiteX6" fmla="*/ 40481 w 119062"/>
                <a:gd name="connsiteY6" fmla="*/ 21431 h 157162"/>
                <a:gd name="connsiteX7" fmla="*/ 64294 w 119062"/>
                <a:gd name="connsiteY7" fmla="*/ 59531 h 157162"/>
                <a:gd name="connsiteX8" fmla="*/ 59531 w 119062"/>
                <a:gd name="connsiteY8" fmla="*/ 76200 h 157162"/>
                <a:gd name="connsiteX9" fmla="*/ 9525 w 119062"/>
                <a:gd name="connsiteY9" fmla="*/ 26194 h 157162"/>
                <a:gd name="connsiteX10" fmla="*/ 23812 w 119062"/>
                <a:gd name="connsiteY10" fmla="*/ 85725 h 157162"/>
                <a:gd name="connsiteX11" fmla="*/ 0 w 119062"/>
                <a:gd name="connsiteY11" fmla="*/ 109537 h 157162"/>
                <a:gd name="connsiteX12" fmla="*/ 78581 w 119062"/>
                <a:gd name="connsiteY12" fmla="*/ 83344 h 157162"/>
                <a:gd name="connsiteX13" fmla="*/ 92869 w 119062"/>
                <a:gd name="connsiteY13" fmla="*/ 119062 h 157162"/>
                <a:gd name="connsiteX14" fmla="*/ 100012 w 119062"/>
                <a:gd name="connsiteY14" fmla="*/ 157162 h 157162"/>
                <a:gd name="connsiteX0" fmla="*/ 100012 w 119062"/>
                <a:gd name="connsiteY0" fmla="*/ 157162 h 157162"/>
                <a:gd name="connsiteX1" fmla="*/ 119062 w 119062"/>
                <a:gd name="connsiteY1" fmla="*/ 97631 h 157162"/>
                <a:gd name="connsiteX2" fmla="*/ 109537 w 119062"/>
                <a:gd name="connsiteY2" fmla="*/ 73819 h 157162"/>
                <a:gd name="connsiteX3" fmla="*/ 92869 w 119062"/>
                <a:gd name="connsiteY3" fmla="*/ 2381 h 157162"/>
                <a:gd name="connsiteX4" fmla="*/ 76200 w 119062"/>
                <a:gd name="connsiteY4" fmla="*/ 14287 h 157162"/>
                <a:gd name="connsiteX5" fmla="*/ 42862 w 119062"/>
                <a:gd name="connsiteY5" fmla="*/ 0 h 157162"/>
                <a:gd name="connsiteX6" fmla="*/ 40481 w 119062"/>
                <a:gd name="connsiteY6" fmla="*/ 21431 h 157162"/>
                <a:gd name="connsiteX7" fmla="*/ 64294 w 119062"/>
                <a:gd name="connsiteY7" fmla="*/ 59531 h 157162"/>
                <a:gd name="connsiteX8" fmla="*/ 59531 w 119062"/>
                <a:gd name="connsiteY8" fmla="*/ 76200 h 157162"/>
                <a:gd name="connsiteX9" fmla="*/ 9525 w 119062"/>
                <a:gd name="connsiteY9" fmla="*/ 26194 h 157162"/>
                <a:gd name="connsiteX10" fmla="*/ 23812 w 119062"/>
                <a:gd name="connsiteY10" fmla="*/ 85725 h 157162"/>
                <a:gd name="connsiteX11" fmla="*/ 0 w 119062"/>
                <a:gd name="connsiteY11" fmla="*/ 109537 h 157162"/>
                <a:gd name="connsiteX12" fmla="*/ 78581 w 119062"/>
                <a:gd name="connsiteY12" fmla="*/ 83344 h 157162"/>
                <a:gd name="connsiteX13" fmla="*/ 40482 w 119062"/>
                <a:gd name="connsiteY13" fmla="*/ 154781 h 157162"/>
                <a:gd name="connsiteX14" fmla="*/ 100012 w 119062"/>
                <a:gd name="connsiteY14" fmla="*/ 157162 h 157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9062" h="157162">
                  <a:moveTo>
                    <a:pt x="100012" y="157162"/>
                  </a:moveTo>
                  <a:lnTo>
                    <a:pt x="119062" y="97631"/>
                  </a:lnTo>
                  <a:lnTo>
                    <a:pt x="109537" y="73819"/>
                  </a:lnTo>
                  <a:lnTo>
                    <a:pt x="92869" y="2381"/>
                  </a:lnTo>
                  <a:lnTo>
                    <a:pt x="76200" y="14287"/>
                  </a:lnTo>
                  <a:lnTo>
                    <a:pt x="42862" y="0"/>
                  </a:lnTo>
                  <a:lnTo>
                    <a:pt x="40481" y="21431"/>
                  </a:lnTo>
                  <a:lnTo>
                    <a:pt x="64294" y="59531"/>
                  </a:lnTo>
                  <a:lnTo>
                    <a:pt x="59531" y="76200"/>
                  </a:lnTo>
                  <a:lnTo>
                    <a:pt x="9525" y="26194"/>
                  </a:lnTo>
                  <a:lnTo>
                    <a:pt x="23812" y="85725"/>
                  </a:lnTo>
                  <a:lnTo>
                    <a:pt x="0" y="109537"/>
                  </a:lnTo>
                  <a:lnTo>
                    <a:pt x="78581" y="83344"/>
                  </a:lnTo>
                  <a:lnTo>
                    <a:pt x="40482" y="154781"/>
                  </a:lnTo>
                  <a:lnTo>
                    <a:pt x="100012" y="15716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99" name="Freeform: Shape 106"/>
            <p:cNvSpPr/>
            <p:nvPr/>
          </p:nvSpPr>
          <p:spPr bwMode="auto">
            <a:xfrm>
              <a:off x="1378744" y="1635919"/>
              <a:ext cx="288131" cy="252412"/>
            </a:xfrm>
            <a:custGeom>
              <a:avLst/>
              <a:gdLst>
                <a:gd name="connsiteX0" fmla="*/ 259556 w 288131"/>
                <a:gd name="connsiteY0" fmla="*/ 190500 h 252412"/>
                <a:gd name="connsiteX1" fmla="*/ 288131 w 288131"/>
                <a:gd name="connsiteY1" fmla="*/ 123825 h 252412"/>
                <a:gd name="connsiteX2" fmla="*/ 273844 w 288131"/>
                <a:gd name="connsiteY2" fmla="*/ 90487 h 252412"/>
                <a:gd name="connsiteX3" fmla="*/ 261937 w 288131"/>
                <a:gd name="connsiteY3" fmla="*/ 119062 h 252412"/>
                <a:gd name="connsiteX4" fmla="*/ 228600 w 288131"/>
                <a:gd name="connsiteY4" fmla="*/ 102394 h 252412"/>
                <a:gd name="connsiteX5" fmla="*/ 219075 w 288131"/>
                <a:gd name="connsiteY5" fmla="*/ 92869 h 252412"/>
                <a:gd name="connsiteX6" fmla="*/ 209550 w 288131"/>
                <a:gd name="connsiteY6" fmla="*/ 59531 h 252412"/>
                <a:gd name="connsiteX7" fmla="*/ 204787 w 288131"/>
                <a:gd name="connsiteY7" fmla="*/ 0 h 252412"/>
                <a:gd name="connsiteX8" fmla="*/ 166687 w 288131"/>
                <a:gd name="connsiteY8" fmla="*/ 42862 h 252412"/>
                <a:gd name="connsiteX9" fmla="*/ 192881 w 288131"/>
                <a:gd name="connsiteY9" fmla="*/ 83344 h 252412"/>
                <a:gd name="connsiteX10" fmla="*/ 211931 w 288131"/>
                <a:gd name="connsiteY10" fmla="*/ 133350 h 252412"/>
                <a:gd name="connsiteX11" fmla="*/ 202406 w 288131"/>
                <a:gd name="connsiteY11" fmla="*/ 142875 h 252412"/>
                <a:gd name="connsiteX12" fmla="*/ 171450 w 288131"/>
                <a:gd name="connsiteY12" fmla="*/ 138112 h 252412"/>
                <a:gd name="connsiteX13" fmla="*/ 138112 w 288131"/>
                <a:gd name="connsiteY13" fmla="*/ 147637 h 252412"/>
                <a:gd name="connsiteX14" fmla="*/ 128587 w 288131"/>
                <a:gd name="connsiteY14" fmla="*/ 104775 h 252412"/>
                <a:gd name="connsiteX15" fmla="*/ 109537 w 288131"/>
                <a:gd name="connsiteY15" fmla="*/ 78581 h 252412"/>
                <a:gd name="connsiteX16" fmla="*/ 73819 w 288131"/>
                <a:gd name="connsiteY16" fmla="*/ 61912 h 252412"/>
                <a:gd name="connsiteX17" fmla="*/ 54769 w 288131"/>
                <a:gd name="connsiteY17" fmla="*/ 42862 h 252412"/>
                <a:gd name="connsiteX18" fmla="*/ 35719 w 288131"/>
                <a:gd name="connsiteY18" fmla="*/ 59531 h 252412"/>
                <a:gd name="connsiteX19" fmla="*/ 64294 w 288131"/>
                <a:gd name="connsiteY19" fmla="*/ 85725 h 252412"/>
                <a:gd name="connsiteX20" fmla="*/ 21431 w 288131"/>
                <a:gd name="connsiteY20" fmla="*/ 76200 h 252412"/>
                <a:gd name="connsiteX21" fmla="*/ 14287 w 288131"/>
                <a:gd name="connsiteY21" fmla="*/ 116681 h 252412"/>
                <a:gd name="connsiteX22" fmla="*/ 64294 w 288131"/>
                <a:gd name="connsiteY22" fmla="*/ 100012 h 252412"/>
                <a:gd name="connsiteX23" fmla="*/ 0 w 288131"/>
                <a:gd name="connsiteY23" fmla="*/ 133350 h 252412"/>
                <a:gd name="connsiteX24" fmla="*/ 59531 w 288131"/>
                <a:gd name="connsiteY24" fmla="*/ 130969 h 252412"/>
                <a:gd name="connsiteX25" fmla="*/ 35719 w 288131"/>
                <a:gd name="connsiteY25" fmla="*/ 154781 h 252412"/>
                <a:gd name="connsiteX26" fmla="*/ 14287 w 288131"/>
                <a:gd name="connsiteY26" fmla="*/ 159544 h 252412"/>
                <a:gd name="connsiteX27" fmla="*/ 38100 w 288131"/>
                <a:gd name="connsiteY27" fmla="*/ 185737 h 252412"/>
                <a:gd name="connsiteX28" fmla="*/ 59531 w 288131"/>
                <a:gd name="connsiteY28" fmla="*/ 183356 h 252412"/>
                <a:gd name="connsiteX29" fmla="*/ 71437 w 288131"/>
                <a:gd name="connsiteY29" fmla="*/ 150019 h 252412"/>
                <a:gd name="connsiteX30" fmla="*/ 95250 w 288131"/>
                <a:gd name="connsiteY30" fmla="*/ 150019 h 252412"/>
                <a:gd name="connsiteX31" fmla="*/ 97631 w 288131"/>
                <a:gd name="connsiteY31" fmla="*/ 180975 h 252412"/>
                <a:gd name="connsiteX32" fmla="*/ 119062 w 288131"/>
                <a:gd name="connsiteY32" fmla="*/ 157162 h 252412"/>
                <a:gd name="connsiteX33" fmla="*/ 138112 w 288131"/>
                <a:gd name="connsiteY33" fmla="*/ 164306 h 252412"/>
                <a:gd name="connsiteX34" fmla="*/ 159544 w 288131"/>
                <a:gd name="connsiteY34" fmla="*/ 166687 h 252412"/>
                <a:gd name="connsiteX35" fmla="*/ 147637 w 288131"/>
                <a:gd name="connsiteY35" fmla="*/ 192881 h 252412"/>
                <a:gd name="connsiteX36" fmla="*/ 116681 w 288131"/>
                <a:gd name="connsiteY36" fmla="*/ 192881 h 252412"/>
                <a:gd name="connsiteX37" fmla="*/ 88106 w 288131"/>
                <a:gd name="connsiteY37" fmla="*/ 216694 h 252412"/>
                <a:gd name="connsiteX38" fmla="*/ 107156 w 288131"/>
                <a:gd name="connsiteY38" fmla="*/ 252412 h 252412"/>
                <a:gd name="connsiteX39" fmla="*/ 159544 w 288131"/>
                <a:gd name="connsiteY39" fmla="*/ 219075 h 252412"/>
                <a:gd name="connsiteX40" fmla="*/ 161925 w 288131"/>
                <a:gd name="connsiteY40" fmla="*/ 195262 h 252412"/>
                <a:gd name="connsiteX41" fmla="*/ 178594 w 288131"/>
                <a:gd name="connsiteY41" fmla="*/ 183356 h 252412"/>
                <a:gd name="connsiteX42" fmla="*/ 204787 w 288131"/>
                <a:gd name="connsiteY42" fmla="*/ 176212 h 252412"/>
                <a:gd name="connsiteX43" fmla="*/ 259556 w 288131"/>
                <a:gd name="connsiteY43" fmla="*/ 190500 h 25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8131" h="252412">
                  <a:moveTo>
                    <a:pt x="259556" y="190500"/>
                  </a:moveTo>
                  <a:lnTo>
                    <a:pt x="288131" y="123825"/>
                  </a:lnTo>
                  <a:lnTo>
                    <a:pt x="273844" y="90487"/>
                  </a:lnTo>
                  <a:lnTo>
                    <a:pt x="261937" y="119062"/>
                  </a:lnTo>
                  <a:lnTo>
                    <a:pt x="228600" y="102394"/>
                  </a:lnTo>
                  <a:lnTo>
                    <a:pt x="219075" y="92869"/>
                  </a:lnTo>
                  <a:lnTo>
                    <a:pt x="209550" y="59531"/>
                  </a:lnTo>
                  <a:lnTo>
                    <a:pt x="204787" y="0"/>
                  </a:lnTo>
                  <a:lnTo>
                    <a:pt x="166687" y="42862"/>
                  </a:lnTo>
                  <a:lnTo>
                    <a:pt x="192881" y="83344"/>
                  </a:lnTo>
                  <a:lnTo>
                    <a:pt x="211931" y="133350"/>
                  </a:lnTo>
                  <a:lnTo>
                    <a:pt x="202406" y="142875"/>
                  </a:lnTo>
                  <a:lnTo>
                    <a:pt x="171450" y="138112"/>
                  </a:lnTo>
                  <a:lnTo>
                    <a:pt x="138112" y="147637"/>
                  </a:lnTo>
                  <a:lnTo>
                    <a:pt x="128587" y="104775"/>
                  </a:lnTo>
                  <a:lnTo>
                    <a:pt x="109537" y="78581"/>
                  </a:lnTo>
                  <a:lnTo>
                    <a:pt x="73819" y="61912"/>
                  </a:lnTo>
                  <a:lnTo>
                    <a:pt x="54769" y="42862"/>
                  </a:lnTo>
                  <a:lnTo>
                    <a:pt x="35719" y="59531"/>
                  </a:lnTo>
                  <a:lnTo>
                    <a:pt x="64294" y="85725"/>
                  </a:lnTo>
                  <a:lnTo>
                    <a:pt x="21431" y="76200"/>
                  </a:lnTo>
                  <a:lnTo>
                    <a:pt x="14287" y="116681"/>
                  </a:lnTo>
                  <a:lnTo>
                    <a:pt x="64294" y="100012"/>
                  </a:lnTo>
                  <a:lnTo>
                    <a:pt x="0" y="133350"/>
                  </a:lnTo>
                  <a:lnTo>
                    <a:pt x="59531" y="130969"/>
                  </a:lnTo>
                  <a:lnTo>
                    <a:pt x="35719" y="154781"/>
                  </a:lnTo>
                  <a:lnTo>
                    <a:pt x="14287" y="159544"/>
                  </a:lnTo>
                  <a:lnTo>
                    <a:pt x="38100" y="185737"/>
                  </a:lnTo>
                  <a:lnTo>
                    <a:pt x="59531" y="183356"/>
                  </a:lnTo>
                  <a:lnTo>
                    <a:pt x="71437" y="150019"/>
                  </a:lnTo>
                  <a:lnTo>
                    <a:pt x="95250" y="150019"/>
                  </a:lnTo>
                  <a:lnTo>
                    <a:pt x="97631" y="180975"/>
                  </a:lnTo>
                  <a:lnTo>
                    <a:pt x="119062" y="157162"/>
                  </a:lnTo>
                  <a:lnTo>
                    <a:pt x="138112" y="164306"/>
                  </a:lnTo>
                  <a:lnTo>
                    <a:pt x="159544" y="166687"/>
                  </a:lnTo>
                  <a:lnTo>
                    <a:pt x="147637" y="192881"/>
                  </a:lnTo>
                  <a:lnTo>
                    <a:pt x="116681" y="192881"/>
                  </a:lnTo>
                  <a:lnTo>
                    <a:pt x="88106" y="216694"/>
                  </a:lnTo>
                  <a:lnTo>
                    <a:pt x="107156" y="252412"/>
                  </a:lnTo>
                  <a:lnTo>
                    <a:pt x="159544" y="219075"/>
                  </a:lnTo>
                  <a:lnTo>
                    <a:pt x="161925" y="195262"/>
                  </a:lnTo>
                  <a:lnTo>
                    <a:pt x="178594" y="183356"/>
                  </a:lnTo>
                  <a:lnTo>
                    <a:pt x="204787" y="176212"/>
                  </a:lnTo>
                  <a:lnTo>
                    <a:pt x="259556" y="19050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0" name="Freeform: Shape 107"/>
            <p:cNvSpPr/>
            <p:nvPr/>
          </p:nvSpPr>
          <p:spPr bwMode="auto">
            <a:xfrm>
              <a:off x="1243013" y="1569244"/>
              <a:ext cx="159543" cy="169069"/>
            </a:xfrm>
            <a:custGeom>
              <a:avLst/>
              <a:gdLst>
                <a:gd name="connsiteX0" fmla="*/ 102393 w 159543"/>
                <a:gd name="connsiteY0" fmla="*/ 14287 h 169069"/>
                <a:gd name="connsiteX1" fmla="*/ 69056 w 159543"/>
                <a:gd name="connsiteY1" fmla="*/ 64294 h 169069"/>
                <a:gd name="connsiteX2" fmla="*/ 50006 w 159543"/>
                <a:gd name="connsiteY2" fmla="*/ 88106 h 169069"/>
                <a:gd name="connsiteX3" fmla="*/ 30956 w 159543"/>
                <a:gd name="connsiteY3" fmla="*/ 116681 h 169069"/>
                <a:gd name="connsiteX4" fmla="*/ 0 w 159543"/>
                <a:gd name="connsiteY4" fmla="*/ 119062 h 169069"/>
                <a:gd name="connsiteX5" fmla="*/ 0 w 159543"/>
                <a:gd name="connsiteY5" fmla="*/ 119062 h 169069"/>
                <a:gd name="connsiteX6" fmla="*/ 4762 w 159543"/>
                <a:gd name="connsiteY6" fmla="*/ 169069 h 169069"/>
                <a:gd name="connsiteX7" fmla="*/ 26193 w 159543"/>
                <a:gd name="connsiteY7" fmla="*/ 142875 h 169069"/>
                <a:gd name="connsiteX8" fmla="*/ 38100 w 159543"/>
                <a:gd name="connsiteY8" fmla="*/ 130969 h 169069"/>
                <a:gd name="connsiteX9" fmla="*/ 64293 w 159543"/>
                <a:gd name="connsiteY9" fmla="*/ 161925 h 169069"/>
                <a:gd name="connsiteX10" fmla="*/ 66675 w 159543"/>
                <a:gd name="connsiteY10" fmla="*/ 114300 h 169069"/>
                <a:gd name="connsiteX11" fmla="*/ 90487 w 159543"/>
                <a:gd name="connsiteY11" fmla="*/ 138112 h 169069"/>
                <a:gd name="connsiteX12" fmla="*/ 92868 w 159543"/>
                <a:gd name="connsiteY12" fmla="*/ 107156 h 169069"/>
                <a:gd name="connsiteX13" fmla="*/ 109537 w 159543"/>
                <a:gd name="connsiteY13" fmla="*/ 64294 h 169069"/>
                <a:gd name="connsiteX14" fmla="*/ 119062 w 159543"/>
                <a:gd name="connsiteY14" fmla="*/ 128587 h 169069"/>
                <a:gd name="connsiteX15" fmla="*/ 138112 w 159543"/>
                <a:gd name="connsiteY15" fmla="*/ 90487 h 169069"/>
                <a:gd name="connsiteX16" fmla="*/ 145256 w 159543"/>
                <a:gd name="connsiteY16" fmla="*/ 76200 h 169069"/>
                <a:gd name="connsiteX17" fmla="*/ 145256 w 159543"/>
                <a:gd name="connsiteY17" fmla="*/ 45244 h 169069"/>
                <a:gd name="connsiteX18" fmla="*/ 159543 w 159543"/>
                <a:gd name="connsiteY18" fmla="*/ 7144 h 169069"/>
                <a:gd name="connsiteX19" fmla="*/ 152400 w 159543"/>
                <a:gd name="connsiteY19" fmla="*/ 0 h 169069"/>
                <a:gd name="connsiteX20" fmla="*/ 102393 w 159543"/>
                <a:gd name="connsiteY20" fmla="*/ 14287 h 169069"/>
                <a:gd name="connsiteX0" fmla="*/ 102393 w 159543"/>
                <a:gd name="connsiteY0" fmla="*/ 14287 h 169069"/>
                <a:gd name="connsiteX1" fmla="*/ 69056 w 159543"/>
                <a:gd name="connsiteY1" fmla="*/ 64294 h 169069"/>
                <a:gd name="connsiteX2" fmla="*/ 50006 w 159543"/>
                <a:gd name="connsiteY2" fmla="*/ 88106 h 169069"/>
                <a:gd name="connsiteX3" fmla="*/ 30956 w 159543"/>
                <a:gd name="connsiteY3" fmla="*/ 116681 h 169069"/>
                <a:gd name="connsiteX4" fmla="*/ 0 w 159543"/>
                <a:gd name="connsiteY4" fmla="*/ 119062 h 169069"/>
                <a:gd name="connsiteX5" fmla="*/ 0 w 159543"/>
                <a:gd name="connsiteY5" fmla="*/ 119062 h 169069"/>
                <a:gd name="connsiteX6" fmla="*/ 4762 w 159543"/>
                <a:gd name="connsiteY6" fmla="*/ 169069 h 169069"/>
                <a:gd name="connsiteX7" fmla="*/ 26193 w 159543"/>
                <a:gd name="connsiteY7" fmla="*/ 142875 h 169069"/>
                <a:gd name="connsiteX8" fmla="*/ 38100 w 159543"/>
                <a:gd name="connsiteY8" fmla="*/ 130969 h 169069"/>
                <a:gd name="connsiteX9" fmla="*/ 64293 w 159543"/>
                <a:gd name="connsiteY9" fmla="*/ 161925 h 169069"/>
                <a:gd name="connsiteX10" fmla="*/ 66675 w 159543"/>
                <a:gd name="connsiteY10" fmla="*/ 114300 h 169069"/>
                <a:gd name="connsiteX11" fmla="*/ 90487 w 159543"/>
                <a:gd name="connsiteY11" fmla="*/ 138112 h 169069"/>
                <a:gd name="connsiteX12" fmla="*/ 92868 w 159543"/>
                <a:gd name="connsiteY12" fmla="*/ 107156 h 169069"/>
                <a:gd name="connsiteX13" fmla="*/ 109537 w 159543"/>
                <a:gd name="connsiteY13" fmla="*/ 64294 h 169069"/>
                <a:gd name="connsiteX14" fmla="*/ 119062 w 159543"/>
                <a:gd name="connsiteY14" fmla="*/ 128587 h 169069"/>
                <a:gd name="connsiteX15" fmla="*/ 138112 w 159543"/>
                <a:gd name="connsiteY15" fmla="*/ 90487 h 169069"/>
                <a:gd name="connsiteX16" fmla="*/ 145256 w 159543"/>
                <a:gd name="connsiteY16" fmla="*/ 76200 h 169069"/>
                <a:gd name="connsiteX17" fmla="*/ 145256 w 159543"/>
                <a:gd name="connsiteY17" fmla="*/ 45244 h 169069"/>
                <a:gd name="connsiteX18" fmla="*/ 159543 w 159543"/>
                <a:gd name="connsiteY18" fmla="*/ 7144 h 169069"/>
                <a:gd name="connsiteX19" fmla="*/ 152400 w 159543"/>
                <a:gd name="connsiteY19" fmla="*/ 0 h 169069"/>
                <a:gd name="connsiteX20" fmla="*/ 126206 w 159543"/>
                <a:gd name="connsiteY20" fmla="*/ 0 h 169069"/>
                <a:gd name="connsiteX21" fmla="*/ 102393 w 159543"/>
                <a:gd name="connsiteY21" fmla="*/ 14287 h 169069"/>
                <a:gd name="connsiteX0" fmla="*/ 102393 w 159543"/>
                <a:gd name="connsiteY0" fmla="*/ 14287 h 169069"/>
                <a:gd name="connsiteX1" fmla="*/ 69056 w 159543"/>
                <a:gd name="connsiteY1" fmla="*/ 64294 h 169069"/>
                <a:gd name="connsiteX2" fmla="*/ 50006 w 159543"/>
                <a:gd name="connsiteY2" fmla="*/ 88106 h 169069"/>
                <a:gd name="connsiteX3" fmla="*/ 30956 w 159543"/>
                <a:gd name="connsiteY3" fmla="*/ 116681 h 169069"/>
                <a:gd name="connsiteX4" fmla="*/ 0 w 159543"/>
                <a:gd name="connsiteY4" fmla="*/ 119062 h 169069"/>
                <a:gd name="connsiteX5" fmla="*/ 0 w 159543"/>
                <a:gd name="connsiteY5" fmla="*/ 119062 h 169069"/>
                <a:gd name="connsiteX6" fmla="*/ 4762 w 159543"/>
                <a:gd name="connsiteY6" fmla="*/ 169069 h 169069"/>
                <a:gd name="connsiteX7" fmla="*/ 26193 w 159543"/>
                <a:gd name="connsiteY7" fmla="*/ 142875 h 169069"/>
                <a:gd name="connsiteX8" fmla="*/ 38100 w 159543"/>
                <a:gd name="connsiteY8" fmla="*/ 130969 h 169069"/>
                <a:gd name="connsiteX9" fmla="*/ 64293 w 159543"/>
                <a:gd name="connsiteY9" fmla="*/ 161925 h 169069"/>
                <a:gd name="connsiteX10" fmla="*/ 66675 w 159543"/>
                <a:gd name="connsiteY10" fmla="*/ 114300 h 169069"/>
                <a:gd name="connsiteX11" fmla="*/ 90487 w 159543"/>
                <a:gd name="connsiteY11" fmla="*/ 138112 h 169069"/>
                <a:gd name="connsiteX12" fmla="*/ 92868 w 159543"/>
                <a:gd name="connsiteY12" fmla="*/ 107156 h 169069"/>
                <a:gd name="connsiteX13" fmla="*/ 109537 w 159543"/>
                <a:gd name="connsiteY13" fmla="*/ 64294 h 169069"/>
                <a:gd name="connsiteX14" fmla="*/ 119062 w 159543"/>
                <a:gd name="connsiteY14" fmla="*/ 128587 h 169069"/>
                <a:gd name="connsiteX15" fmla="*/ 138112 w 159543"/>
                <a:gd name="connsiteY15" fmla="*/ 90487 h 169069"/>
                <a:gd name="connsiteX16" fmla="*/ 145256 w 159543"/>
                <a:gd name="connsiteY16" fmla="*/ 76200 h 169069"/>
                <a:gd name="connsiteX17" fmla="*/ 145256 w 159543"/>
                <a:gd name="connsiteY17" fmla="*/ 45244 h 169069"/>
                <a:gd name="connsiteX18" fmla="*/ 159543 w 159543"/>
                <a:gd name="connsiteY18" fmla="*/ 7144 h 169069"/>
                <a:gd name="connsiteX19" fmla="*/ 152400 w 159543"/>
                <a:gd name="connsiteY19" fmla="*/ 0 h 169069"/>
                <a:gd name="connsiteX20" fmla="*/ 126206 w 159543"/>
                <a:gd name="connsiteY20" fmla="*/ 23813 h 169069"/>
                <a:gd name="connsiteX21" fmla="*/ 102393 w 159543"/>
                <a:gd name="connsiteY21" fmla="*/ 14287 h 16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9543" h="169069">
                  <a:moveTo>
                    <a:pt x="102393" y="14287"/>
                  </a:moveTo>
                  <a:lnTo>
                    <a:pt x="69056" y="64294"/>
                  </a:lnTo>
                  <a:lnTo>
                    <a:pt x="50006" y="88106"/>
                  </a:lnTo>
                  <a:lnTo>
                    <a:pt x="30956" y="116681"/>
                  </a:lnTo>
                  <a:lnTo>
                    <a:pt x="0" y="119062"/>
                  </a:lnTo>
                  <a:lnTo>
                    <a:pt x="0" y="119062"/>
                  </a:lnTo>
                  <a:lnTo>
                    <a:pt x="4762" y="169069"/>
                  </a:lnTo>
                  <a:lnTo>
                    <a:pt x="26193" y="142875"/>
                  </a:lnTo>
                  <a:lnTo>
                    <a:pt x="38100" y="130969"/>
                  </a:lnTo>
                  <a:lnTo>
                    <a:pt x="64293" y="161925"/>
                  </a:lnTo>
                  <a:lnTo>
                    <a:pt x="66675" y="114300"/>
                  </a:lnTo>
                  <a:lnTo>
                    <a:pt x="90487" y="138112"/>
                  </a:lnTo>
                  <a:lnTo>
                    <a:pt x="92868" y="107156"/>
                  </a:lnTo>
                  <a:lnTo>
                    <a:pt x="109537" y="64294"/>
                  </a:lnTo>
                  <a:lnTo>
                    <a:pt x="119062" y="128587"/>
                  </a:lnTo>
                  <a:lnTo>
                    <a:pt x="138112" y="90487"/>
                  </a:lnTo>
                  <a:lnTo>
                    <a:pt x="145256" y="76200"/>
                  </a:lnTo>
                  <a:lnTo>
                    <a:pt x="145256" y="45244"/>
                  </a:lnTo>
                  <a:lnTo>
                    <a:pt x="159543" y="7144"/>
                  </a:lnTo>
                  <a:lnTo>
                    <a:pt x="152400" y="0"/>
                  </a:lnTo>
                  <a:lnTo>
                    <a:pt x="126206" y="23813"/>
                  </a:lnTo>
                  <a:lnTo>
                    <a:pt x="102393" y="1428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1" name="Freeform: Shape 108"/>
            <p:cNvSpPr/>
            <p:nvPr/>
          </p:nvSpPr>
          <p:spPr bwMode="auto">
            <a:xfrm>
              <a:off x="1469231" y="1497806"/>
              <a:ext cx="76200" cy="76200"/>
            </a:xfrm>
            <a:custGeom>
              <a:avLst/>
              <a:gdLst>
                <a:gd name="connsiteX0" fmla="*/ 73819 w 76200"/>
                <a:gd name="connsiteY0" fmla="*/ 0 h 76200"/>
                <a:gd name="connsiteX1" fmla="*/ 0 w 76200"/>
                <a:gd name="connsiteY1" fmla="*/ 30957 h 76200"/>
                <a:gd name="connsiteX2" fmla="*/ 14288 w 76200"/>
                <a:gd name="connsiteY2" fmla="*/ 61913 h 76200"/>
                <a:gd name="connsiteX3" fmla="*/ 38100 w 76200"/>
                <a:gd name="connsiteY3" fmla="*/ 76200 h 76200"/>
                <a:gd name="connsiteX4" fmla="*/ 71438 w 76200"/>
                <a:gd name="connsiteY4" fmla="*/ 71438 h 76200"/>
                <a:gd name="connsiteX5" fmla="*/ 76200 w 76200"/>
                <a:gd name="connsiteY5" fmla="*/ 52388 h 76200"/>
                <a:gd name="connsiteX6" fmla="*/ 73819 w 76200"/>
                <a:gd name="connsiteY6" fmla="*/ 0 h 76200"/>
                <a:gd name="connsiteX0" fmla="*/ 73819 w 76200"/>
                <a:gd name="connsiteY0" fmla="*/ 0 h 76200"/>
                <a:gd name="connsiteX1" fmla="*/ 0 w 76200"/>
                <a:gd name="connsiteY1" fmla="*/ 30957 h 76200"/>
                <a:gd name="connsiteX2" fmla="*/ 14288 w 76200"/>
                <a:gd name="connsiteY2" fmla="*/ 61913 h 76200"/>
                <a:gd name="connsiteX3" fmla="*/ 38100 w 76200"/>
                <a:gd name="connsiteY3" fmla="*/ 76200 h 76200"/>
                <a:gd name="connsiteX4" fmla="*/ 71438 w 76200"/>
                <a:gd name="connsiteY4" fmla="*/ 71438 h 76200"/>
                <a:gd name="connsiteX5" fmla="*/ 76200 w 76200"/>
                <a:gd name="connsiteY5" fmla="*/ 52388 h 76200"/>
                <a:gd name="connsiteX6" fmla="*/ 73819 w 76200"/>
                <a:gd name="connsiteY6" fmla="*/ 26194 h 76200"/>
                <a:gd name="connsiteX7" fmla="*/ 73819 w 76200"/>
                <a:gd name="connsiteY7" fmla="*/ 0 h 76200"/>
                <a:gd name="connsiteX0" fmla="*/ 73819 w 76200"/>
                <a:gd name="connsiteY0" fmla="*/ 0 h 76200"/>
                <a:gd name="connsiteX1" fmla="*/ 0 w 76200"/>
                <a:gd name="connsiteY1" fmla="*/ 30957 h 76200"/>
                <a:gd name="connsiteX2" fmla="*/ 14288 w 76200"/>
                <a:gd name="connsiteY2" fmla="*/ 61913 h 76200"/>
                <a:gd name="connsiteX3" fmla="*/ 38100 w 76200"/>
                <a:gd name="connsiteY3" fmla="*/ 76200 h 76200"/>
                <a:gd name="connsiteX4" fmla="*/ 71438 w 76200"/>
                <a:gd name="connsiteY4" fmla="*/ 71438 h 76200"/>
                <a:gd name="connsiteX5" fmla="*/ 76200 w 76200"/>
                <a:gd name="connsiteY5" fmla="*/ 52388 h 76200"/>
                <a:gd name="connsiteX6" fmla="*/ 52388 w 76200"/>
                <a:gd name="connsiteY6" fmla="*/ 47625 h 76200"/>
                <a:gd name="connsiteX7" fmla="*/ 73819 w 76200"/>
                <a:gd name="connsiteY7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0" h="76200">
                  <a:moveTo>
                    <a:pt x="73819" y="0"/>
                  </a:moveTo>
                  <a:lnTo>
                    <a:pt x="0" y="30957"/>
                  </a:lnTo>
                  <a:lnTo>
                    <a:pt x="14288" y="61913"/>
                  </a:lnTo>
                  <a:lnTo>
                    <a:pt x="38100" y="76200"/>
                  </a:lnTo>
                  <a:lnTo>
                    <a:pt x="71438" y="71438"/>
                  </a:lnTo>
                  <a:lnTo>
                    <a:pt x="76200" y="52388"/>
                  </a:lnTo>
                  <a:lnTo>
                    <a:pt x="52388" y="47625"/>
                  </a:lnTo>
                  <a:lnTo>
                    <a:pt x="73819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2" name="Freeform: Shape 109"/>
            <p:cNvSpPr/>
            <p:nvPr/>
          </p:nvSpPr>
          <p:spPr bwMode="auto">
            <a:xfrm>
              <a:off x="4962455" y="1557336"/>
              <a:ext cx="4011346" cy="2020169"/>
            </a:xfrm>
            <a:custGeom>
              <a:avLst/>
              <a:gdLst>
                <a:gd name="connsiteX0" fmla="*/ 133490 w 4011346"/>
                <a:gd name="connsiteY0" fmla="*/ 397130 h 1711998"/>
                <a:gd name="connsiteX1" fmla="*/ 46722 w 4011346"/>
                <a:gd name="connsiteY1" fmla="*/ 427165 h 1711998"/>
                <a:gd name="connsiteX2" fmla="*/ 33373 w 4011346"/>
                <a:gd name="connsiteY2" fmla="*/ 457200 h 1711998"/>
                <a:gd name="connsiteX3" fmla="*/ 43384 w 4011346"/>
                <a:gd name="connsiteY3" fmla="*/ 487236 h 1711998"/>
                <a:gd name="connsiteX4" fmla="*/ 60071 w 4011346"/>
                <a:gd name="connsiteY4" fmla="*/ 513933 h 1711998"/>
                <a:gd name="connsiteX5" fmla="*/ 73419 w 4011346"/>
                <a:gd name="connsiteY5" fmla="*/ 543968 h 1711998"/>
                <a:gd name="connsiteX6" fmla="*/ 56733 w 4011346"/>
                <a:gd name="connsiteY6" fmla="*/ 567329 h 1711998"/>
                <a:gd name="connsiteX7" fmla="*/ 76757 w 4011346"/>
                <a:gd name="connsiteY7" fmla="*/ 647422 h 1711998"/>
                <a:gd name="connsiteX8" fmla="*/ 66745 w 4011346"/>
                <a:gd name="connsiteY8" fmla="*/ 664109 h 1711998"/>
                <a:gd name="connsiteX9" fmla="*/ 70082 w 4011346"/>
                <a:gd name="connsiteY9" fmla="*/ 690806 h 1711998"/>
                <a:gd name="connsiteX10" fmla="*/ 70082 w 4011346"/>
                <a:gd name="connsiteY10" fmla="*/ 730853 h 1711998"/>
                <a:gd name="connsiteX11" fmla="*/ 80094 w 4011346"/>
                <a:gd name="connsiteY11" fmla="*/ 750876 h 1711998"/>
                <a:gd name="connsiteX12" fmla="*/ 76757 w 4011346"/>
                <a:gd name="connsiteY12" fmla="*/ 774237 h 1711998"/>
                <a:gd name="connsiteX13" fmla="*/ 106792 w 4011346"/>
                <a:gd name="connsiteY13" fmla="*/ 807609 h 1711998"/>
                <a:gd name="connsiteX14" fmla="*/ 106792 w 4011346"/>
                <a:gd name="connsiteY14" fmla="*/ 837644 h 1711998"/>
                <a:gd name="connsiteX15" fmla="*/ 13349 w 4011346"/>
                <a:gd name="connsiteY15" fmla="*/ 927749 h 1711998"/>
                <a:gd name="connsiteX16" fmla="*/ 33373 w 4011346"/>
                <a:gd name="connsiteY16" fmla="*/ 961122 h 1711998"/>
                <a:gd name="connsiteX17" fmla="*/ 33373 w 4011346"/>
                <a:gd name="connsiteY17" fmla="*/ 961122 h 1711998"/>
                <a:gd name="connsiteX18" fmla="*/ 16687 w 4011346"/>
                <a:gd name="connsiteY18" fmla="*/ 991157 h 1711998"/>
                <a:gd name="connsiteX19" fmla="*/ 3338 w 4011346"/>
                <a:gd name="connsiteY19" fmla="*/ 1021192 h 1711998"/>
                <a:gd name="connsiteX20" fmla="*/ 0 w 4011346"/>
                <a:gd name="connsiteY20" fmla="*/ 1081262 h 1711998"/>
                <a:gd name="connsiteX21" fmla="*/ 16687 w 4011346"/>
                <a:gd name="connsiteY21" fmla="*/ 1124646 h 1711998"/>
                <a:gd name="connsiteX22" fmla="*/ 20024 w 4011346"/>
                <a:gd name="connsiteY22" fmla="*/ 1158018 h 1711998"/>
                <a:gd name="connsiteX23" fmla="*/ 56733 w 4011346"/>
                <a:gd name="connsiteY23" fmla="*/ 1168030 h 1711998"/>
                <a:gd name="connsiteX24" fmla="*/ 116803 w 4011346"/>
                <a:gd name="connsiteY24" fmla="*/ 1254798 h 1711998"/>
                <a:gd name="connsiteX25" fmla="*/ 96780 w 4011346"/>
                <a:gd name="connsiteY25" fmla="*/ 1278158 h 1711998"/>
                <a:gd name="connsiteX26" fmla="*/ 93443 w 4011346"/>
                <a:gd name="connsiteY26" fmla="*/ 1308193 h 1711998"/>
                <a:gd name="connsiteX27" fmla="*/ 120141 w 4011346"/>
                <a:gd name="connsiteY27" fmla="*/ 1311530 h 1711998"/>
                <a:gd name="connsiteX28" fmla="*/ 160187 w 4011346"/>
                <a:gd name="connsiteY28" fmla="*/ 1324879 h 1711998"/>
                <a:gd name="connsiteX29" fmla="*/ 186885 w 4011346"/>
                <a:gd name="connsiteY29" fmla="*/ 1338228 h 1711998"/>
                <a:gd name="connsiteX30" fmla="*/ 213583 w 4011346"/>
                <a:gd name="connsiteY30" fmla="*/ 1368263 h 1711998"/>
                <a:gd name="connsiteX31" fmla="*/ 243618 w 4011346"/>
                <a:gd name="connsiteY31" fmla="*/ 1371600 h 1711998"/>
                <a:gd name="connsiteX32" fmla="*/ 287002 w 4011346"/>
                <a:gd name="connsiteY32" fmla="*/ 1401636 h 1711998"/>
                <a:gd name="connsiteX33" fmla="*/ 310363 w 4011346"/>
                <a:gd name="connsiteY33" fmla="*/ 1411647 h 1711998"/>
                <a:gd name="connsiteX34" fmla="*/ 310363 w 4011346"/>
                <a:gd name="connsiteY34" fmla="*/ 1448357 h 1711998"/>
                <a:gd name="connsiteX35" fmla="*/ 270316 w 4011346"/>
                <a:gd name="connsiteY35" fmla="*/ 1488403 h 1711998"/>
                <a:gd name="connsiteX36" fmla="*/ 280327 w 4011346"/>
                <a:gd name="connsiteY36" fmla="*/ 1511764 h 1711998"/>
                <a:gd name="connsiteX37" fmla="*/ 273653 w 4011346"/>
                <a:gd name="connsiteY37" fmla="*/ 1531787 h 1711998"/>
                <a:gd name="connsiteX38" fmla="*/ 266979 w 4011346"/>
                <a:gd name="connsiteY38" fmla="*/ 1548473 h 1711998"/>
                <a:gd name="connsiteX39" fmla="*/ 240281 w 4011346"/>
                <a:gd name="connsiteY39" fmla="*/ 1588520 h 1711998"/>
                <a:gd name="connsiteX40" fmla="*/ 307025 w 4011346"/>
                <a:gd name="connsiteY40" fmla="*/ 1625230 h 1711998"/>
                <a:gd name="connsiteX41" fmla="*/ 337060 w 4011346"/>
                <a:gd name="connsiteY41" fmla="*/ 1631904 h 1711998"/>
                <a:gd name="connsiteX42" fmla="*/ 360421 w 4011346"/>
                <a:gd name="connsiteY42" fmla="*/ 1638579 h 1711998"/>
                <a:gd name="connsiteX43" fmla="*/ 380444 w 4011346"/>
                <a:gd name="connsiteY43" fmla="*/ 1645253 h 1711998"/>
                <a:gd name="connsiteX44" fmla="*/ 407142 w 4011346"/>
                <a:gd name="connsiteY44" fmla="*/ 1665276 h 1711998"/>
                <a:gd name="connsiteX45" fmla="*/ 437177 w 4011346"/>
                <a:gd name="connsiteY45" fmla="*/ 1661939 h 1711998"/>
                <a:gd name="connsiteX46" fmla="*/ 507259 w 4011346"/>
                <a:gd name="connsiteY46" fmla="*/ 1711998 h 1711998"/>
                <a:gd name="connsiteX47" fmla="*/ 517271 w 4011346"/>
                <a:gd name="connsiteY47" fmla="*/ 1698649 h 1711998"/>
                <a:gd name="connsiteX48" fmla="*/ 507259 w 4011346"/>
                <a:gd name="connsiteY48" fmla="*/ 1658602 h 1711998"/>
                <a:gd name="connsiteX49" fmla="*/ 500584 w 4011346"/>
                <a:gd name="connsiteY49" fmla="*/ 1625230 h 1711998"/>
                <a:gd name="connsiteX50" fmla="*/ 483898 w 4011346"/>
                <a:gd name="connsiteY50" fmla="*/ 1581846 h 1711998"/>
                <a:gd name="connsiteX51" fmla="*/ 513933 w 4011346"/>
                <a:gd name="connsiteY51" fmla="*/ 1561822 h 1711998"/>
                <a:gd name="connsiteX52" fmla="*/ 547306 w 4011346"/>
                <a:gd name="connsiteY52" fmla="*/ 1538462 h 1711998"/>
                <a:gd name="connsiteX53" fmla="*/ 527282 w 4011346"/>
                <a:gd name="connsiteY53" fmla="*/ 1521776 h 1711998"/>
                <a:gd name="connsiteX54" fmla="*/ 517271 w 4011346"/>
                <a:gd name="connsiteY54" fmla="*/ 1488403 h 1711998"/>
                <a:gd name="connsiteX55" fmla="*/ 480561 w 4011346"/>
                <a:gd name="connsiteY55" fmla="*/ 1471717 h 1711998"/>
                <a:gd name="connsiteX56" fmla="*/ 470549 w 4011346"/>
                <a:gd name="connsiteY56" fmla="*/ 1451694 h 1711998"/>
                <a:gd name="connsiteX57" fmla="*/ 480561 w 4011346"/>
                <a:gd name="connsiteY57" fmla="*/ 1421659 h 1711998"/>
                <a:gd name="connsiteX58" fmla="*/ 490573 w 4011346"/>
                <a:gd name="connsiteY58" fmla="*/ 1381612 h 1711998"/>
                <a:gd name="connsiteX59" fmla="*/ 513933 w 4011346"/>
                <a:gd name="connsiteY59" fmla="*/ 1401636 h 1711998"/>
                <a:gd name="connsiteX60" fmla="*/ 520608 w 4011346"/>
                <a:gd name="connsiteY60" fmla="*/ 1384949 h 1711998"/>
                <a:gd name="connsiteX61" fmla="*/ 543968 w 4011346"/>
                <a:gd name="connsiteY61" fmla="*/ 1348240 h 1711998"/>
                <a:gd name="connsiteX62" fmla="*/ 574003 w 4011346"/>
                <a:gd name="connsiteY62" fmla="*/ 1331554 h 1711998"/>
                <a:gd name="connsiteX63" fmla="*/ 590690 w 4011346"/>
                <a:gd name="connsiteY63" fmla="*/ 1344903 h 1711998"/>
                <a:gd name="connsiteX64" fmla="*/ 610713 w 4011346"/>
                <a:gd name="connsiteY64" fmla="*/ 1318205 h 1711998"/>
                <a:gd name="connsiteX65" fmla="*/ 630736 w 4011346"/>
                <a:gd name="connsiteY65" fmla="*/ 1344903 h 1711998"/>
                <a:gd name="connsiteX66" fmla="*/ 657434 w 4011346"/>
                <a:gd name="connsiteY66" fmla="*/ 1368263 h 1711998"/>
                <a:gd name="connsiteX67" fmla="*/ 674120 w 4011346"/>
                <a:gd name="connsiteY67" fmla="*/ 1374938 h 1711998"/>
                <a:gd name="connsiteX68" fmla="*/ 697481 w 4011346"/>
                <a:gd name="connsiteY68" fmla="*/ 1374938 h 1711998"/>
                <a:gd name="connsiteX69" fmla="*/ 717504 w 4011346"/>
                <a:gd name="connsiteY69" fmla="*/ 1361589 h 1711998"/>
                <a:gd name="connsiteX70" fmla="*/ 744202 w 4011346"/>
                <a:gd name="connsiteY70" fmla="*/ 1361589 h 1711998"/>
                <a:gd name="connsiteX71" fmla="*/ 760888 w 4011346"/>
                <a:gd name="connsiteY71" fmla="*/ 1358252 h 1711998"/>
                <a:gd name="connsiteX72" fmla="*/ 790923 w 4011346"/>
                <a:gd name="connsiteY72" fmla="*/ 1391624 h 1711998"/>
                <a:gd name="connsiteX73" fmla="*/ 797598 w 4011346"/>
                <a:gd name="connsiteY73" fmla="*/ 1364926 h 1711998"/>
                <a:gd name="connsiteX74" fmla="*/ 817621 w 4011346"/>
                <a:gd name="connsiteY74" fmla="*/ 1381612 h 1711998"/>
                <a:gd name="connsiteX75" fmla="*/ 837644 w 4011346"/>
                <a:gd name="connsiteY75" fmla="*/ 1358252 h 1711998"/>
                <a:gd name="connsiteX76" fmla="*/ 827633 w 4011346"/>
                <a:gd name="connsiteY76" fmla="*/ 1338228 h 1711998"/>
                <a:gd name="connsiteX77" fmla="*/ 810946 w 4011346"/>
                <a:gd name="connsiteY77" fmla="*/ 1324879 h 1711998"/>
                <a:gd name="connsiteX78" fmla="*/ 810946 w 4011346"/>
                <a:gd name="connsiteY78" fmla="*/ 1298182 h 1711998"/>
                <a:gd name="connsiteX79" fmla="*/ 810946 w 4011346"/>
                <a:gd name="connsiteY79" fmla="*/ 1284833 h 1711998"/>
                <a:gd name="connsiteX80" fmla="*/ 830970 w 4011346"/>
                <a:gd name="connsiteY80" fmla="*/ 1281495 h 1711998"/>
                <a:gd name="connsiteX81" fmla="*/ 840981 w 4011346"/>
                <a:gd name="connsiteY81" fmla="*/ 1278158 h 1711998"/>
                <a:gd name="connsiteX82" fmla="*/ 820958 w 4011346"/>
                <a:gd name="connsiteY82" fmla="*/ 1241449 h 1711998"/>
                <a:gd name="connsiteX83" fmla="*/ 854330 w 4011346"/>
                <a:gd name="connsiteY83" fmla="*/ 1234774 h 1711998"/>
                <a:gd name="connsiteX84" fmla="*/ 891040 w 4011346"/>
                <a:gd name="connsiteY84" fmla="*/ 1241449 h 1711998"/>
                <a:gd name="connsiteX85" fmla="*/ 964459 w 4011346"/>
                <a:gd name="connsiteY85" fmla="*/ 1198065 h 1711998"/>
                <a:gd name="connsiteX86" fmla="*/ 1001168 w 4011346"/>
                <a:gd name="connsiteY86" fmla="*/ 1198065 h 1711998"/>
                <a:gd name="connsiteX87" fmla="*/ 1027866 w 4011346"/>
                <a:gd name="connsiteY87" fmla="*/ 1174704 h 1711998"/>
                <a:gd name="connsiteX88" fmla="*/ 1047890 w 4011346"/>
                <a:gd name="connsiteY88" fmla="*/ 1184716 h 1711998"/>
                <a:gd name="connsiteX89" fmla="*/ 1067913 w 4011346"/>
                <a:gd name="connsiteY89" fmla="*/ 1194727 h 1711998"/>
                <a:gd name="connsiteX90" fmla="*/ 1087936 w 4011346"/>
                <a:gd name="connsiteY90" fmla="*/ 1221425 h 1711998"/>
                <a:gd name="connsiteX91" fmla="*/ 1074587 w 4011346"/>
                <a:gd name="connsiteY91" fmla="*/ 1234774 h 1711998"/>
                <a:gd name="connsiteX92" fmla="*/ 1104622 w 4011346"/>
                <a:gd name="connsiteY92" fmla="*/ 1234774 h 1711998"/>
                <a:gd name="connsiteX93" fmla="*/ 1107960 w 4011346"/>
                <a:gd name="connsiteY93" fmla="*/ 1251460 h 1711998"/>
                <a:gd name="connsiteX94" fmla="*/ 1121309 w 4011346"/>
                <a:gd name="connsiteY94" fmla="*/ 1234774 h 1711998"/>
                <a:gd name="connsiteX95" fmla="*/ 1134657 w 4011346"/>
                <a:gd name="connsiteY95" fmla="*/ 1248123 h 1711998"/>
                <a:gd name="connsiteX96" fmla="*/ 1134657 w 4011346"/>
                <a:gd name="connsiteY96" fmla="*/ 1268146 h 1711998"/>
                <a:gd name="connsiteX97" fmla="*/ 1148006 w 4011346"/>
                <a:gd name="connsiteY97" fmla="*/ 1264809 h 1711998"/>
                <a:gd name="connsiteX98" fmla="*/ 1208076 w 4011346"/>
                <a:gd name="connsiteY98" fmla="*/ 1218088 h 1711998"/>
                <a:gd name="connsiteX99" fmla="*/ 1211414 w 4011346"/>
                <a:gd name="connsiteY99" fmla="*/ 1238111 h 1711998"/>
                <a:gd name="connsiteX100" fmla="*/ 1244786 w 4011346"/>
                <a:gd name="connsiteY100" fmla="*/ 1258135 h 1711998"/>
                <a:gd name="connsiteX101" fmla="*/ 1264809 w 4011346"/>
                <a:gd name="connsiteY101" fmla="*/ 1288170 h 1711998"/>
                <a:gd name="connsiteX102" fmla="*/ 1298181 w 4011346"/>
                <a:gd name="connsiteY102" fmla="*/ 1394961 h 1711998"/>
                <a:gd name="connsiteX103" fmla="*/ 1308193 w 4011346"/>
                <a:gd name="connsiteY103" fmla="*/ 1351577 h 1711998"/>
                <a:gd name="connsiteX104" fmla="*/ 1344903 w 4011346"/>
                <a:gd name="connsiteY104" fmla="*/ 1371600 h 1711998"/>
                <a:gd name="connsiteX105" fmla="*/ 1388287 w 4011346"/>
                <a:gd name="connsiteY105" fmla="*/ 1371600 h 1711998"/>
                <a:gd name="connsiteX106" fmla="*/ 1394961 w 4011346"/>
                <a:gd name="connsiteY106" fmla="*/ 1394961 h 1711998"/>
                <a:gd name="connsiteX107" fmla="*/ 1435008 w 4011346"/>
                <a:gd name="connsiteY107" fmla="*/ 1418322 h 1711998"/>
                <a:gd name="connsiteX108" fmla="*/ 1465043 w 4011346"/>
                <a:gd name="connsiteY108" fmla="*/ 1418322 h 1711998"/>
                <a:gd name="connsiteX109" fmla="*/ 1491741 w 4011346"/>
                <a:gd name="connsiteY109" fmla="*/ 1431671 h 1711998"/>
                <a:gd name="connsiteX110" fmla="*/ 1535125 w 4011346"/>
                <a:gd name="connsiteY110" fmla="*/ 1388287 h 1711998"/>
                <a:gd name="connsiteX111" fmla="*/ 1571834 w 4011346"/>
                <a:gd name="connsiteY111" fmla="*/ 1368263 h 1711998"/>
                <a:gd name="connsiteX112" fmla="*/ 1608544 w 4011346"/>
                <a:gd name="connsiteY112" fmla="*/ 1371600 h 1711998"/>
                <a:gd name="connsiteX113" fmla="*/ 1655265 w 4011346"/>
                <a:gd name="connsiteY113" fmla="*/ 1384949 h 1711998"/>
                <a:gd name="connsiteX114" fmla="*/ 1681963 w 4011346"/>
                <a:gd name="connsiteY114" fmla="*/ 1401636 h 1711998"/>
                <a:gd name="connsiteX115" fmla="*/ 1735358 w 4011346"/>
                <a:gd name="connsiteY115" fmla="*/ 1394961 h 1711998"/>
                <a:gd name="connsiteX116" fmla="*/ 1745370 w 4011346"/>
                <a:gd name="connsiteY116" fmla="*/ 1374938 h 1711998"/>
                <a:gd name="connsiteX117" fmla="*/ 1738695 w 4011346"/>
                <a:gd name="connsiteY117" fmla="*/ 1354914 h 1711998"/>
                <a:gd name="connsiteX118" fmla="*/ 1765393 w 4011346"/>
                <a:gd name="connsiteY118" fmla="*/ 1328217 h 1711998"/>
                <a:gd name="connsiteX119" fmla="*/ 1778742 w 4011346"/>
                <a:gd name="connsiteY119" fmla="*/ 1324879 h 1711998"/>
                <a:gd name="connsiteX120" fmla="*/ 1812114 w 4011346"/>
                <a:gd name="connsiteY120" fmla="*/ 1341565 h 1711998"/>
                <a:gd name="connsiteX121" fmla="*/ 1852161 w 4011346"/>
                <a:gd name="connsiteY121" fmla="*/ 1354914 h 1711998"/>
                <a:gd name="connsiteX122" fmla="*/ 1858836 w 4011346"/>
                <a:gd name="connsiteY122" fmla="*/ 1381612 h 1711998"/>
                <a:gd name="connsiteX123" fmla="*/ 1872184 w 4011346"/>
                <a:gd name="connsiteY123" fmla="*/ 1388287 h 1711998"/>
                <a:gd name="connsiteX124" fmla="*/ 1902219 w 4011346"/>
                <a:gd name="connsiteY124" fmla="*/ 1391624 h 1711998"/>
                <a:gd name="connsiteX125" fmla="*/ 1932254 w 4011346"/>
                <a:gd name="connsiteY125" fmla="*/ 1374938 h 1711998"/>
                <a:gd name="connsiteX126" fmla="*/ 1962290 w 4011346"/>
                <a:gd name="connsiteY126" fmla="*/ 1388287 h 1711998"/>
                <a:gd name="connsiteX127" fmla="*/ 1985650 w 4011346"/>
                <a:gd name="connsiteY127" fmla="*/ 1401636 h 1711998"/>
                <a:gd name="connsiteX128" fmla="*/ 1995662 w 4011346"/>
                <a:gd name="connsiteY128" fmla="*/ 1411647 h 1711998"/>
                <a:gd name="connsiteX129" fmla="*/ 2032371 w 4011346"/>
                <a:gd name="connsiteY129" fmla="*/ 1431671 h 1711998"/>
                <a:gd name="connsiteX130" fmla="*/ 2069081 w 4011346"/>
                <a:gd name="connsiteY130" fmla="*/ 1428333 h 1711998"/>
                <a:gd name="connsiteX131" fmla="*/ 2142500 w 4011346"/>
                <a:gd name="connsiteY131" fmla="*/ 1384949 h 1711998"/>
                <a:gd name="connsiteX132" fmla="*/ 2195895 w 4011346"/>
                <a:gd name="connsiteY132" fmla="*/ 1398298 h 1711998"/>
                <a:gd name="connsiteX133" fmla="*/ 2225930 w 4011346"/>
                <a:gd name="connsiteY133" fmla="*/ 1408310 h 1711998"/>
                <a:gd name="connsiteX134" fmla="*/ 2259303 w 4011346"/>
                <a:gd name="connsiteY134" fmla="*/ 1394961 h 1711998"/>
                <a:gd name="connsiteX135" fmla="*/ 2262640 w 4011346"/>
                <a:gd name="connsiteY135" fmla="*/ 1368263 h 1711998"/>
                <a:gd name="connsiteX136" fmla="*/ 2282663 w 4011346"/>
                <a:gd name="connsiteY136" fmla="*/ 1338228 h 1711998"/>
                <a:gd name="connsiteX137" fmla="*/ 2299349 w 4011346"/>
                <a:gd name="connsiteY137" fmla="*/ 1284833 h 1711998"/>
                <a:gd name="connsiteX138" fmla="*/ 2282663 w 4011346"/>
                <a:gd name="connsiteY138" fmla="*/ 1288170 h 1711998"/>
                <a:gd name="connsiteX139" fmla="*/ 2312698 w 4011346"/>
                <a:gd name="connsiteY139" fmla="*/ 1261472 h 1711998"/>
                <a:gd name="connsiteX140" fmla="*/ 2339396 w 4011346"/>
                <a:gd name="connsiteY140" fmla="*/ 1258135 h 1711998"/>
                <a:gd name="connsiteX141" fmla="*/ 2396129 w 4011346"/>
                <a:gd name="connsiteY141" fmla="*/ 1268146 h 1711998"/>
                <a:gd name="connsiteX142" fmla="*/ 2436176 w 4011346"/>
                <a:gd name="connsiteY142" fmla="*/ 1294844 h 1711998"/>
                <a:gd name="connsiteX143" fmla="*/ 2462873 w 4011346"/>
                <a:gd name="connsiteY143" fmla="*/ 1324879 h 1711998"/>
                <a:gd name="connsiteX144" fmla="*/ 2469548 w 4011346"/>
                <a:gd name="connsiteY144" fmla="*/ 1361589 h 1711998"/>
                <a:gd name="connsiteX145" fmla="*/ 2476222 w 4011346"/>
                <a:gd name="connsiteY145" fmla="*/ 1401636 h 1711998"/>
                <a:gd name="connsiteX146" fmla="*/ 2486234 w 4011346"/>
                <a:gd name="connsiteY146" fmla="*/ 1421659 h 1711998"/>
                <a:gd name="connsiteX147" fmla="*/ 2529618 w 4011346"/>
                <a:gd name="connsiteY147" fmla="*/ 1435008 h 1711998"/>
                <a:gd name="connsiteX148" fmla="*/ 2549641 w 4011346"/>
                <a:gd name="connsiteY148" fmla="*/ 1455031 h 1711998"/>
                <a:gd name="connsiteX149" fmla="*/ 2562990 w 4011346"/>
                <a:gd name="connsiteY149" fmla="*/ 1488403 h 1711998"/>
                <a:gd name="connsiteX150" fmla="*/ 2586351 w 4011346"/>
                <a:gd name="connsiteY150" fmla="*/ 1481729 h 1711998"/>
                <a:gd name="connsiteX151" fmla="*/ 2606374 w 4011346"/>
                <a:gd name="connsiteY151" fmla="*/ 1471717 h 1711998"/>
                <a:gd name="connsiteX152" fmla="*/ 2639746 w 4011346"/>
                <a:gd name="connsiteY152" fmla="*/ 1455031 h 1711998"/>
                <a:gd name="connsiteX153" fmla="*/ 2643084 w 4011346"/>
                <a:gd name="connsiteY153" fmla="*/ 1471717 h 1711998"/>
                <a:gd name="connsiteX154" fmla="*/ 2626398 w 4011346"/>
                <a:gd name="connsiteY154" fmla="*/ 1501752 h 1711998"/>
                <a:gd name="connsiteX155" fmla="*/ 2616386 w 4011346"/>
                <a:gd name="connsiteY155" fmla="*/ 1538462 h 1711998"/>
                <a:gd name="connsiteX156" fmla="*/ 2603037 w 4011346"/>
                <a:gd name="connsiteY156" fmla="*/ 1591857 h 1711998"/>
                <a:gd name="connsiteX157" fmla="*/ 2579676 w 4011346"/>
                <a:gd name="connsiteY157" fmla="*/ 1565160 h 1711998"/>
                <a:gd name="connsiteX158" fmla="*/ 2552979 w 4011346"/>
                <a:gd name="connsiteY158" fmla="*/ 1588520 h 1711998"/>
                <a:gd name="connsiteX159" fmla="*/ 2559653 w 4011346"/>
                <a:gd name="connsiteY159" fmla="*/ 1615218 h 1711998"/>
                <a:gd name="connsiteX160" fmla="*/ 2559653 w 4011346"/>
                <a:gd name="connsiteY160" fmla="*/ 1651927 h 1711998"/>
                <a:gd name="connsiteX161" fmla="*/ 2549641 w 4011346"/>
                <a:gd name="connsiteY161" fmla="*/ 1671951 h 1711998"/>
                <a:gd name="connsiteX162" fmla="*/ 2589688 w 4011346"/>
                <a:gd name="connsiteY162" fmla="*/ 1651927 h 1711998"/>
                <a:gd name="connsiteX163" fmla="*/ 2626398 w 4011346"/>
                <a:gd name="connsiteY163" fmla="*/ 1661939 h 1711998"/>
                <a:gd name="connsiteX164" fmla="*/ 2653095 w 4011346"/>
                <a:gd name="connsiteY164" fmla="*/ 1638579 h 1711998"/>
                <a:gd name="connsiteX165" fmla="*/ 2683130 w 4011346"/>
                <a:gd name="connsiteY165" fmla="*/ 1585183 h 1711998"/>
                <a:gd name="connsiteX166" fmla="*/ 2753212 w 4011346"/>
                <a:gd name="connsiteY166" fmla="*/ 1498415 h 1711998"/>
                <a:gd name="connsiteX167" fmla="*/ 2783247 w 4011346"/>
                <a:gd name="connsiteY167" fmla="*/ 1428333 h 1711998"/>
                <a:gd name="connsiteX168" fmla="*/ 2803271 w 4011346"/>
                <a:gd name="connsiteY168" fmla="*/ 1324879 h 1711998"/>
                <a:gd name="connsiteX169" fmla="*/ 2793259 w 4011346"/>
                <a:gd name="connsiteY169" fmla="*/ 1274821 h 1711998"/>
                <a:gd name="connsiteX170" fmla="*/ 2769898 w 4011346"/>
                <a:gd name="connsiteY170" fmla="*/ 1241449 h 1711998"/>
                <a:gd name="connsiteX171" fmla="*/ 2726514 w 4011346"/>
                <a:gd name="connsiteY171" fmla="*/ 1241449 h 1711998"/>
                <a:gd name="connsiteX172" fmla="*/ 2699817 w 4011346"/>
                <a:gd name="connsiteY172" fmla="*/ 1241449 h 1711998"/>
                <a:gd name="connsiteX173" fmla="*/ 2683130 w 4011346"/>
                <a:gd name="connsiteY173" fmla="*/ 1221425 h 1711998"/>
                <a:gd name="connsiteX174" fmla="*/ 2669781 w 4011346"/>
                <a:gd name="connsiteY174" fmla="*/ 1201402 h 1711998"/>
                <a:gd name="connsiteX175" fmla="*/ 2763224 w 4011346"/>
                <a:gd name="connsiteY175" fmla="*/ 1084599 h 1711998"/>
                <a:gd name="connsiteX176" fmla="*/ 2846654 w 4011346"/>
                <a:gd name="connsiteY176" fmla="*/ 1017855 h 1711998"/>
                <a:gd name="connsiteX177" fmla="*/ 2890038 w 4011346"/>
                <a:gd name="connsiteY177" fmla="*/ 994494 h 1711998"/>
                <a:gd name="connsiteX178" fmla="*/ 2933422 w 4011346"/>
                <a:gd name="connsiteY178" fmla="*/ 1014517 h 1711998"/>
                <a:gd name="connsiteX179" fmla="*/ 2950109 w 4011346"/>
                <a:gd name="connsiteY179" fmla="*/ 997831 h 1711998"/>
                <a:gd name="connsiteX180" fmla="*/ 2993492 w 4011346"/>
                <a:gd name="connsiteY180" fmla="*/ 1014517 h 1711998"/>
                <a:gd name="connsiteX181" fmla="*/ 3006841 w 4011346"/>
                <a:gd name="connsiteY181" fmla="*/ 981145 h 1711998"/>
                <a:gd name="connsiteX182" fmla="*/ 3053563 w 4011346"/>
                <a:gd name="connsiteY182" fmla="*/ 991157 h 1711998"/>
                <a:gd name="connsiteX183" fmla="*/ 3070249 w 4011346"/>
                <a:gd name="connsiteY183" fmla="*/ 1007843 h 1711998"/>
                <a:gd name="connsiteX184" fmla="*/ 3060237 w 4011346"/>
                <a:gd name="connsiteY184" fmla="*/ 1027866 h 1711998"/>
                <a:gd name="connsiteX185" fmla="*/ 3123644 w 4011346"/>
                <a:gd name="connsiteY185" fmla="*/ 1011180 h 1711998"/>
                <a:gd name="connsiteX186" fmla="*/ 3140330 w 4011346"/>
                <a:gd name="connsiteY186" fmla="*/ 997831 h 1711998"/>
                <a:gd name="connsiteX187" fmla="*/ 3123644 w 4011346"/>
                <a:gd name="connsiteY187" fmla="*/ 984482 h 1711998"/>
                <a:gd name="connsiteX188" fmla="*/ 3143668 w 4011346"/>
                <a:gd name="connsiteY188" fmla="*/ 944436 h 1711998"/>
                <a:gd name="connsiteX189" fmla="*/ 3190389 w 4011346"/>
                <a:gd name="connsiteY189" fmla="*/ 874354 h 1711998"/>
                <a:gd name="connsiteX190" fmla="*/ 3233773 w 4011346"/>
                <a:gd name="connsiteY190" fmla="*/ 871017 h 1711998"/>
                <a:gd name="connsiteX191" fmla="*/ 3273819 w 4011346"/>
                <a:gd name="connsiteY191" fmla="*/ 881028 h 1711998"/>
                <a:gd name="connsiteX192" fmla="*/ 3277157 w 4011346"/>
                <a:gd name="connsiteY192" fmla="*/ 937761 h 1711998"/>
                <a:gd name="connsiteX193" fmla="*/ 3320541 w 4011346"/>
                <a:gd name="connsiteY193" fmla="*/ 894377 h 1711998"/>
                <a:gd name="connsiteX194" fmla="*/ 3343901 w 4011346"/>
                <a:gd name="connsiteY194" fmla="*/ 877691 h 1711998"/>
                <a:gd name="connsiteX195" fmla="*/ 3350576 w 4011346"/>
                <a:gd name="connsiteY195" fmla="*/ 844319 h 1711998"/>
                <a:gd name="connsiteX196" fmla="*/ 3377273 w 4011346"/>
                <a:gd name="connsiteY196" fmla="*/ 827633 h 1711998"/>
                <a:gd name="connsiteX197" fmla="*/ 3407309 w 4011346"/>
                <a:gd name="connsiteY197" fmla="*/ 837644 h 1711998"/>
                <a:gd name="connsiteX198" fmla="*/ 3373936 w 4011346"/>
                <a:gd name="connsiteY198" fmla="*/ 867679 h 1711998"/>
                <a:gd name="connsiteX199" fmla="*/ 3360587 w 4011346"/>
                <a:gd name="connsiteY199" fmla="*/ 917738 h 1711998"/>
                <a:gd name="connsiteX200" fmla="*/ 3323878 w 4011346"/>
                <a:gd name="connsiteY200" fmla="*/ 957784 h 1711998"/>
                <a:gd name="connsiteX201" fmla="*/ 3210412 w 4011346"/>
                <a:gd name="connsiteY201" fmla="*/ 1054564 h 1711998"/>
                <a:gd name="connsiteX202" fmla="*/ 3163691 w 4011346"/>
                <a:gd name="connsiteY202" fmla="*/ 1124646 h 1711998"/>
                <a:gd name="connsiteX203" fmla="*/ 3160354 w 4011346"/>
                <a:gd name="connsiteY203" fmla="*/ 1198065 h 1711998"/>
                <a:gd name="connsiteX204" fmla="*/ 3170365 w 4011346"/>
                <a:gd name="connsiteY204" fmla="*/ 1288170 h 1711998"/>
                <a:gd name="connsiteX205" fmla="*/ 3190389 w 4011346"/>
                <a:gd name="connsiteY205" fmla="*/ 1351577 h 1711998"/>
                <a:gd name="connsiteX206" fmla="*/ 3217087 w 4011346"/>
                <a:gd name="connsiteY206" fmla="*/ 1341565 h 1711998"/>
                <a:gd name="connsiteX207" fmla="*/ 3240447 w 4011346"/>
                <a:gd name="connsiteY207" fmla="*/ 1274821 h 1711998"/>
                <a:gd name="connsiteX208" fmla="*/ 3270482 w 4011346"/>
                <a:gd name="connsiteY208" fmla="*/ 1271484 h 1711998"/>
                <a:gd name="connsiteX209" fmla="*/ 3287168 w 4011346"/>
                <a:gd name="connsiteY209" fmla="*/ 1211414 h 1711998"/>
                <a:gd name="connsiteX210" fmla="*/ 3313866 w 4011346"/>
                <a:gd name="connsiteY210" fmla="*/ 1201402 h 1711998"/>
                <a:gd name="connsiteX211" fmla="*/ 3313866 w 4011346"/>
                <a:gd name="connsiteY211" fmla="*/ 1171367 h 1711998"/>
                <a:gd name="connsiteX212" fmla="*/ 3337227 w 4011346"/>
                <a:gd name="connsiteY212" fmla="*/ 1134657 h 1711998"/>
                <a:gd name="connsiteX213" fmla="*/ 3330552 w 4011346"/>
                <a:gd name="connsiteY213" fmla="*/ 1091273 h 1711998"/>
                <a:gd name="connsiteX214" fmla="*/ 3333890 w 4011346"/>
                <a:gd name="connsiteY214" fmla="*/ 1061238 h 1711998"/>
                <a:gd name="connsiteX215" fmla="*/ 3323878 w 4011346"/>
                <a:gd name="connsiteY215" fmla="*/ 1051227 h 1711998"/>
                <a:gd name="connsiteX216" fmla="*/ 3363925 w 4011346"/>
                <a:gd name="connsiteY216" fmla="*/ 964459 h 1711998"/>
                <a:gd name="connsiteX217" fmla="*/ 3383948 w 4011346"/>
                <a:gd name="connsiteY217" fmla="*/ 974471 h 1711998"/>
                <a:gd name="connsiteX218" fmla="*/ 3410646 w 4011346"/>
                <a:gd name="connsiteY218" fmla="*/ 947773 h 1711998"/>
                <a:gd name="connsiteX219" fmla="*/ 3420657 w 4011346"/>
                <a:gd name="connsiteY219" fmla="*/ 974471 h 1711998"/>
                <a:gd name="connsiteX220" fmla="*/ 3447355 w 4011346"/>
                <a:gd name="connsiteY220" fmla="*/ 957784 h 1711998"/>
                <a:gd name="connsiteX221" fmla="*/ 3477390 w 4011346"/>
                <a:gd name="connsiteY221" fmla="*/ 947773 h 1711998"/>
                <a:gd name="connsiteX222" fmla="*/ 3514100 w 4011346"/>
                <a:gd name="connsiteY222" fmla="*/ 974471 h 1711998"/>
                <a:gd name="connsiteX223" fmla="*/ 3574170 w 4011346"/>
                <a:gd name="connsiteY223" fmla="*/ 907726 h 1711998"/>
                <a:gd name="connsiteX224" fmla="*/ 3637577 w 4011346"/>
                <a:gd name="connsiteY224" fmla="*/ 861005 h 1711998"/>
                <a:gd name="connsiteX225" fmla="*/ 3690973 w 4011346"/>
                <a:gd name="connsiteY225" fmla="*/ 824295 h 1711998"/>
                <a:gd name="connsiteX226" fmla="*/ 3741031 w 4011346"/>
                <a:gd name="connsiteY226" fmla="*/ 850993 h 1711998"/>
                <a:gd name="connsiteX227" fmla="*/ 3751043 w 4011346"/>
                <a:gd name="connsiteY227" fmla="*/ 824295 h 1711998"/>
                <a:gd name="connsiteX228" fmla="*/ 3727682 w 4011346"/>
                <a:gd name="connsiteY228" fmla="*/ 757551 h 1711998"/>
                <a:gd name="connsiteX229" fmla="*/ 3700984 w 4011346"/>
                <a:gd name="connsiteY229" fmla="*/ 740865 h 1711998"/>
                <a:gd name="connsiteX230" fmla="*/ 3697647 w 4011346"/>
                <a:gd name="connsiteY230" fmla="*/ 710830 h 1711998"/>
                <a:gd name="connsiteX231" fmla="*/ 3751043 w 4011346"/>
                <a:gd name="connsiteY231" fmla="*/ 717504 h 1711998"/>
                <a:gd name="connsiteX232" fmla="*/ 3774403 w 4011346"/>
                <a:gd name="connsiteY232" fmla="*/ 674120 h 1711998"/>
                <a:gd name="connsiteX233" fmla="*/ 3767729 w 4011346"/>
                <a:gd name="connsiteY233" fmla="*/ 647422 h 1711998"/>
                <a:gd name="connsiteX234" fmla="*/ 3794427 w 4011346"/>
                <a:gd name="connsiteY234" fmla="*/ 614050 h 1711998"/>
                <a:gd name="connsiteX235" fmla="*/ 3804438 w 4011346"/>
                <a:gd name="connsiteY235" fmla="*/ 657434 h 1711998"/>
                <a:gd name="connsiteX236" fmla="*/ 3827799 w 4011346"/>
                <a:gd name="connsiteY236" fmla="*/ 674120 h 1711998"/>
                <a:gd name="connsiteX237" fmla="*/ 3874520 w 4011346"/>
                <a:gd name="connsiteY237" fmla="*/ 694144 h 1711998"/>
                <a:gd name="connsiteX238" fmla="*/ 3894544 w 4011346"/>
                <a:gd name="connsiteY238" fmla="*/ 720841 h 1711998"/>
                <a:gd name="connsiteX239" fmla="*/ 3941265 w 4011346"/>
                <a:gd name="connsiteY239" fmla="*/ 744202 h 1711998"/>
                <a:gd name="connsiteX240" fmla="*/ 3947939 w 4011346"/>
                <a:gd name="connsiteY240" fmla="*/ 730853 h 1711998"/>
                <a:gd name="connsiteX241" fmla="*/ 3957951 w 4011346"/>
                <a:gd name="connsiteY241" fmla="*/ 667446 h 1711998"/>
                <a:gd name="connsiteX242" fmla="*/ 4004672 w 4011346"/>
                <a:gd name="connsiteY242" fmla="*/ 660771 h 1711998"/>
                <a:gd name="connsiteX243" fmla="*/ 4011346 w 4011346"/>
                <a:gd name="connsiteY243" fmla="*/ 627399 h 1711998"/>
                <a:gd name="connsiteX244" fmla="*/ 3967963 w 4011346"/>
                <a:gd name="connsiteY244" fmla="*/ 590690 h 1711998"/>
                <a:gd name="connsiteX245" fmla="*/ 3921241 w 4011346"/>
                <a:gd name="connsiteY245" fmla="*/ 574003 h 1711998"/>
                <a:gd name="connsiteX246" fmla="*/ 3907892 w 4011346"/>
                <a:gd name="connsiteY246" fmla="*/ 577341 h 1711998"/>
                <a:gd name="connsiteX247" fmla="*/ 3907892 w 4011346"/>
                <a:gd name="connsiteY247" fmla="*/ 610713 h 1711998"/>
                <a:gd name="connsiteX248" fmla="*/ 3887869 w 4011346"/>
                <a:gd name="connsiteY248" fmla="*/ 604038 h 1711998"/>
                <a:gd name="connsiteX249" fmla="*/ 3874520 w 4011346"/>
                <a:gd name="connsiteY249" fmla="*/ 550643 h 1711998"/>
                <a:gd name="connsiteX250" fmla="*/ 3817787 w 4011346"/>
                <a:gd name="connsiteY250" fmla="*/ 487236 h 1711998"/>
                <a:gd name="connsiteX251" fmla="*/ 3717671 w 4011346"/>
                <a:gd name="connsiteY251" fmla="*/ 410479 h 1711998"/>
                <a:gd name="connsiteX252" fmla="*/ 3664275 w 4011346"/>
                <a:gd name="connsiteY252" fmla="*/ 390456 h 1711998"/>
                <a:gd name="connsiteX253" fmla="*/ 3584181 w 4011346"/>
                <a:gd name="connsiteY253" fmla="*/ 383782 h 1711998"/>
                <a:gd name="connsiteX254" fmla="*/ 3520774 w 4011346"/>
                <a:gd name="connsiteY254" fmla="*/ 367095 h 1711998"/>
                <a:gd name="connsiteX255" fmla="*/ 3530786 w 4011346"/>
                <a:gd name="connsiteY255" fmla="*/ 407142 h 1711998"/>
                <a:gd name="connsiteX256" fmla="*/ 3537460 w 4011346"/>
                <a:gd name="connsiteY256" fmla="*/ 433840 h 1711998"/>
                <a:gd name="connsiteX257" fmla="*/ 3507425 w 4011346"/>
                <a:gd name="connsiteY257" fmla="*/ 457200 h 1711998"/>
                <a:gd name="connsiteX258" fmla="*/ 3477390 w 4011346"/>
                <a:gd name="connsiteY258" fmla="*/ 430503 h 1711998"/>
                <a:gd name="connsiteX259" fmla="*/ 3477390 w 4011346"/>
                <a:gd name="connsiteY259" fmla="*/ 410479 h 1711998"/>
                <a:gd name="connsiteX260" fmla="*/ 3504088 w 4011346"/>
                <a:gd name="connsiteY260" fmla="*/ 390456 h 1711998"/>
                <a:gd name="connsiteX261" fmla="*/ 3467379 w 4011346"/>
                <a:gd name="connsiteY261" fmla="*/ 377107 h 1711998"/>
                <a:gd name="connsiteX262" fmla="*/ 3450692 w 4011346"/>
                <a:gd name="connsiteY262" fmla="*/ 403805 h 1711998"/>
                <a:gd name="connsiteX263" fmla="*/ 3440681 w 4011346"/>
                <a:gd name="connsiteY263" fmla="*/ 417154 h 1711998"/>
                <a:gd name="connsiteX264" fmla="*/ 3357250 w 4011346"/>
                <a:gd name="connsiteY264" fmla="*/ 403805 h 1711998"/>
                <a:gd name="connsiteX265" fmla="*/ 3297180 w 4011346"/>
                <a:gd name="connsiteY265" fmla="*/ 410479 h 1711998"/>
                <a:gd name="connsiteX266" fmla="*/ 3267145 w 4011346"/>
                <a:gd name="connsiteY266" fmla="*/ 387119 h 1711998"/>
                <a:gd name="connsiteX267" fmla="*/ 3267145 w 4011346"/>
                <a:gd name="connsiteY267" fmla="*/ 350409 h 1711998"/>
                <a:gd name="connsiteX268" fmla="*/ 3203738 w 4011346"/>
                <a:gd name="connsiteY268" fmla="*/ 293676 h 1711998"/>
                <a:gd name="connsiteX269" fmla="*/ 3076923 w 4011346"/>
                <a:gd name="connsiteY269" fmla="*/ 300351 h 1711998"/>
                <a:gd name="connsiteX270" fmla="*/ 3043551 w 4011346"/>
                <a:gd name="connsiteY270" fmla="*/ 276990 h 1711998"/>
                <a:gd name="connsiteX271" fmla="*/ 3000167 w 4011346"/>
                <a:gd name="connsiteY271" fmla="*/ 230269 h 1711998"/>
                <a:gd name="connsiteX272" fmla="*/ 3013516 w 4011346"/>
                <a:gd name="connsiteY272" fmla="*/ 223595 h 1711998"/>
                <a:gd name="connsiteX273" fmla="*/ 3000167 w 4011346"/>
                <a:gd name="connsiteY273" fmla="*/ 203571 h 1711998"/>
                <a:gd name="connsiteX274" fmla="*/ 2970132 w 4011346"/>
                <a:gd name="connsiteY274" fmla="*/ 200234 h 1711998"/>
                <a:gd name="connsiteX275" fmla="*/ 2920073 w 4011346"/>
                <a:gd name="connsiteY275" fmla="*/ 246955 h 1711998"/>
                <a:gd name="connsiteX276" fmla="*/ 2920073 w 4011346"/>
                <a:gd name="connsiteY276" fmla="*/ 246955 h 1711998"/>
                <a:gd name="connsiteX277" fmla="*/ 2916736 w 4011346"/>
                <a:gd name="connsiteY277" fmla="*/ 196897 h 1711998"/>
                <a:gd name="connsiteX278" fmla="*/ 2936760 w 4011346"/>
                <a:gd name="connsiteY278" fmla="*/ 193560 h 1711998"/>
                <a:gd name="connsiteX279" fmla="*/ 2866678 w 4011346"/>
                <a:gd name="connsiteY279" fmla="*/ 163525 h 1711998"/>
                <a:gd name="connsiteX280" fmla="*/ 2813282 w 4011346"/>
                <a:gd name="connsiteY280" fmla="*/ 160187 h 1711998"/>
                <a:gd name="connsiteX281" fmla="*/ 2793259 w 4011346"/>
                <a:gd name="connsiteY281" fmla="*/ 183548 h 1711998"/>
                <a:gd name="connsiteX282" fmla="*/ 2743200 w 4011346"/>
                <a:gd name="connsiteY282" fmla="*/ 193560 h 1711998"/>
                <a:gd name="connsiteX283" fmla="*/ 2786584 w 4011346"/>
                <a:gd name="connsiteY283" fmla="*/ 203571 h 1711998"/>
                <a:gd name="connsiteX284" fmla="*/ 2763224 w 4011346"/>
                <a:gd name="connsiteY284" fmla="*/ 223595 h 1711998"/>
                <a:gd name="connsiteX285" fmla="*/ 2769898 w 4011346"/>
                <a:gd name="connsiteY285" fmla="*/ 273653 h 1711998"/>
                <a:gd name="connsiteX286" fmla="*/ 2749875 w 4011346"/>
                <a:gd name="connsiteY286" fmla="*/ 256967 h 1711998"/>
                <a:gd name="connsiteX287" fmla="*/ 2733189 w 4011346"/>
                <a:gd name="connsiteY287" fmla="*/ 270316 h 1711998"/>
                <a:gd name="connsiteX288" fmla="*/ 2666444 w 4011346"/>
                <a:gd name="connsiteY288" fmla="*/ 260304 h 1711998"/>
                <a:gd name="connsiteX289" fmla="*/ 2636409 w 4011346"/>
                <a:gd name="connsiteY289" fmla="*/ 270316 h 1711998"/>
                <a:gd name="connsiteX290" fmla="*/ 2603037 w 4011346"/>
                <a:gd name="connsiteY290" fmla="*/ 230269 h 1711998"/>
                <a:gd name="connsiteX291" fmla="*/ 2569665 w 4011346"/>
                <a:gd name="connsiteY291" fmla="*/ 313700 h 1711998"/>
                <a:gd name="connsiteX292" fmla="*/ 2552979 w 4011346"/>
                <a:gd name="connsiteY292" fmla="*/ 333723 h 1711998"/>
                <a:gd name="connsiteX293" fmla="*/ 2469548 w 4011346"/>
                <a:gd name="connsiteY293" fmla="*/ 196897 h 1711998"/>
                <a:gd name="connsiteX294" fmla="*/ 2446187 w 4011346"/>
                <a:gd name="connsiteY294" fmla="*/ 213583 h 1711998"/>
                <a:gd name="connsiteX295" fmla="*/ 2442850 w 4011346"/>
                <a:gd name="connsiteY295" fmla="*/ 180211 h 1711998"/>
                <a:gd name="connsiteX296" fmla="*/ 2449525 w 4011346"/>
                <a:gd name="connsiteY296" fmla="*/ 110129 h 1711998"/>
                <a:gd name="connsiteX297" fmla="*/ 2386117 w 4011346"/>
                <a:gd name="connsiteY297" fmla="*/ 83431 h 1711998"/>
                <a:gd name="connsiteX298" fmla="*/ 2369431 w 4011346"/>
                <a:gd name="connsiteY298" fmla="*/ 123478 h 1711998"/>
                <a:gd name="connsiteX299" fmla="*/ 2379443 w 4011346"/>
                <a:gd name="connsiteY299" fmla="*/ 146838 h 1711998"/>
                <a:gd name="connsiteX300" fmla="*/ 2376106 w 4011346"/>
                <a:gd name="connsiteY300" fmla="*/ 166862 h 1711998"/>
                <a:gd name="connsiteX301" fmla="*/ 2352745 w 4011346"/>
                <a:gd name="connsiteY301" fmla="*/ 143501 h 1711998"/>
                <a:gd name="connsiteX302" fmla="*/ 2316036 w 4011346"/>
                <a:gd name="connsiteY302" fmla="*/ 150176 h 1711998"/>
                <a:gd name="connsiteX303" fmla="*/ 2272652 w 4011346"/>
                <a:gd name="connsiteY303" fmla="*/ 136827 h 1711998"/>
                <a:gd name="connsiteX304" fmla="*/ 2245954 w 4011346"/>
                <a:gd name="connsiteY304" fmla="*/ 96780 h 1711998"/>
                <a:gd name="connsiteX305" fmla="*/ 2209244 w 4011346"/>
                <a:gd name="connsiteY305" fmla="*/ 93443 h 1711998"/>
                <a:gd name="connsiteX306" fmla="*/ 2159186 w 4011346"/>
                <a:gd name="connsiteY306" fmla="*/ 83431 h 1711998"/>
                <a:gd name="connsiteX307" fmla="*/ 2132488 w 4011346"/>
                <a:gd name="connsiteY307" fmla="*/ 100117 h 1711998"/>
                <a:gd name="connsiteX308" fmla="*/ 2115802 w 4011346"/>
                <a:gd name="connsiteY308" fmla="*/ 113466 h 1711998"/>
                <a:gd name="connsiteX309" fmla="*/ 2115802 w 4011346"/>
                <a:gd name="connsiteY309" fmla="*/ 83431 h 1711998"/>
                <a:gd name="connsiteX310" fmla="*/ 2082430 w 4011346"/>
                <a:gd name="connsiteY310" fmla="*/ 80094 h 1711998"/>
                <a:gd name="connsiteX311" fmla="*/ 2045720 w 4011346"/>
                <a:gd name="connsiteY311" fmla="*/ 53396 h 1711998"/>
                <a:gd name="connsiteX312" fmla="*/ 2025697 w 4011346"/>
                <a:gd name="connsiteY312" fmla="*/ 83431 h 1711998"/>
                <a:gd name="connsiteX313" fmla="*/ 2055732 w 4011346"/>
                <a:gd name="connsiteY313" fmla="*/ 80094 h 1711998"/>
                <a:gd name="connsiteX314" fmla="*/ 2045720 w 4011346"/>
                <a:gd name="connsiteY314" fmla="*/ 106792 h 1711998"/>
                <a:gd name="connsiteX315" fmla="*/ 1988987 w 4011346"/>
                <a:gd name="connsiteY315" fmla="*/ 126815 h 1711998"/>
                <a:gd name="connsiteX316" fmla="*/ 1935592 w 4011346"/>
                <a:gd name="connsiteY316" fmla="*/ 136827 h 1711998"/>
                <a:gd name="connsiteX317" fmla="*/ 1995662 w 4011346"/>
                <a:gd name="connsiteY317" fmla="*/ 80094 h 1711998"/>
                <a:gd name="connsiteX318" fmla="*/ 2055732 w 4011346"/>
                <a:gd name="connsiteY318" fmla="*/ 10012 h 1711998"/>
                <a:gd name="connsiteX319" fmla="*/ 2055732 w 4011346"/>
                <a:gd name="connsiteY319" fmla="*/ 10012 h 1711998"/>
                <a:gd name="connsiteX320" fmla="*/ 1465043 w 4011346"/>
                <a:gd name="connsiteY320" fmla="*/ 0 h 1711998"/>
                <a:gd name="connsiteX321" fmla="*/ 1448357 w 4011346"/>
                <a:gd name="connsiteY321" fmla="*/ 26698 h 1711998"/>
                <a:gd name="connsiteX322" fmla="*/ 1481729 w 4011346"/>
                <a:gd name="connsiteY322" fmla="*/ 60071 h 1711998"/>
                <a:gd name="connsiteX323" fmla="*/ 1481729 w 4011346"/>
                <a:gd name="connsiteY323" fmla="*/ 90106 h 1711998"/>
                <a:gd name="connsiteX324" fmla="*/ 1458368 w 4011346"/>
                <a:gd name="connsiteY324" fmla="*/ 93443 h 1711998"/>
                <a:gd name="connsiteX325" fmla="*/ 1458368 w 4011346"/>
                <a:gd name="connsiteY325" fmla="*/ 73419 h 1711998"/>
                <a:gd name="connsiteX326" fmla="*/ 1418322 w 4011346"/>
                <a:gd name="connsiteY326" fmla="*/ 83431 h 1711998"/>
                <a:gd name="connsiteX327" fmla="*/ 1368263 w 4011346"/>
                <a:gd name="connsiteY327" fmla="*/ 90106 h 1711998"/>
                <a:gd name="connsiteX328" fmla="*/ 1321542 w 4011346"/>
                <a:gd name="connsiteY328" fmla="*/ 96780 h 1711998"/>
                <a:gd name="connsiteX329" fmla="*/ 1318205 w 4011346"/>
                <a:gd name="connsiteY329" fmla="*/ 183548 h 1711998"/>
                <a:gd name="connsiteX330" fmla="*/ 1358252 w 4011346"/>
                <a:gd name="connsiteY330" fmla="*/ 206909 h 1711998"/>
                <a:gd name="connsiteX331" fmla="*/ 1374938 w 4011346"/>
                <a:gd name="connsiteY331" fmla="*/ 236944 h 1711998"/>
                <a:gd name="connsiteX332" fmla="*/ 1384949 w 4011346"/>
                <a:gd name="connsiteY332" fmla="*/ 260304 h 1711998"/>
                <a:gd name="connsiteX333" fmla="*/ 1394961 w 4011346"/>
                <a:gd name="connsiteY333" fmla="*/ 310363 h 1711998"/>
                <a:gd name="connsiteX334" fmla="*/ 1384949 w 4011346"/>
                <a:gd name="connsiteY334" fmla="*/ 340398 h 1711998"/>
                <a:gd name="connsiteX335" fmla="*/ 1358252 w 4011346"/>
                <a:gd name="connsiteY335" fmla="*/ 307025 h 1711998"/>
                <a:gd name="connsiteX336" fmla="*/ 1361589 w 4011346"/>
                <a:gd name="connsiteY336" fmla="*/ 276990 h 1711998"/>
                <a:gd name="connsiteX337" fmla="*/ 1351577 w 4011346"/>
                <a:gd name="connsiteY337" fmla="*/ 236944 h 1711998"/>
                <a:gd name="connsiteX338" fmla="*/ 1328217 w 4011346"/>
                <a:gd name="connsiteY338" fmla="*/ 243618 h 1711998"/>
                <a:gd name="connsiteX339" fmla="*/ 1281495 w 4011346"/>
                <a:gd name="connsiteY339" fmla="*/ 206909 h 1711998"/>
                <a:gd name="connsiteX340" fmla="*/ 1241449 w 4011346"/>
                <a:gd name="connsiteY340" fmla="*/ 203571 h 1711998"/>
                <a:gd name="connsiteX341" fmla="*/ 1241449 w 4011346"/>
                <a:gd name="connsiteY341" fmla="*/ 250292 h 1711998"/>
                <a:gd name="connsiteX342" fmla="*/ 1201402 w 4011346"/>
                <a:gd name="connsiteY342" fmla="*/ 230269 h 1711998"/>
                <a:gd name="connsiteX343" fmla="*/ 1228100 w 4011346"/>
                <a:gd name="connsiteY343" fmla="*/ 280327 h 1711998"/>
                <a:gd name="connsiteX344" fmla="*/ 1258135 w 4011346"/>
                <a:gd name="connsiteY344" fmla="*/ 290339 h 1711998"/>
                <a:gd name="connsiteX345" fmla="*/ 1258135 w 4011346"/>
                <a:gd name="connsiteY345" fmla="*/ 310363 h 1711998"/>
                <a:gd name="connsiteX346" fmla="*/ 1198065 w 4011346"/>
                <a:gd name="connsiteY346" fmla="*/ 287002 h 1711998"/>
                <a:gd name="connsiteX347" fmla="*/ 1181379 w 4011346"/>
                <a:gd name="connsiteY347" fmla="*/ 287002 h 1711998"/>
                <a:gd name="connsiteX348" fmla="*/ 1178041 w 4011346"/>
                <a:gd name="connsiteY348" fmla="*/ 243618 h 1711998"/>
                <a:gd name="connsiteX349" fmla="*/ 1171367 w 4011346"/>
                <a:gd name="connsiteY349" fmla="*/ 156850 h 1711998"/>
                <a:gd name="connsiteX350" fmla="*/ 1161355 w 4011346"/>
                <a:gd name="connsiteY350" fmla="*/ 226932 h 1711998"/>
                <a:gd name="connsiteX351" fmla="*/ 1137995 w 4011346"/>
                <a:gd name="connsiteY351" fmla="*/ 256967 h 1711998"/>
                <a:gd name="connsiteX352" fmla="*/ 1158018 w 4011346"/>
                <a:gd name="connsiteY352" fmla="*/ 303688 h 1711998"/>
                <a:gd name="connsiteX353" fmla="*/ 1158018 w 4011346"/>
                <a:gd name="connsiteY353" fmla="*/ 337060 h 1711998"/>
                <a:gd name="connsiteX354" fmla="*/ 1141332 w 4011346"/>
                <a:gd name="connsiteY354" fmla="*/ 387119 h 1711998"/>
                <a:gd name="connsiteX355" fmla="*/ 1154681 w 4011346"/>
                <a:gd name="connsiteY355" fmla="*/ 420491 h 1711998"/>
                <a:gd name="connsiteX356" fmla="*/ 1184716 w 4011346"/>
                <a:gd name="connsiteY356" fmla="*/ 427165 h 1711998"/>
                <a:gd name="connsiteX357" fmla="*/ 1221425 w 4011346"/>
                <a:gd name="connsiteY357" fmla="*/ 433840 h 1711998"/>
                <a:gd name="connsiteX358" fmla="*/ 1241449 w 4011346"/>
                <a:gd name="connsiteY358" fmla="*/ 457200 h 1711998"/>
                <a:gd name="connsiteX359" fmla="*/ 1258135 w 4011346"/>
                <a:gd name="connsiteY359" fmla="*/ 500584 h 1711998"/>
                <a:gd name="connsiteX360" fmla="*/ 1258135 w 4011346"/>
                <a:gd name="connsiteY360" fmla="*/ 500584 h 1711998"/>
                <a:gd name="connsiteX361" fmla="*/ 1254798 w 4011346"/>
                <a:gd name="connsiteY361" fmla="*/ 533957 h 1711998"/>
                <a:gd name="connsiteX362" fmla="*/ 1274821 w 4011346"/>
                <a:gd name="connsiteY362" fmla="*/ 553980 h 1711998"/>
                <a:gd name="connsiteX363" fmla="*/ 1244786 w 4011346"/>
                <a:gd name="connsiteY363" fmla="*/ 560655 h 1711998"/>
                <a:gd name="connsiteX364" fmla="*/ 1224763 w 4011346"/>
                <a:gd name="connsiteY364" fmla="*/ 520608 h 1711998"/>
                <a:gd name="connsiteX365" fmla="*/ 1224763 w 4011346"/>
                <a:gd name="connsiteY365" fmla="*/ 480561 h 1711998"/>
                <a:gd name="connsiteX366" fmla="*/ 1194727 w 4011346"/>
                <a:gd name="connsiteY366" fmla="*/ 443852 h 1711998"/>
                <a:gd name="connsiteX367" fmla="*/ 1164692 w 4011346"/>
                <a:gd name="connsiteY367" fmla="*/ 487236 h 1711998"/>
                <a:gd name="connsiteX368" fmla="*/ 1178041 w 4011346"/>
                <a:gd name="connsiteY368" fmla="*/ 530619 h 1711998"/>
                <a:gd name="connsiteX369" fmla="*/ 1137995 w 4011346"/>
                <a:gd name="connsiteY369" fmla="*/ 587352 h 1711998"/>
                <a:gd name="connsiteX370" fmla="*/ 1097948 w 4011346"/>
                <a:gd name="connsiteY370" fmla="*/ 644085 h 1711998"/>
                <a:gd name="connsiteX371" fmla="*/ 1007843 w 4011346"/>
                <a:gd name="connsiteY371" fmla="*/ 607376 h 1711998"/>
                <a:gd name="connsiteX372" fmla="*/ 1074587 w 4011346"/>
                <a:gd name="connsiteY372" fmla="*/ 604038 h 1711998"/>
                <a:gd name="connsiteX373" fmla="*/ 1107960 w 4011346"/>
                <a:gd name="connsiteY373" fmla="*/ 540631 h 1711998"/>
                <a:gd name="connsiteX374" fmla="*/ 1121309 w 4011346"/>
                <a:gd name="connsiteY374" fmla="*/ 497247 h 1711998"/>
                <a:gd name="connsiteX375" fmla="*/ 1127983 w 4011346"/>
                <a:gd name="connsiteY375" fmla="*/ 463875 h 1711998"/>
                <a:gd name="connsiteX376" fmla="*/ 1117971 w 4011346"/>
                <a:gd name="connsiteY376" fmla="*/ 447189 h 1711998"/>
                <a:gd name="connsiteX377" fmla="*/ 1114634 w 4011346"/>
                <a:gd name="connsiteY377" fmla="*/ 397130 h 1711998"/>
                <a:gd name="connsiteX378" fmla="*/ 1104622 w 4011346"/>
                <a:gd name="connsiteY378" fmla="*/ 317037 h 1711998"/>
                <a:gd name="connsiteX379" fmla="*/ 1101285 w 4011346"/>
                <a:gd name="connsiteY379" fmla="*/ 256967 h 1711998"/>
                <a:gd name="connsiteX380" fmla="*/ 1124646 w 4011346"/>
                <a:gd name="connsiteY380" fmla="*/ 163525 h 1711998"/>
                <a:gd name="connsiteX381" fmla="*/ 1031203 w 4011346"/>
                <a:gd name="connsiteY381" fmla="*/ 153513 h 1711998"/>
                <a:gd name="connsiteX382" fmla="*/ 1014517 w 4011346"/>
                <a:gd name="connsiteY382" fmla="*/ 210246 h 1711998"/>
                <a:gd name="connsiteX383" fmla="*/ 1024529 w 4011346"/>
                <a:gd name="connsiteY383" fmla="*/ 256967 h 1711998"/>
                <a:gd name="connsiteX384" fmla="*/ 981145 w 4011346"/>
                <a:gd name="connsiteY384" fmla="*/ 310363 h 1711998"/>
                <a:gd name="connsiteX385" fmla="*/ 991157 w 4011346"/>
                <a:gd name="connsiteY385" fmla="*/ 347072 h 1711998"/>
                <a:gd name="connsiteX386" fmla="*/ 981145 w 4011346"/>
                <a:gd name="connsiteY386" fmla="*/ 393793 h 1711998"/>
                <a:gd name="connsiteX387" fmla="*/ 1001168 w 4011346"/>
                <a:gd name="connsiteY387" fmla="*/ 417154 h 1711998"/>
                <a:gd name="connsiteX388" fmla="*/ 1017854 w 4011346"/>
                <a:gd name="connsiteY388" fmla="*/ 463875 h 1711998"/>
                <a:gd name="connsiteX389" fmla="*/ 1047890 w 4011346"/>
                <a:gd name="connsiteY389" fmla="*/ 450526 h 1711998"/>
                <a:gd name="connsiteX390" fmla="*/ 1014517 w 4011346"/>
                <a:gd name="connsiteY390" fmla="*/ 503922 h 1711998"/>
                <a:gd name="connsiteX391" fmla="*/ 957784 w 4011346"/>
                <a:gd name="connsiteY391" fmla="*/ 450526 h 1711998"/>
                <a:gd name="connsiteX392" fmla="*/ 884365 w 4011346"/>
                <a:gd name="connsiteY392" fmla="*/ 413817 h 1711998"/>
                <a:gd name="connsiteX393" fmla="*/ 824295 w 4011346"/>
                <a:gd name="connsiteY393" fmla="*/ 390456 h 1711998"/>
                <a:gd name="connsiteX394" fmla="*/ 810946 w 4011346"/>
                <a:gd name="connsiteY394" fmla="*/ 427165 h 1711998"/>
                <a:gd name="connsiteX395" fmla="*/ 827633 w 4011346"/>
                <a:gd name="connsiteY395" fmla="*/ 463875 h 1711998"/>
                <a:gd name="connsiteX396" fmla="*/ 814284 w 4011346"/>
                <a:gd name="connsiteY396" fmla="*/ 487236 h 1711998"/>
                <a:gd name="connsiteX397" fmla="*/ 800935 w 4011346"/>
                <a:gd name="connsiteY397" fmla="*/ 503922 h 1711998"/>
                <a:gd name="connsiteX398" fmla="*/ 770900 w 4011346"/>
                <a:gd name="connsiteY398" fmla="*/ 447189 h 1711998"/>
                <a:gd name="connsiteX399" fmla="*/ 744202 w 4011346"/>
                <a:gd name="connsiteY399" fmla="*/ 483898 h 1711998"/>
                <a:gd name="connsiteX400" fmla="*/ 707492 w 4011346"/>
                <a:gd name="connsiteY400" fmla="*/ 477224 h 1711998"/>
                <a:gd name="connsiteX401" fmla="*/ 654097 w 4011346"/>
                <a:gd name="connsiteY401" fmla="*/ 513933 h 1711998"/>
                <a:gd name="connsiteX402" fmla="*/ 644085 w 4011346"/>
                <a:gd name="connsiteY402" fmla="*/ 490573 h 1711998"/>
                <a:gd name="connsiteX403" fmla="*/ 654097 w 4011346"/>
                <a:gd name="connsiteY403" fmla="*/ 453863 h 1711998"/>
                <a:gd name="connsiteX404" fmla="*/ 614050 w 4011346"/>
                <a:gd name="connsiteY404" fmla="*/ 490573 h 1711998"/>
                <a:gd name="connsiteX405" fmla="*/ 594027 w 4011346"/>
                <a:gd name="connsiteY405" fmla="*/ 490573 h 1711998"/>
                <a:gd name="connsiteX406" fmla="*/ 533957 w 4011346"/>
                <a:gd name="connsiteY406" fmla="*/ 523945 h 1711998"/>
                <a:gd name="connsiteX407" fmla="*/ 510596 w 4011346"/>
                <a:gd name="connsiteY407" fmla="*/ 547306 h 1711998"/>
                <a:gd name="connsiteX408" fmla="*/ 500584 w 4011346"/>
                <a:gd name="connsiteY408" fmla="*/ 594027 h 1711998"/>
                <a:gd name="connsiteX409" fmla="*/ 450526 w 4011346"/>
                <a:gd name="connsiteY409" fmla="*/ 580678 h 1711998"/>
                <a:gd name="connsiteX410" fmla="*/ 433840 w 4011346"/>
                <a:gd name="connsiteY410" fmla="*/ 543968 h 1711998"/>
                <a:gd name="connsiteX411" fmla="*/ 467212 w 4011346"/>
                <a:gd name="connsiteY411" fmla="*/ 513933 h 1711998"/>
                <a:gd name="connsiteX412" fmla="*/ 453863 w 4011346"/>
                <a:gd name="connsiteY412" fmla="*/ 490573 h 1711998"/>
                <a:gd name="connsiteX413" fmla="*/ 390456 w 4011346"/>
                <a:gd name="connsiteY413" fmla="*/ 460538 h 1711998"/>
                <a:gd name="connsiteX414" fmla="*/ 417154 w 4011346"/>
                <a:gd name="connsiteY414" fmla="*/ 510596 h 1711998"/>
                <a:gd name="connsiteX415" fmla="*/ 407142 w 4011346"/>
                <a:gd name="connsiteY415" fmla="*/ 553980 h 1711998"/>
                <a:gd name="connsiteX416" fmla="*/ 413817 w 4011346"/>
                <a:gd name="connsiteY416" fmla="*/ 590690 h 1711998"/>
                <a:gd name="connsiteX417" fmla="*/ 427165 w 4011346"/>
                <a:gd name="connsiteY417" fmla="*/ 614050 h 1711998"/>
                <a:gd name="connsiteX418" fmla="*/ 413817 w 4011346"/>
                <a:gd name="connsiteY418" fmla="*/ 644085 h 1711998"/>
                <a:gd name="connsiteX419" fmla="*/ 390456 w 4011346"/>
                <a:gd name="connsiteY419" fmla="*/ 620725 h 1711998"/>
                <a:gd name="connsiteX420" fmla="*/ 360421 w 4011346"/>
                <a:gd name="connsiteY420" fmla="*/ 617387 h 1711998"/>
                <a:gd name="connsiteX421" fmla="*/ 333723 w 4011346"/>
                <a:gd name="connsiteY421" fmla="*/ 657434 h 1711998"/>
                <a:gd name="connsiteX422" fmla="*/ 307025 w 4011346"/>
                <a:gd name="connsiteY422" fmla="*/ 677457 h 1711998"/>
                <a:gd name="connsiteX423" fmla="*/ 320374 w 4011346"/>
                <a:gd name="connsiteY423" fmla="*/ 704155 h 1711998"/>
                <a:gd name="connsiteX424" fmla="*/ 303688 w 4011346"/>
                <a:gd name="connsiteY424" fmla="*/ 727516 h 1711998"/>
                <a:gd name="connsiteX425" fmla="*/ 233606 w 4011346"/>
                <a:gd name="connsiteY425" fmla="*/ 690806 h 1711998"/>
                <a:gd name="connsiteX426" fmla="*/ 243618 w 4011346"/>
                <a:gd name="connsiteY426" fmla="*/ 740865 h 1711998"/>
                <a:gd name="connsiteX427" fmla="*/ 263641 w 4011346"/>
                <a:gd name="connsiteY427" fmla="*/ 760888 h 1711998"/>
                <a:gd name="connsiteX428" fmla="*/ 250292 w 4011346"/>
                <a:gd name="connsiteY428" fmla="*/ 774237 h 1711998"/>
                <a:gd name="connsiteX429" fmla="*/ 193560 w 4011346"/>
                <a:gd name="connsiteY429" fmla="*/ 737527 h 1711998"/>
                <a:gd name="connsiteX430" fmla="*/ 170199 w 4011346"/>
                <a:gd name="connsiteY430" fmla="*/ 697481 h 1711998"/>
                <a:gd name="connsiteX431" fmla="*/ 170199 w 4011346"/>
                <a:gd name="connsiteY431" fmla="*/ 650760 h 1711998"/>
                <a:gd name="connsiteX432" fmla="*/ 133490 w 4011346"/>
                <a:gd name="connsiteY432" fmla="*/ 574003 h 1711998"/>
                <a:gd name="connsiteX433" fmla="*/ 196897 w 4011346"/>
                <a:gd name="connsiteY433" fmla="*/ 604038 h 1711998"/>
                <a:gd name="connsiteX434" fmla="*/ 256967 w 4011346"/>
                <a:gd name="connsiteY434" fmla="*/ 634073 h 1711998"/>
                <a:gd name="connsiteX435" fmla="*/ 293676 w 4011346"/>
                <a:gd name="connsiteY435" fmla="*/ 637411 h 1711998"/>
                <a:gd name="connsiteX436" fmla="*/ 327049 w 4011346"/>
                <a:gd name="connsiteY436" fmla="*/ 607376 h 1711998"/>
                <a:gd name="connsiteX437" fmla="*/ 343735 w 4011346"/>
                <a:gd name="connsiteY437" fmla="*/ 570666 h 1711998"/>
                <a:gd name="connsiteX438" fmla="*/ 333723 w 4011346"/>
                <a:gd name="connsiteY438" fmla="*/ 520608 h 1711998"/>
                <a:gd name="connsiteX439" fmla="*/ 290339 w 4011346"/>
                <a:gd name="connsiteY439" fmla="*/ 500584 h 1711998"/>
                <a:gd name="connsiteX440" fmla="*/ 236944 w 4011346"/>
                <a:gd name="connsiteY440" fmla="*/ 453863 h 1711998"/>
                <a:gd name="connsiteX441" fmla="*/ 133490 w 4011346"/>
                <a:gd name="connsiteY441" fmla="*/ 397130 h 1711998"/>
                <a:gd name="connsiteX0" fmla="*/ 133490 w 4011346"/>
                <a:gd name="connsiteY0" fmla="*/ 397130 h 1711998"/>
                <a:gd name="connsiteX1" fmla="*/ 46722 w 4011346"/>
                <a:gd name="connsiteY1" fmla="*/ 427165 h 1711998"/>
                <a:gd name="connsiteX2" fmla="*/ 33373 w 4011346"/>
                <a:gd name="connsiteY2" fmla="*/ 457200 h 1711998"/>
                <a:gd name="connsiteX3" fmla="*/ 43384 w 4011346"/>
                <a:gd name="connsiteY3" fmla="*/ 487236 h 1711998"/>
                <a:gd name="connsiteX4" fmla="*/ 60071 w 4011346"/>
                <a:gd name="connsiteY4" fmla="*/ 513933 h 1711998"/>
                <a:gd name="connsiteX5" fmla="*/ 73419 w 4011346"/>
                <a:gd name="connsiteY5" fmla="*/ 543968 h 1711998"/>
                <a:gd name="connsiteX6" fmla="*/ 56733 w 4011346"/>
                <a:gd name="connsiteY6" fmla="*/ 567329 h 1711998"/>
                <a:gd name="connsiteX7" fmla="*/ 76757 w 4011346"/>
                <a:gd name="connsiteY7" fmla="*/ 647422 h 1711998"/>
                <a:gd name="connsiteX8" fmla="*/ 66745 w 4011346"/>
                <a:gd name="connsiteY8" fmla="*/ 664109 h 1711998"/>
                <a:gd name="connsiteX9" fmla="*/ 70082 w 4011346"/>
                <a:gd name="connsiteY9" fmla="*/ 690806 h 1711998"/>
                <a:gd name="connsiteX10" fmla="*/ 70082 w 4011346"/>
                <a:gd name="connsiteY10" fmla="*/ 730853 h 1711998"/>
                <a:gd name="connsiteX11" fmla="*/ 80094 w 4011346"/>
                <a:gd name="connsiteY11" fmla="*/ 750876 h 1711998"/>
                <a:gd name="connsiteX12" fmla="*/ 76757 w 4011346"/>
                <a:gd name="connsiteY12" fmla="*/ 774237 h 1711998"/>
                <a:gd name="connsiteX13" fmla="*/ 106792 w 4011346"/>
                <a:gd name="connsiteY13" fmla="*/ 807609 h 1711998"/>
                <a:gd name="connsiteX14" fmla="*/ 106792 w 4011346"/>
                <a:gd name="connsiteY14" fmla="*/ 837644 h 1711998"/>
                <a:gd name="connsiteX15" fmla="*/ 13349 w 4011346"/>
                <a:gd name="connsiteY15" fmla="*/ 927749 h 1711998"/>
                <a:gd name="connsiteX16" fmla="*/ 33373 w 4011346"/>
                <a:gd name="connsiteY16" fmla="*/ 961122 h 1711998"/>
                <a:gd name="connsiteX17" fmla="*/ 33373 w 4011346"/>
                <a:gd name="connsiteY17" fmla="*/ 961122 h 1711998"/>
                <a:gd name="connsiteX18" fmla="*/ 16687 w 4011346"/>
                <a:gd name="connsiteY18" fmla="*/ 991157 h 1711998"/>
                <a:gd name="connsiteX19" fmla="*/ 3338 w 4011346"/>
                <a:gd name="connsiteY19" fmla="*/ 1021192 h 1711998"/>
                <a:gd name="connsiteX20" fmla="*/ 0 w 4011346"/>
                <a:gd name="connsiteY20" fmla="*/ 1081262 h 1711998"/>
                <a:gd name="connsiteX21" fmla="*/ 16687 w 4011346"/>
                <a:gd name="connsiteY21" fmla="*/ 1124646 h 1711998"/>
                <a:gd name="connsiteX22" fmla="*/ 20024 w 4011346"/>
                <a:gd name="connsiteY22" fmla="*/ 1158018 h 1711998"/>
                <a:gd name="connsiteX23" fmla="*/ 56733 w 4011346"/>
                <a:gd name="connsiteY23" fmla="*/ 1168030 h 1711998"/>
                <a:gd name="connsiteX24" fmla="*/ 116803 w 4011346"/>
                <a:gd name="connsiteY24" fmla="*/ 1254798 h 1711998"/>
                <a:gd name="connsiteX25" fmla="*/ 96780 w 4011346"/>
                <a:gd name="connsiteY25" fmla="*/ 1278158 h 1711998"/>
                <a:gd name="connsiteX26" fmla="*/ 93443 w 4011346"/>
                <a:gd name="connsiteY26" fmla="*/ 1308193 h 1711998"/>
                <a:gd name="connsiteX27" fmla="*/ 120141 w 4011346"/>
                <a:gd name="connsiteY27" fmla="*/ 1311530 h 1711998"/>
                <a:gd name="connsiteX28" fmla="*/ 160187 w 4011346"/>
                <a:gd name="connsiteY28" fmla="*/ 1324879 h 1711998"/>
                <a:gd name="connsiteX29" fmla="*/ 186885 w 4011346"/>
                <a:gd name="connsiteY29" fmla="*/ 1338228 h 1711998"/>
                <a:gd name="connsiteX30" fmla="*/ 213583 w 4011346"/>
                <a:gd name="connsiteY30" fmla="*/ 1368263 h 1711998"/>
                <a:gd name="connsiteX31" fmla="*/ 243618 w 4011346"/>
                <a:gd name="connsiteY31" fmla="*/ 1371600 h 1711998"/>
                <a:gd name="connsiteX32" fmla="*/ 287002 w 4011346"/>
                <a:gd name="connsiteY32" fmla="*/ 1401636 h 1711998"/>
                <a:gd name="connsiteX33" fmla="*/ 310363 w 4011346"/>
                <a:gd name="connsiteY33" fmla="*/ 1411647 h 1711998"/>
                <a:gd name="connsiteX34" fmla="*/ 310363 w 4011346"/>
                <a:gd name="connsiteY34" fmla="*/ 1448357 h 1711998"/>
                <a:gd name="connsiteX35" fmla="*/ 270316 w 4011346"/>
                <a:gd name="connsiteY35" fmla="*/ 1488403 h 1711998"/>
                <a:gd name="connsiteX36" fmla="*/ 280327 w 4011346"/>
                <a:gd name="connsiteY36" fmla="*/ 1511764 h 1711998"/>
                <a:gd name="connsiteX37" fmla="*/ 273653 w 4011346"/>
                <a:gd name="connsiteY37" fmla="*/ 1531787 h 1711998"/>
                <a:gd name="connsiteX38" fmla="*/ 266979 w 4011346"/>
                <a:gd name="connsiteY38" fmla="*/ 1548473 h 1711998"/>
                <a:gd name="connsiteX39" fmla="*/ 240281 w 4011346"/>
                <a:gd name="connsiteY39" fmla="*/ 1588520 h 1711998"/>
                <a:gd name="connsiteX40" fmla="*/ 307025 w 4011346"/>
                <a:gd name="connsiteY40" fmla="*/ 1625230 h 1711998"/>
                <a:gd name="connsiteX41" fmla="*/ 337060 w 4011346"/>
                <a:gd name="connsiteY41" fmla="*/ 1631904 h 1711998"/>
                <a:gd name="connsiteX42" fmla="*/ 360421 w 4011346"/>
                <a:gd name="connsiteY42" fmla="*/ 1638579 h 1711998"/>
                <a:gd name="connsiteX43" fmla="*/ 380444 w 4011346"/>
                <a:gd name="connsiteY43" fmla="*/ 1645253 h 1711998"/>
                <a:gd name="connsiteX44" fmla="*/ 407142 w 4011346"/>
                <a:gd name="connsiteY44" fmla="*/ 1665276 h 1711998"/>
                <a:gd name="connsiteX45" fmla="*/ 437177 w 4011346"/>
                <a:gd name="connsiteY45" fmla="*/ 1661939 h 1711998"/>
                <a:gd name="connsiteX46" fmla="*/ 507259 w 4011346"/>
                <a:gd name="connsiteY46" fmla="*/ 1711998 h 1711998"/>
                <a:gd name="connsiteX47" fmla="*/ 517271 w 4011346"/>
                <a:gd name="connsiteY47" fmla="*/ 1698649 h 1711998"/>
                <a:gd name="connsiteX48" fmla="*/ 507259 w 4011346"/>
                <a:gd name="connsiteY48" fmla="*/ 1658602 h 1711998"/>
                <a:gd name="connsiteX49" fmla="*/ 500584 w 4011346"/>
                <a:gd name="connsiteY49" fmla="*/ 1625230 h 1711998"/>
                <a:gd name="connsiteX50" fmla="*/ 483898 w 4011346"/>
                <a:gd name="connsiteY50" fmla="*/ 1581846 h 1711998"/>
                <a:gd name="connsiteX51" fmla="*/ 513933 w 4011346"/>
                <a:gd name="connsiteY51" fmla="*/ 1561822 h 1711998"/>
                <a:gd name="connsiteX52" fmla="*/ 547306 w 4011346"/>
                <a:gd name="connsiteY52" fmla="*/ 1538462 h 1711998"/>
                <a:gd name="connsiteX53" fmla="*/ 527282 w 4011346"/>
                <a:gd name="connsiteY53" fmla="*/ 1521776 h 1711998"/>
                <a:gd name="connsiteX54" fmla="*/ 517271 w 4011346"/>
                <a:gd name="connsiteY54" fmla="*/ 1488403 h 1711998"/>
                <a:gd name="connsiteX55" fmla="*/ 480561 w 4011346"/>
                <a:gd name="connsiteY55" fmla="*/ 1471717 h 1711998"/>
                <a:gd name="connsiteX56" fmla="*/ 470549 w 4011346"/>
                <a:gd name="connsiteY56" fmla="*/ 1451694 h 1711998"/>
                <a:gd name="connsiteX57" fmla="*/ 480561 w 4011346"/>
                <a:gd name="connsiteY57" fmla="*/ 1421659 h 1711998"/>
                <a:gd name="connsiteX58" fmla="*/ 490573 w 4011346"/>
                <a:gd name="connsiteY58" fmla="*/ 1381612 h 1711998"/>
                <a:gd name="connsiteX59" fmla="*/ 513933 w 4011346"/>
                <a:gd name="connsiteY59" fmla="*/ 1401636 h 1711998"/>
                <a:gd name="connsiteX60" fmla="*/ 520608 w 4011346"/>
                <a:gd name="connsiteY60" fmla="*/ 1384949 h 1711998"/>
                <a:gd name="connsiteX61" fmla="*/ 543968 w 4011346"/>
                <a:gd name="connsiteY61" fmla="*/ 1348240 h 1711998"/>
                <a:gd name="connsiteX62" fmla="*/ 574003 w 4011346"/>
                <a:gd name="connsiteY62" fmla="*/ 1331554 h 1711998"/>
                <a:gd name="connsiteX63" fmla="*/ 590690 w 4011346"/>
                <a:gd name="connsiteY63" fmla="*/ 1344903 h 1711998"/>
                <a:gd name="connsiteX64" fmla="*/ 610713 w 4011346"/>
                <a:gd name="connsiteY64" fmla="*/ 1318205 h 1711998"/>
                <a:gd name="connsiteX65" fmla="*/ 630736 w 4011346"/>
                <a:gd name="connsiteY65" fmla="*/ 1344903 h 1711998"/>
                <a:gd name="connsiteX66" fmla="*/ 657434 w 4011346"/>
                <a:gd name="connsiteY66" fmla="*/ 1368263 h 1711998"/>
                <a:gd name="connsiteX67" fmla="*/ 674120 w 4011346"/>
                <a:gd name="connsiteY67" fmla="*/ 1374938 h 1711998"/>
                <a:gd name="connsiteX68" fmla="*/ 697481 w 4011346"/>
                <a:gd name="connsiteY68" fmla="*/ 1374938 h 1711998"/>
                <a:gd name="connsiteX69" fmla="*/ 717504 w 4011346"/>
                <a:gd name="connsiteY69" fmla="*/ 1361589 h 1711998"/>
                <a:gd name="connsiteX70" fmla="*/ 744202 w 4011346"/>
                <a:gd name="connsiteY70" fmla="*/ 1361589 h 1711998"/>
                <a:gd name="connsiteX71" fmla="*/ 760888 w 4011346"/>
                <a:gd name="connsiteY71" fmla="*/ 1358252 h 1711998"/>
                <a:gd name="connsiteX72" fmla="*/ 790923 w 4011346"/>
                <a:gd name="connsiteY72" fmla="*/ 1391624 h 1711998"/>
                <a:gd name="connsiteX73" fmla="*/ 797598 w 4011346"/>
                <a:gd name="connsiteY73" fmla="*/ 1364926 h 1711998"/>
                <a:gd name="connsiteX74" fmla="*/ 817621 w 4011346"/>
                <a:gd name="connsiteY74" fmla="*/ 1381612 h 1711998"/>
                <a:gd name="connsiteX75" fmla="*/ 837644 w 4011346"/>
                <a:gd name="connsiteY75" fmla="*/ 1358252 h 1711998"/>
                <a:gd name="connsiteX76" fmla="*/ 827633 w 4011346"/>
                <a:gd name="connsiteY76" fmla="*/ 1338228 h 1711998"/>
                <a:gd name="connsiteX77" fmla="*/ 810946 w 4011346"/>
                <a:gd name="connsiteY77" fmla="*/ 1324879 h 1711998"/>
                <a:gd name="connsiteX78" fmla="*/ 810946 w 4011346"/>
                <a:gd name="connsiteY78" fmla="*/ 1298182 h 1711998"/>
                <a:gd name="connsiteX79" fmla="*/ 810946 w 4011346"/>
                <a:gd name="connsiteY79" fmla="*/ 1284833 h 1711998"/>
                <a:gd name="connsiteX80" fmla="*/ 830970 w 4011346"/>
                <a:gd name="connsiteY80" fmla="*/ 1281495 h 1711998"/>
                <a:gd name="connsiteX81" fmla="*/ 840981 w 4011346"/>
                <a:gd name="connsiteY81" fmla="*/ 1278158 h 1711998"/>
                <a:gd name="connsiteX82" fmla="*/ 820958 w 4011346"/>
                <a:gd name="connsiteY82" fmla="*/ 1241449 h 1711998"/>
                <a:gd name="connsiteX83" fmla="*/ 854330 w 4011346"/>
                <a:gd name="connsiteY83" fmla="*/ 1234774 h 1711998"/>
                <a:gd name="connsiteX84" fmla="*/ 891040 w 4011346"/>
                <a:gd name="connsiteY84" fmla="*/ 1241449 h 1711998"/>
                <a:gd name="connsiteX85" fmla="*/ 964459 w 4011346"/>
                <a:gd name="connsiteY85" fmla="*/ 1198065 h 1711998"/>
                <a:gd name="connsiteX86" fmla="*/ 1001168 w 4011346"/>
                <a:gd name="connsiteY86" fmla="*/ 1198065 h 1711998"/>
                <a:gd name="connsiteX87" fmla="*/ 1027866 w 4011346"/>
                <a:gd name="connsiteY87" fmla="*/ 1174704 h 1711998"/>
                <a:gd name="connsiteX88" fmla="*/ 1047890 w 4011346"/>
                <a:gd name="connsiteY88" fmla="*/ 1184716 h 1711998"/>
                <a:gd name="connsiteX89" fmla="*/ 1067913 w 4011346"/>
                <a:gd name="connsiteY89" fmla="*/ 1194727 h 1711998"/>
                <a:gd name="connsiteX90" fmla="*/ 1087936 w 4011346"/>
                <a:gd name="connsiteY90" fmla="*/ 1221425 h 1711998"/>
                <a:gd name="connsiteX91" fmla="*/ 1074587 w 4011346"/>
                <a:gd name="connsiteY91" fmla="*/ 1234774 h 1711998"/>
                <a:gd name="connsiteX92" fmla="*/ 1104622 w 4011346"/>
                <a:gd name="connsiteY92" fmla="*/ 1234774 h 1711998"/>
                <a:gd name="connsiteX93" fmla="*/ 1107960 w 4011346"/>
                <a:gd name="connsiteY93" fmla="*/ 1251460 h 1711998"/>
                <a:gd name="connsiteX94" fmla="*/ 1121309 w 4011346"/>
                <a:gd name="connsiteY94" fmla="*/ 1234774 h 1711998"/>
                <a:gd name="connsiteX95" fmla="*/ 1134657 w 4011346"/>
                <a:gd name="connsiteY95" fmla="*/ 1248123 h 1711998"/>
                <a:gd name="connsiteX96" fmla="*/ 1134657 w 4011346"/>
                <a:gd name="connsiteY96" fmla="*/ 1268146 h 1711998"/>
                <a:gd name="connsiteX97" fmla="*/ 1148006 w 4011346"/>
                <a:gd name="connsiteY97" fmla="*/ 1264809 h 1711998"/>
                <a:gd name="connsiteX98" fmla="*/ 1208076 w 4011346"/>
                <a:gd name="connsiteY98" fmla="*/ 1218088 h 1711998"/>
                <a:gd name="connsiteX99" fmla="*/ 1211414 w 4011346"/>
                <a:gd name="connsiteY99" fmla="*/ 1238111 h 1711998"/>
                <a:gd name="connsiteX100" fmla="*/ 1244786 w 4011346"/>
                <a:gd name="connsiteY100" fmla="*/ 1258135 h 1711998"/>
                <a:gd name="connsiteX101" fmla="*/ 1264809 w 4011346"/>
                <a:gd name="connsiteY101" fmla="*/ 1288170 h 1711998"/>
                <a:gd name="connsiteX102" fmla="*/ 1298181 w 4011346"/>
                <a:gd name="connsiteY102" fmla="*/ 1394961 h 1711998"/>
                <a:gd name="connsiteX103" fmla="*/ 1308193 w 4011346"/>
                <a:gd name="connsiteY103" fmla="*/ 1351577 h 1711998"/>
                <a:gd name="connsiteX104" fmla="*/ 1344903 w 4011346"/>
                <a:gd name="connsiteY104" fmla="*/ 1371600 h 1711998"/>
                <a:gd name="connsiteX105" fmla="*/ 1388287 w 4011346"/>
                <a:gd name="connsiteY105" fmla="*/ 1371600 h 1711998"/>
                <a:gd name="connsiteX106" fmla="*/ 1394961 w 4011346"/>
                <a:gd name="connsiteY106" fmla="*/ 1394961 h 1711998"/>
                <a:gd name="connsiteX107" fmla="*/ 1435008 w 4011346"/>
                <a:gd name="connsiteY107" fmla="*/ 1418322 h 1711998"/>
                <a:gd name="connsiteX108" fmla="*/ 1465043 w 4011346"/>
                <a:gd name="connsiteY108" fmla="*/ 1418322 h 1711998"/>
                <a:gd name="connsiteX109" fmla="*/ 1491741 w 4011346"/>
                <a:gd name="connsiteY109" fmla="*/ 1431671 h 1711998"/>
                <a:gd name="connsiteX110" fmla="*/ 1535125 w 4011346"/>
                <a:gd name="connsiteY110" fmla="*/ 1388287 h 1711998"/>
                <a:gd name="connsiteX111" fmla="*/ 1571834 w 4011346"/>
                <a:gd name="connsiteY111" fmla="*/ 1368263 h 1711998"/>
                <a:gd name="connsiteX112" fmla="*/ 1608544 w 4011346"/>
                <a:gd name="connsiteY112" fmla="*/ 1371600 h 1711998"/>
                <a:gd name="connsiteX113" fmla="*/ 1655265 w 4011346"/>
                <a:gd name="connsiteY113" fmla="*/ 1384949 h 1711998"/>
                <a:gd name="connsiteX114" fmla="*/ 1681963 w 4011346"/>
                <a:gd name="connsiteY114" fmla="*/ 1401636 h 1711998"/>
                <a:gd name="connsiteX115" fmla="*/ 1735358 w 4011346"/>
                <a:gd name="connsiteY115" fmla="*/ 1394961 h 1711998"/>
                <a:gd name="connsiteX116" fmla="*/ 1745370 w 4011346"/>
                <a:gd name="connsiteY116" fmla="*/ 1374938 h 1711998"/>
                <a:gd name="connsiteX117" fmla="*/ 1738695 w 4011346"/>
                <a:gd name="connsiteY117" fmla="*/ 1354914 h 1711998"/>
                <a:gd name="connsiteX118" fmla="*/ 1765393 w 4011346"/>
                <a:gd name="connsiteY118" fmla="*/ 1328217 h 1711998"/>
                <a:gd name="connsiteX119" fmla="*/ 1778742 w 4011346"/>
                <a:gd name="connsiteY119" fmla="*/ 1324879 h 1711998"/>
                <a:gd name="connsiteX120" fmla="*/ 1812114 w 4011346"/>
                <a:gd name="connsiteY120" fmla="*/ 1341565 h 1711998"/>
                <a:gd name="connsiteX121" fmla="*/ 1852161 w 4011346"/>
                <a:gd name="connsiteY121" fmla="*/ 1354914 h 1711998"/>
                <a:gd name="connsiteX122" fmla="*/ 1858836 w 4011346"/>
                <a:gd name="connsiteY122" fmla="*/ 1381612 h 1711998"/>
                <a:gd name="connsiteX123" fmla="*/ 1872184 w 4011346"/>
                <a:gd name="connsiteY123" fmla="*/ 1388287 h 1711998"/>
                <a:gd name="connsiteX124" fmla="*/ 1902219 w 4011346"/>
                <a:gd name="connsiteY124" fmla="*/ 1391624 h 1711998"/>
                <a:gd name="connsiteX125" fmla="*/ 1932254 w 4011346"/>
                <a:gd name="connsiteY125" fmla="*/ 1374938 h 1711998"/>
                <a:gd name="connsiteX126" fmla="*/ 1962290 w 4011346"/>
                <a:gd name="connsiteY126" fmla="*/ 1388287 h 1711998"/>
                <a:gd name="connsiteX127" fmla="*/ 1985650 w 4011346"/>
                <a:gd name="connsiteY127" fmla="*/ 1401636 h 1711998"/>
                <a:gd name="connsiteX128" fmla="*/ 1995662 w 4011346"/>
                <a:gd name="connsiteY128" fmla="*/ 1411647 h 1711998"/>
                <a:gd name="connsiteX129" fmla="*/ 2032371 w 4011346"/>
                <a:gd name="connsiteY129" fmla="*/ 1431671 h 1711998"/>
                <a:gd name="connsiteX130" fmla="*/ 2069081 w 4011346"/>
                <a:gd name="connsiteY130" fmla="*/ 1428333 h 1711998"/>
                <a:gd name="connsiteX131" fmla="*/ 2142500 w 4011346"/>
                <a:gd name="connsiteY131" fmla="*/ 1384949 h 1711998"/>
                <a:gd name="connsiteX132" fmla="*/ 2195895 w 4011346"/>
                <a:gd name="connsiteY132" fmla="*/ 1398298 h 1711998"/>
                <a:gd name="connsiteX133" fmla="*/ 2225930 w 4011346"/>
                <a:gd name="connsiteY133" fmla="*/ 1408310 h 1711998"/>
                <a:gd name="connsiteX134" fmla="*/ 2259303 w 4011346"/>
                <a:gd name="connsiteY134" fmla="*/ 1394961 h 1711998"/>
                <a:gd name="connsiteX135" fmla="*/ 2262640 w 4011346"/>
                <a:gd name="connsiteY135" fmla="*/ 1368263 h 1711998"/>
                <a:gd name="connsiteX136" fmla="*/ 2282663 w 4011346"/>
                <a:gd name="connsiteY136" fmla="*/ 1338228 h 1711998"/>
                <a:gd name="connsiteX137" fmla="*/ 2299349 w 4011346"/>
                <a:gd name="connsiteY137" fmla="*/ 1284833 h 1711998"/>
                <a:gd name="connsiteX138" fmla="*/ 2282663 w 4011346"/>
                <a:gd name="connsiteY138" fmla="*/ 1288170 h 1711998"/>
                <a:gd name="connsiteX139" fmla="*/ 2312698 w 4011346"/>
                <a:gd name="connsiteY139" fmla="*/ 1261472 h 1711998"/>
                <a:gd name="connsiteX140" fmla="*/ 2339396 w 4011346"/>
                <a:gd name="connsiteY140" fmla="*/ 1258135 h 1711998"/>
                <a:gd name="connsiteX141" fmla="*/ 2396129 w 4011346"/>
                <a:gd name="connsiteY141" fmla="*/ 1268146 h 1711998"/>
                <a:gd name="connsiteX142" fmla="*/ 2436176 w 4011346"/>
                <a:gd name="connsiteY142" fmla="*/ 1294844 h 1711998"/>
                <a:gd name="connsiteX143" fmla="*/ 2462873 w 4011346"/>
                <a:gd name="connsiteY143" fmla="*/ 1324879 h 1711998"/>
                <a:gd name="connsiteX144" fmla="*/ 2469548 w 4011346"/>
                <a:gd name="connsiteY144" fmla="*/ 1361589 h 1711998"/>
                <a:gd name="connsiteX145" fmla="*/ 2476222 w 4011346"/>
                <a:gd name="connsiteY145" fmla="*/ 1401636 h 1711998"/>
                <a:gd name="connsiteX146" fmla="*/ 2486234 w 4011346"/>
                <a:gd name="connsiteY146" fmla="*/ 1421659 h 1711998"/>
                <a:gd name="connsiteX147" fmla="*/ 2529618 w 4011346"/>
                <a:gd name="connsiteY147" fmla="*/ 1435008 h 1711998"/>
                <a:gd name="connsiteX148" fmla="*/ 2549641 w 4011346"/>
                <a:gd name="connsiteY148" fmla="*/ 1455031 h 1711998"/>
                <a:gd name="connsiteX149" fmla="*/ 2562990 w 4011346"/>
                <a:gd name="connsiteY149" fmla="*/ 1488403 h 1711998"/>
                <a:gd name="connsiteX150" fmla="*/ 2586351 w 4011346"/>
                <a:gd name="connsiteY150" fmla="*/ 1481729 h 1711998"/>
                <a:gd name="connsiteX151" fmla="*/ 2606374 w 4011346"/>
                <a:gd name="connsiteY151" fmla="*/ 1471717 h 1711998"/>
                <a:gd name="connsiteX152" fmla="*/ 2639746 w 4011346"/>
                <a:gd name="connsiteY152" fmla="*/ 1455031 h 1711998"/>
                <a:gd name="connsiteX153" fmla="*/ 2643084 w 4011346"/>
                <a:gd name="connsiteY153" fmla="*/ 1471717 h 1711998"/>
                <a:gd name="connsiteX154" fmla="*/ 2626398 w 4011346"/>
                <a:gd name="connsiteY154" fmla="*/ 1501752 h 1711998"/>
                <a:gd name="connsiteX155" fmla="*/ 2616386 w 4011346"/>
                <a:gd name="connsiteY155" fmla="*/ 1538462 h 1711998"/>
                <a:gd name="connsiteX156" fmla="*/ 2603037 w 4011346"/>
                <a:gd name="connsiteY156" fmla="*/ 1591857 h 1711998"/>
                <a:gd name="connsiteX157" fmla="*/ 2579676 w 4011346"/>
                <a:gd name="connsiteY157" fmla="*/ 1565160 h 1711998"/>
                <a:gd name="connsiteX158" fmla="*/ 2552979 w 4011346"/>
                <a:gd name="connsiteY158" fmla="*/ 1588520 h 1711998"/>
                <a:gd name="connsiteX159" fmla="*/ 2559653 w 4011346"/>
                <a:gd name="connsiteY159" fmla="*/ 1615218 h 1711998"/>
                <a:gd name="connsiteX160" fmla="*/ 2559653 w 4011346"/>
                <a:gd name="connsiteY160" fmla="*/ 1651927 h 1711998"/>
                <a:gd name="connsiteX161" fmla="*/ 2549641 w 4011346"/>
                <a:gd name="connsiteY161" fmla="*/ 1671951 h 1711998"/>
                <a:gd name="connsiteX162" fmla="*/ 2589688 w 4011346"/>
                <a:gd name="connsiteY162" fmla="*/ 1651927 h 1711998"/>
                <a:gd name="connsiteX163" fmla="*/ 2626398 w 4011346"/>
                <a:gd name="connsiteY163" fmla="*/ 1661939 h 1711998"/>
                <a:gd name="connsiteX164" fmla="*/ 2653095 w 4011346"/>
                <a:gd name="connsiteY164" fmla="*/ 1638579 h 1711998"/>
                <a:gd name="connsiteX165" fmla="*/ 2683130 w 4011346"/>
                <a:gd name="connsiteY165" fmla="*/ 1585183 h 1711998"/>
                <a:gd name="connsiteX166" fmla="*/ 2753212 w 4011346"/>
                <a:gd name="connsiteY166" fmla="*/ 1498415 h 1711998"/>
                <a:gd name="connsiteX167" fmla="*/ 2783247 w 4011346"/>
                <a:gd name="connsiteY167" fmla="*/ 1428333 h 1711998"/>
                <a:gd name="connsiteX168" fmla="*/ 2803271 w 4011346"/>
                <a:gd name="connsiteY168" fmla="*/ 1324879 h 1711998"/>
                <a:gd name="connsiteX169" fmla="*/ 2793259 w 4011346"/>
                <a:gd name="connsiteY169" fmla="*/ 1274821 h 1711998"/>
                <a:gd name="connsiteX170" fmla="*/ 2769898 w 4011346"/>
                <a:gd name="connsiteY170" fmla="*/ 1241449 h 1711998"/>
                <a:gd name="connsiteX171" fmla="*/ 2726514 w 4011346"/>
                <a:gd name="connsiteY171" fmla="*/ 1241449 h 1711998"/>
                <a:gd name="connsiteX172" fmla="*/ 2699817 w 4011346"/>
                <a:gd name="connsiteY172" fmla="*/ 1241449 h 1711998"/>
                <a:gd name="connsiteX173" fmla="*/ 2683130 w 4011346"/>
                <a:gd name="connsiteY173" fmla="*/ 1221425 h 1711998"/>
                <a:gd name="connsiteX174" fmla="*/ 2669781 w 4011346"/>
                <a:gd name="connsiteY174" fmla="*/ 1201402 h 1711998"/>
                <a:gd name="connsiteX175" fmla="*/ 2763224 w 4011346"/>
                <a:gd name="connsiteY175" fmla="*/ 1084599 h 1711998"/>
                <a:gd name="connsiteX176" fmla="*/ 2846654 w 4011346"/>
                <a:gd name="connsiteY176" fmla="*/ 1017855 h 1711998"/>
                <a:gd name="connsiteX177" fmla="*/ 2890038 w 4011346"/>
                <a:gd name="connsiteY177" fmla="*/ 994494 h 1711998"/>
                <a:gd name="connsiteX178" fmla="*/ 2933422 w 4011346"/>
                <a:gd name="connsiteY178" fmla="*/ 1014517 h 1711998"/>
                <a:gd name="connsiteX179" fmla="*/ 2950109 w 4011346"/>
                <a:gd name="connsiteY179" fmla="*/ 997831 h 1711998"/>
                <a:gd name="connsiteX180" fmla="*/ 2993492 w 4011346"/>
                <a:gd name="connsiteY180" fmla="*/ 1014517 h 1711998"/>
                <a:gd name="connsiteX181" fmla="*/ 3006841 w 4011346"/>
                <a:gd name="connsiteY181" fmla="*/ 981145 h 1711998"/>
                <a:gd name="connsiteX182" fmla="*/ 3053563 w 4011346"/>
                <a:gd name="connsiteY182" fmla="*/ 991157 h 1711998"/>
                <a:gd name="connsiteX183" fmla="*/ 3070249 w 4011346"/>
                <a:gd name="connsiteY183" fmla="*/ 1007843 h 1711998"/>
                <a:gd name="connsiteX184" fmla="*/ 3060237 w 4011346"/>
                <a:gd name="connsiteY184" fmla="*/ 1027866 h 1711998"/>
                <a:gd name="connsiteX185" fmla="*/ 3123644 w 4011346"/>
                <a:gd name="connsiteY185" fmla="*/ 1011180 h 1711998"/>
                <a:gd name="connsiteX186" fmla="*/ 3140330 w 4011346"/>
                <a:gd name="connsiteY186" fmla="*/ 997831 h 1711998"/>
                <a:gd name="connsiteX187" fmla="*/ 3123644 w 4011346"/>
                <a:gd name="connsiteY187" fmla="*/ 984482 h 1711998"/>
                <a:gd name="connsiteX188" fmla="*/ 3143668 w 4011346"/>
                <a:gd name="connsiteY188" fmla="*/ 944436 h 1711998"/>
                <a:gd name="connsiteX189" fmla="*/ 3190389 w 4011346"/>
                <a:gd name="connsiteY189" fmla="*/ 874354 h 1711998"/>
                <a:gd name="connsiteX190" fmla="*/ 3233773 w 4011346"/>
                <a:gd name="connsiteY190" fmla="*/ 871017 h 1711998"/>
                <a:gd name="connsiteX191" fmla="*/ 3273819 w 4011346"/>
                <a:gd name="connsiteY191" fmla="*/ 881028 h 1711998"/>
                <a:gd name="connsiteX192" fmla="*/ 3277157 w 4011346"/>
                <a:gd name="connsiteY192" fmla="*/ 937761 h 1711998"/>
                <a:gd name="connsiteX193" fmla="*/ 3320541 w 4011346"/>
                <a:gd name="connsiteY193" fmla="*/ 894377 h 1711998"/>
                <a:gd name="connsiteX194" fmla="*/ 3343901 w 4011346"/>
                <a:gd name="connsiteY194" fmla="*/ 877691 h 1711998"/>
                <a:gd name="connsiteX195" fmla="*/ 3350576 w 4011346"/>
                <a:gd name="connsiteY195" fmla="*/ 844319 h 1711998"/>
                <a:gd name="connsiteX196" fmla="*/ 3377273 w 4011346"/>
                <a:gd name="connsiteY196" fmla="*/ 827633 h 1711998"/>
                <a:gd name="connsiteX197" fmla="*/ 3407309 w 4011346"/>
                <a:gd name="connsiteY197" fmla="*/ 837644 h 1711998"/>
                <a:gd name="connsiteX198" fmla="*/ 3373936 w 4011346"/>
                <a:gd name="connsiteY198" fmla="*/ 867679 h 1711998"/>
                <a:gd name="connsiteX199" fmla="*/ 3360587 w 4011346"/>
                <a:gd name="connsiteY199" fmla="*/ 917738 h 1711998"/>
                <a:gd name="connsiteX200" fmla="*/ 3323878 w 4011346"/>
                <a:gd name="connsiteY200" fmla="*/ 957784 h 1711998"/>
                <a:gd name="connsiteX201" fmla="*/ 3210412 w 4011346"/>
                <a:gd name="connsiteY201" fmla="*/ 1054564 h 1711998"/>
                <a:gd name="connsiteX202" fmla="*/ 3163691 w 4011346"/>
                <a:gd name="connsiteY202" fmla="*/ 1124646 h 1711998"/>
                <a:gd name="connsiteX203" fmla="*/ 3160354 w 4011346"/>
                <a:gd name="connsiteY203" fmla="*/ 1198065 h 1711998"/>
                <a:gd name="connsiteX204" fmla="*/ 3170365 w 4011346"/>
                <a:gd name="connsiteY204" fmla="*/ 1288170 h 1711998"/>
                <a:gd name="connsiteX205" fmla="*/ 3190389 w 4011346"/>
                <a:gd name="connsiteY205" fmla="*/ 1351577 h 1711998"/>
                <a:gd name="connsiteX206" fmla="*/ 3217087 w 4011346"/>
                <a:gd name="connsiteY206" fmla="*/ 1341565 h 1711998"/>
                <a:gd name="connsiteX207" fmla="*/ 3240447 w 4011346"/>
                <a:gd name="connsiteY207" fmla="*/ 1274821 h 1711998"/>
                <a:gd name="connsiteX208" fmla="*/ 3270482 w 4011346"/>
                <a:gd name="connsiteY208" fmla="*/ 1271484 h 1711998"/>
                <a:gd name="connsiteX209" fmla="*/ 3287168 w 4011346"/>
                <a:gd name="connsiteY209" fmla="*/ 1211414 h 1711998"/>
                <a:gd name="connsiteX210" fmla="*/ 3313866 w 4011346"/>
                <a:gd name="connsiteY210" fmla="*/ 1201402 h 1711998"/>
                <a:gd name="connsiteX211" fmla="*/ 3313866 w 4011346"/>
                <a:gd name="connsiteY211" fmla="*/ 1171367 h 1711998"/>
                <a:gd name="connsiteX212" fmla="*/ 3337227 w 4011346"/>
                <a:gd name="connsiteY212" fmla="*/ 1134657 h 1711998"/>
                <a:gd name="connsiteX213" fmla="*/ 3330552 w 4011346"/>
                <a:gd name="connsiteY213" fmla="*/ 1091273 h 1711998"/>
                <a:gd name="connsiteX214" fmla="*/ 3333890 w 4011346"/>
                <a:gd name="connsiteY214" fmla="*/ 1061238 h 1711998"/>
                <a:gd name="connsiteX215" fmla="*/ 3323878 w 4011346"/>
                <a:gd name="connsiteY215" fmla="*/ 1051227 h 1711998"/>
                <a:gd name="connsiteX216" fmla="*/ 3363925 w 4011346"/>
                <a:gd name="connsiteY216" fmla="*/ 964459 h 1711998"/>
                <a:gd name="connsiteX217" fmla="*/ 3383948 w 4011346"/>
                <a:gd name="connsiteY217" fmla="*/ 974471 h 1711998"/>
                <a:gd name="connsiteX218" fmla="*/ 3410646 w 4011346"/>
                <a:gd name="connsiteY218" fmla="*/ 947773 h 1711998"/>
                <a:gd name="connsiteX219" fmla="*/ 3420657 w 4011346"/>
                <a:gd name="connsiteY219" fmla="*/ 974471 h 1711998"/>
                <a:gd name="connsiteX220" fmla="*/ 3447355 w 4011346"/>
                <a:gd name="connsiteY220" fmla="*/ 957784 h 1711998"/>
                <a:gd name="connsiteX221" fmla="*/ 3477390 w 4011346"/>
                <a:gd name="connsiteY221" fmla="*/ 947773 h 1711998"/>
                <a:gd name="connsiteX222" fmla="*/ 3514100 w 4011346"/>
                <a:gd name="connsiteY222" fmla="*/ 974471 h 1711998"/>
                <a:gd name="connsiteX223" fmla="*/ 3574170 w 4011346"/>
                <a:gd name="connsiteY223" fmla="*/ 907726 h 1711998"/>
                <a:gd name="connsiteX224" fmla="*/ 3637577 w 4011346"/>
                <a:gd name="connsiteY224" fmla="*/ 861005 h 1711998"/>
                <a:gd name="connsiteX225" fmla="*/ 3690973 w 4011346"/>
                <a:gd name="connsiteY225" fmla="*/ 824295 h 1711998"/>
                <a:gd name="connsiteX226" fmla="*/ 3741031 w 4011346"/>
                <a:gd name="connsiteY226" fmla="*/ 850993 h 1711998"/>
                <a:gd name="connsiteX227" fmla="*/ 3751043 w 4011346"/>
                <a:gd name="connsiteY227" fmla="*/ 824295 h 1711998"/>
                <a:gd name="connsiteX228" fmla="*/ 3727682 w 4011346"/>
                <a:gd name="connsiteY228" fmla="*/ 757551 h 1711998"/>
                <a:gd name="connsiteX229" fmla="*/ 3700984 w 4011346"/>
                <a:gd name="connsiteY229" fmla="*/ 740865 h 1711998"/>
                <a:gd name="connsiteX230" fmla="*/ 3697647 w 4011346"/>
                <a:gd name="connsiteY230" fmla="*/ 710830 h 1711998"/>
                <a:gd name="connsiteX231" fmla="*/ 3751043 w 4011346"/>
                <a:gd name="connsiteY231" fmla="*/ 717504 h 1711998"/>
                <a:gd name="connsiteX232" fmla="*/ 3774403 w 4011346"/>
                <a:gd name="connsiteY232" fmla="*/ 674120 h 1711998"/>
                <a:gd name="connsiteX233" fmla="*/ 3767729 w 4011346"/>
                <a:gd name="connsiteY233" fmla="*/ 647422 h 1711998"/>
                <a:gd name="connsiteX234" fmla="*/ 3794427 w 4011346"/>
                <a:gd name="connsiteY234" fmla="*/ 614050 h 1711998"/>
                <a:gd name="connsiteX235" fmla="*/ 3804438 w 4011346"/>
                <a:gd name="connsiteY235" fmla="*/ 657434 h 1711998"/>
                <a:gd name="connsiteX236" fmla="*/ 3827799 w 4011346"/>
                <a:gd name="connsiteY236" fmla="*/ 674120 h 1711998"/>
                <a:gd name="connsiteX237" fmla="*/ 3874520 w 4011346"/>
                <a:gd name="connsiteY237" fmla="*/ 694144 h 1711998"/>
                <a:gd name="connsiteX238" fmla="*/ 3894544 w 4011346"/>
                <a:gd name="connsiteY238" fmla="*/ 720841 h 1711998"/>
                <a:gd name="connsiteX239" fmla="*/ 3941265 w 4011346"/>
                <a:gd name="connsiteY239" fmla="*/ 744202 h 1711998"/>
                <a:gd name="connsiteX240" fmla="*/ 3947939 w 4011346"/>
                <a:gd name="connsiteY240" fmla="*/ 730853 h 1711998"/>
                <a:gd name="connsiteX241" fmla="*/ 3957951 w 4011346"/>
                <a:gd name="connsiteY241" fmla="*/ 667446 h 1711998"/>
                <a:gd name="connsiteX242" fmla="*/ 4004672 w 4011346"/>
                <a:gd name="connsiteY242" fmla="*/ 660771 h 1711998"/>
                <a:gd name="connsiteX243" fmla="*/ 4011346 w 4011346"/>
                <a:gd name="connsiteY243" fmla="*/ 627399 h 1711998"/>
                <a:gd name="connsiteX244" fmla="*/ 3967963 w 4011346"/>
                <a:gd name="connsiteY244" fmla="*/ 590690 h 1711998"/>
                <a:gd name="connsiteX245" fmla="*/ 3921241 w 4011346"/>
                <a:gd name="connsiteY245" fmla="*/ 574003 h 1711998"/>
                <a:gd name="connsiteX246" fmla="*/ 3907892 w 4011346"/>
                <a:gd name="connsiteY246" fmla="*/ 577341 h 1711998"/>
                <a:gd name="connsiteX247" fmla="*/ 3907892 w 4011346"/>
                <a:gd name="connsiteY247" fmla="*/ 610713 h 1711998"/>
                <a:gd name="connsiteX248" fmla="*/ 3887869 w 4011346"/>
                <a:gd name="connsiteY248" fmla="*/ 604038 h 1711998"/>
                <a:gd name="connsiteX249" fmla="*/ 3874520 w 4011346"/>
                <a:gd name="connsiteY249" fmla="*/ 550643 h 1711998"/>
                <a:gd name="connsiteX250" fmla="*/ 3817787 w 4011346"/>
                <a:gd name="connsiteY250" fmla="*/ 487236 h 1711998"/>
                <a:gd name="connsiteX251" fmla="*/ 3717671 w 4011346"/>
                <a:gd name="connsiteY251" fmla="*/ 410479 h 1711998"/>
                <a:gd name="connsiteX252" fmla="*/ 3664275 w 4011346"/>
                <a:gd name="connsiteY252" fmla="*/ 390456 h 1711998"/>
                <a:gd name="connsiteX253" fmla="*/ 3584181 w 4011346"/>
                <a:gd name="connsiteY253" fmla="*/ 383782 h 1711998"/>
                <a:gd name="connsiteX254" fmla="*/ 3520774 w 4011346"/>
                <a:gd name="connsiteY254" fmla="*/ 367095 h 1711998"/>
                <a:gd name="connsiteX255" fmla="*/ 3530786 w 4011346"/>
                <a:gd name="connsiteY255" fmla="*/ 407142 h 1711998"/>
                <a:gd name="connsiteX256" fmla="*/ 3537460 w 4011346"/>
                <a:gd name="connsiteY256" fmla="*/ 433840 h 1711998"/>
                <a:gd name="connsiteX257" fmla="*/ 3507425 w 4011346"/>
                <a:gd name="connsiteY257" fmla="*/ 457200 h 1711998"/>
                <a:gd name="connsiteX258" fmla="*/ 3477390 w 4011346"/>
                <a:gd name="connsiteY258" fmla="*/ 430503 h 1711998"/>
                <a:gd name="connsiteX259" fmla="*/ 3477390 w 4011346"/>
                <a:gd name="connsiteY259" fmla="*/ 410479 h 1711998"/>
                <a:gd name="connsiteX260" fmla="*/ 3504088 w 4011346"/>
                <a:gd name="connsiteY260" fmla="*/ 390456 h 1711998"/>
                <a:gd name="connsiteX261" fmla="*/ 3467379 w 4011346"/>
                <a:gd name="connsiteY261" fmla="*/ 377107 h 1711998"/>
                <a:gd name="connsiteX262" fmla="*/ 3450692 w 4011346"/>
                <a:gd name="connsiteY262" fmla="*/ 403805 h 1711998"/>
                <a:gd name="connsiteX263" fmla="*/ 3440681 w 4011346"/>
                <a:gd name="connsiteY263" fmla="*/ 417154 h 1711998"/>
                <a:gd name="connsiteX264" fmla="*/ 3357250 w 4011346"/>
                <a:gd name="connsiteY264" fmla="*/ 403805 h 1711998"/>
                <a:gd name="connsiteX265" fmla="*/ 3297180 w 4011346"/>
                <a:gd name="connsiteY265" fmla="*/ 410479 h 1711998"/>
                <a:gd name="connsiteX266" fmla="*/ 3267145 w 4011346"/>
                <a:gd name="connsiteY266" fmla="*/ 387119 h 1711998"/>
                <a:gd name="connsiteX267" fmla="*/ 3267145 w 4011346"/>
                <a:gd name="connsiteY267" fmla="*/ 350409 h 1711998"/>
                <a:gd name="connsiteX268" fmla="*/ 3203738 w 4011346"/>
                <a:gd name="connsiteY268" fmla="*/ 293676 h 1711998"/>
                <a:gd name="connsiteX269" fmla="*/ 3076923 w 4011346"/>
                <a:gd name="connsiteY269" fmla="*/ 300351 h 1711998"/>
                <a:gd name="connsiteX270" fmla="*/ 3043551 w 4011346"/>
                <a:gd name="connsiteY270" fmla="*/ 276990 h 1711998"/>
                <a:gd name="connsiteX271" fmla="*/ 3000167 w 4011346"/>
                <a:gd name="connsiteY271" fmla="*/ 230269 h 1711998"/>
                <a:gd name="connsiteX272" fmla="*/ 3013516 w 4011346"/>
                <a:gd name="connsiteY272" fmla="*/ 223595 h 1711998"/>
                <a:gd name="connsiteX273" fmla="*/ 3000167 w 4011346"/>
                <a:gd name="connsiteY273" fmla="*/ 203571 h 1711998"/>
                <a:gd name="connsiteX274" fmla="*/ 2970132 w 4011346"/>
                <a:gd name="connsiteY274" fmla="*/ 200234 h 1711998"/>
                <a:gd name="connsiteX275" fmla="*/ 2920073 w 4011346"/>
                <a:gd name="connsiteY275" fmla="*/ 246955 h 1711998"/>
                <a:gd name="connsiteX276" fmla="*/ 2920073 w 4011346"/>
                <a:gd name="connsiteY276" fmla="*/ 246955 h 1711998"/>
                <a:gd name="connsiteX277" fmla="*/ 2916736 w 4011346"/>
                <a:gd name="connsiteY277" fmla="*/ 196897 h 1711998"/>
                <a:gd name="connsiteX278" fmla="*/ 2936760 w 4011346"/>
                <a:gd name="connsiteY278" fmla="*/ 193560 h 1711998"/>
                <a:gd name="connsiteX279" fmla="*/ 2866678 w 4011346"/>
                <a:gd name="connsiteY279" fmla="*/ 163525 h 1711998"/>
                <a:gd name="connsiteX280" fmla="*/ 2813282 w 4011346"/>
                <a:gd name="connsiteY280" fmla="*/ 160187 h 1711998"/>
                <a:gd name="connsiteX281" fmla="*/ 2793259 w 4011346"/>
                <a:gd name="connsiteY281" fmla="*/ 183548 h 1711998"/>
                <a:gd name="connsiteX282" fmla="*/ 2743200 w 4011346"/>
                <a:gd name="connsiteY282" fmla="*/ 193560 h 1711998"/>
                <a:gd name="connsiteX283" fmla="*/ 2786584 w 4011346"/>
                <a:gd name="connsiteY283" fmla="*/ 203571 h 1711998"/>
                <a:gd name="connsiteX284" fmla="*/ 2763224 w 4011346"/>
                <a:gd name="connsiteY284" fmla="*/ 223595 h 1711998"/>
                <a:gd name="connsiteX285" fmla="*/ 2769898 w 4011346"/>
                <a:gd name="connsiteY285" fmla="*/ 273653 h 1711998"/>
                <a:gd name="connsiteX286" fmla="*/ 2749875 w 4011346"/>
                <a:gd name="connsiteY286" fmla="*/ 256967 h 1711998"/>
                <a:gd name="connsiteX287" fmla="*/ 2733189 w 4011346"/>
                <a:gd name="connsiteY287" fmla="*/ 270316 h 1711998"/>
                <a:gd name="connsiteX288" fmla="*/ 2666444 w 4011346"/>
                <a:gd name="connsiteY288" fmla="*/ 260304 h 1711998"/>
                <a:gd name="connsiteX289" fmla="*/ 2636409 w 4011346"/>
                <a:gd name="connsiteY289" fmla="*/ 270316 h 1711998"/>
                <a:gd name="connsiteX290" fmla="*/ 2603037 w 4011346"/>
                <a:gd name="connsiteY290" fmla="*/ 230269 h 1711998"/>
                <a:gd name="connsiteX291" fmla="*/ 2569665 w 4011346"/>
                <a:gd name="connsiteY291" fmla="*/ 313700 h 1711998"/>
                <a:gd name="connsiteX292" fmla="*/ 2552979 w 4011346"/>
                <a:gd name="connsiteY292" fmla="*/ 333723 h 1711998"/>
                <a:gd name="connsiteX293" fmla="*/ 2469548 w 4011346"/>
                <a:gd name="connsiteY293" fmla="*/ 196897 h 1711998"/>
                <a:gd name="connsiteX294" fmla="*/ 2446187 w 4011346"/>
                <a:gd name="connsiteY294" fmla="*/ 213583 h 1711998"/>
                <a:gd name="connsiteX295" fmla="*/ 2442850 w 4011346"/>
                <a:gd name="connsiteY295" fmla="*/ 180211 h 1711998"/>
                <a:gd name="connsiteX296" fmla="*/ 2449525 w 4011346"/>
                <a:gd name="connsiteY296" fmla="*/ 110129 h 1711998"/>
                <a:gd name="connsiteX297" fmla="*/ 2386117 w 4011346"/>
                <a:gd name="connsiteY297" fmla="*/ 83431 h 1711998"/>
                <a:gd name="connsiteX298" fmla="*/ 2369431 w 4011346"/>
                <a:gd name="connsiteY298" fmla="*/ 123478 h 1711998"/>
                <a:gd name="connsiteX299" fmla="*/ 2379443 w 4011346"/>
                <a:gd name="connsiteY299" fmla="*/ 146838 h 1711998"/>
                <a:gd name="connsiteX300" fmla="*/ 2376106 w 4011346"/>
                <a:gd name="connsiteY300" fmla="*/ 166862 h 1711998"/>
                <a:gd name="connsiteX301" fmla="*/ 2352745 w 4011346"/>
                <a:gd name="connsiteY301" fmla="*/ 143501 h 1711998"/>
                <a:gd name="connsiteX302" fmla="*/ 2316036 w 4011346"/>
                <a:gd name="connsiteY302" fmla="*/ 150176 h 1711998"/>
                <a:gd name="connsiteX303" fmla="*/ 2272652 w 4011346"/>
                <a:gd name="connsiteY303" fmla="*/ 136827 h 1711998"/>
                <a:gd name="connsiteX304" fmla="*/ 2245954 w 4011346"/>
                <a:gd name="connsiteY304" fmla="*/ 96780 h 1711998"/>
                <a:gd name="connsiteX305" fmla="*/ 2209244 w 4011346"/>
                <a:gd name="connsiteY305" fmla="*/ 93443 h 1711998"/>
                <a:gd name="connsiteX306" fmla="*/ 2159186 w 4011346"/>
                <a:gd name="connsiteY306" fmla="*/ 83431 h 1711998"/>
                <a:gd name="connsiteX307" fmla="*/ 2132488 w 4011346"/>
                <a:gd name="connsiteY307" fmla="*/ 100117 h 1711998"/>
                <a:gd name="connsiteX308" fmla="*/ 2115802 w 4011346"/>
                <a:gd name="connsiteY308" fmla="*/ 113466 h 1711998"/>
                <a:gd name="connsiteX309" fmla="*/ 2115802 w 4011346"/>
                <a:gd name="connsiteY309" fmla="*/ 83431 h 1711998"/>
                <a:gd name="connsiteX310" fmla="*/ 2082430 w 4011346"/>
                <a:gd name="connsiteY310" fmla="*/ 80094 h 1711998"/>
                <a:gd name="connsiteX311" fmla="*/ 2045720 w 4011346"/>
                <a:gd name="connsiteY311" fmla="*/ 53396 h 1711998"/>
                <a:gd name="connsiteX312" fmla="*/ 2025697 w 4011346"/>
                <a:gd name="connsiteY312" fmla="*/ 83431 h 1711998"/>
                <a:gd name="connsiteX313" fmla="*/ 2055732 w 4011346"/>
                <a:gd name="connsiteY313" fmla="*/ 80094 h 1711998"/>
                <a:gd name="connsiteX314" fmla="*/ 2045720 w 4011346"/>
                <a:gd name="connsiteY314" fmla="*/ 106792 h 1711998"/>
                <a:gd name="connsiteX315" fmla="*/ 1988987 w 4011346"/>
                <a:gd name="connsiteY315" fmla="*/ 126815 h 1711998"/>
                <a:gd name="connsiteX316" fmla="*/ 1935592 w 4011346"/>
                <a:gd name="connsiteY316" fmla="*/ 136827 h 1711998"/>
                <a:gd name="connsiteX317" fmla="*/ 1995662 w 4011346"/>
                <a:gd name="connsiteY317" fmla="*/ 80094 h 1711998"/>
                <a:gd name="connsiteX318" fmla="*/ 2055732 w 4011346"/>
                <a:gd name="connsiteY318" fmla="*/ 10012 h 1711998"/>
                <a:gd name="connsiteX319" fmla="*/ 2055732 w 4011346"/>
                <a:gd name="connsiteY319" fmla="*/ 10012 h 1711998"/>
                <a:gd name="connsiteX320" fmla="*/ 1648590 w 4011346"/>
                <a:gd name="connsiteY320" fmla="*/ 0 h 1711998"/>
                <a:gd name="connsiteX321" fmla="*/ 1465043 w 4011346"/>
                <a:gd name="connsiteY321" fmla="*/ 0 h 1711998"/>
                <a:gd name="connsiteX322" fmla="*/ 1448357 w 4011346"/>
                <a:gd name="connsiteY322" fmla="*/ 26698 h 1711998"/>
                <a:gd name="connsiteX323" fmla="*/ 1481729 w 4011346"/>
                <a:gd name="connsiteY323" fmla="*/ 60071 h 1711998"/>
                <a:gd name="connsiteX324" fmla="*/ 1481729 w 4011346"/>
                <a:gd name="connsiteY324" fmla="*/ 90106 h 1711998"/>
                <a:gd name="connsiteX325" fmla="*/ 1458368 w 4011346"/>
                <a:gd name="connsiteY325" fmla="*/ 93443 h 1711998"/>
                <a:gd name="connsiteX326" fmla="*/ 1458368 w 4011346"/>
                <a:gd name="connsiteY326" fmla="*/ 73419 h 1711998"/>
                <a:gd name="connsiteX327" fmla="*/ 1418322 w 4011346"/>
                <a:gd name="connsiteY327" fmla="*/ 83431 h 1711998"/>
                <a:gd name="connsiteX328" fmla="*/ 1368263 w 4011346"/>
                <a:gd name="connsiteY328" fmla="*/ 90106 h 1711998"/>
                <a:gd name="connsiteX329" fmla="*/ 1321542 w 4011346"/>
                <a:gd name="connsiteY329" fmla="*/ 96780 h 1711998"/>
                <a:gd name="connsiteX330" fmla="*/ 1318205 w 4011346"/>
                <a:gd name="connsiteY330" fmla="*/ 183548 h 1711998"/>
                <a:gd name="connsiteX331" fmla="*/ 1358252 w 4011346"/>
                <a:gd name="connsiteY331" fmla="*/ 206909 h 1711998"/>
                <a:gd name="connsiteX332" fmla="*/ 1374938 w 4011346"/>
                <a:gd name="connsiteY332" fmla="*/ 236944 h 1711998"/>
                <a:gd name="connsiteX333" fmla="*/ 1384949 w 4011346"/>
                <a:gd name="connsiteY333" fmla="*/ 260304 h 1711998"/>
                <a:gd name="connsiteX334" fmla="*/ 1394961 w 4011346"/>
                <a:gd name="connsiteY334" fmla="*/ 310363 h 1711998"/>
                <a:gd name="connsiteX335" fmla="*/ 1384949 w 4011346"/>
                <a:gd name="connsiteY335" fmla="*/ 340398 h 1711998"/>
                <a:gd name="connsiteX336" fmla="*/ 1358252 w 4011346"/>
                <a:gd name="connsiteY336" fmla="*/ 307025 h 1711998"/>
                <a:gd name="connsiteX337" fmla="*/ 1361589 w 4011346"/>
                <a:gd name="connsiteY337" fmla="*/ 276990 h 1711998"/>
                <a:gd name="connsiteX338" fmla="*/ 1351577 w 4011346"/>
                <a:gd name="connsiteY338" fmla="*/ 236944 h 1711998"/>
                <a:gd name="connsiteX339" fmla="*/ 1328217 w 4011346"/>
                <a:gd name="connsiteY339" fmla="*/ 243618 h 1711998"/>
                <a:gd name="connsiteX340" fmla="*/ 1281495 w 4011346"/>
                <a:gd name="connsiteY340" fmla="*/ 206909 h 1711998"/>
                <a:gd name="connsiteX341" fmla="*/ 1241449 w 4011346"/>
                <a:gd name="connsiteY341" fmla="*/ 203571 h 1711998"/>
                <a:gd name="connsiteX342" fmla="*/ 1241449 w 4011346"/>
                <a:gd name="connsiteY342" fmla="*/ 250292 h 1711998"/>
                <a:gd name="connsiteX343" fmla="*/ 1201402 w 4011346"/>
                <a:gd name="connsiteY343" fmla="*/ 230269 h 1711998"/>
                <a:gd name="connsiteX344" fmla="*/ 1228100 w 4011346"/>
                <a:gd name="connsiteY344" fmla="*/ 280327 h 1711998"/>
                <a:gd name="connsiteX345" fmla="*/ 1258135 w 4011346"/>
                <a:gd name="connsiteY345" fmla="*/ 290339 h 1711998"/>
                <a:gd name="connsiteX346" fmla="*/ 1258135 w 4011346"/>
                <a:gd name="connsiteY346" fmla="*/ 310363 h 1711998"/>
                <a:gd name="connsiteX347" fmla="*/ 1198065 w 4011346"/>
                <a:gd name="connsiteY347" fmla="*/ 287002 h 1711998"/>
                <a:gd name="connsiteX348" fmla="*/ 1181379 w 4011346"/>
                <a:gd name="connsiteY348" fmla="*/ 287002 h 1711998"/>
                <a:gd name="connsiteX349" fmla="*/ 1178041 w 4011346"/>
                <a:gd name="connsiteY349" fmla="*/ 243618 h 1711998"/>
                <a:gd name="connsiteX350" fmla="*/ 1171367 w 4011346"/>
                <a:gd name="connsiteY350" fmla="*/ 156850 h 1711998"/>
                <a:gd name="connsiteX351" fmla="*/ 1161355 w 4011346"/>
                <a:gd name="connsiteY351" fmla="*/ 226932 h 1711998"/>
                <a:gd name="connsiteX352" fmla="*/ 1137995 w 4011346"/>
                <a:gd name="connsiteY352" fmla="*/ 256967 h 1711998"/>
                <a:gd name="connsiteX353" fmla="*/ 1158018 w 4011346"/>
                <a:gd name="connsiteY353" fmla="*/ 303688 h 1711998"/>
                <a:gd name="connsiteX354" fmla="*/ 1158018 w 4011346"/>
                <a:gd name="connsiteY354" fmla="*/ 337060 h 1711998"/>
                <a:gd name="connsiteX355" fmla="*/ 1141332 w 4011346"/>
                <a:gd name="connsiteY355" fmla="*/ 387119 h 1711998"/>
                <a:gd name="connsiteX356" fmla="*/ 1154681 w 4011346"/>
                <a:gd name="connsiteY356" fmla="*/ 420491 h 1711998"/>
                <a:gd name="connsiteX357" fmla="*/ 1184716 w 4011346"/>
                <a:gd name="connsiteY357" fmla="*/ 427165 h 1711998"/>
                <a:gd name="connsiteX358" fmla="*/ 1221425 w 4011346"/>
                <a:gd name="connsiteY358" fmla="*/ 433840 h 1711998"/>
                <a:gd name="connsiteX359" fmla="*/ 1241449 w 4011346"/>
                <a:gd name="connsiteY359" fmla="*/ 457200 h 1711998"/>
                <a:gd name="connsiteX360" fmla="*/ 1258135 w 4011346"/>
                <a:gd name="connsiteY360" fmla="*/ 500584 h 1711998"/>
                <a:gd name="connsiteX361" fmla="*/ 1258135 w 4011346"/>
                <a:gd name="connsiteY361" fmla="*/ 500584 h 1711998"/>
                <a:gd name="connsiteX362" fmla="*/ 1254798 w 4011346"/>
                <a:gd name="connsiteY362" fmla="*/ 533957 h 1711998"/>
                <a:gd name="connsiteX363" fmla="*/ 1274821 w 4011346"/>
                <a:gd name="connsiteY363" fmla="*/ 553980 h 1711998"/>
                <a:gd name="connsiteX364" fmla="*/ 1244786 w 4011346"/>
                <a:gd name="connsiteY364" fmla="*/ 560655 h 1711998"/>
                <a:gd name="connsiteX365" fmla="*/ 1224763 w 4011346"/>
                <a:gd name="connsiteY365" fmla="*/ 520608 h 1711998"/>
                <a:gd name="connsiteX366" fmla="*/ 1224763 w 4011346"/>
                <a:gd name="connsiteY366" fmla="*/ 480561 h 1711998"/>
                <a:gd name="connsiteX367" fmla="*/ 1194727 w 4011346"/>
                <a:gd name="connsiteY367" fmla="*/ 443852 h 1711998"/>
                <a:gd name="connsiteX368" fmla="*/ 1164692 w 4011346"/>
                <a:gd name="connsiteY368" fmla="*/ 487236 h 1711998"/>
                <a:gd name="connsiteX369" fmla="*/ 1178041 w 4011346"/>
                <a:gd name="connsiteY369" fmla="*/ 530619 h 1711998"/>
                <a:gd name="connsiteX370" fmla="*/ 1137995 w 4011346"/>
                <a:gd name="connsiteY370" fmla="*/ 587352 h 1711998"/>
                <a:gd name="connsiteX371" fmla="*/ 1097948 w 4011346"/>
                <a:gd name="connsiteY371" fmla="*/ 644085 h 1711998"/>
                <a:gd name="connsiteX372" fmla="*/ 1007843 w 4011346"/>
                <a:gd name="connsiteY372" fmla="*/ 607376 h 1711998"/>
                <a:gd name="connsiteX373" fmla="*/ 1074587 w 4011346"/>
                <a:gd name="connsiteY373" fmla="*/ 604038 h 1711998"/>
                <a:gd name="connsiteX374" fmla="*/ 1107960 w 4011346"/>
                <a:gd name="connsiteY374" fmla="*/ 540631 h 1711998"/>
                <a:gd name="connsiteX375" fmla="*/ 1121309 w 4011346"/>
                <a:gd name="connsiteY375" fmla="*/ 497247 h 1711998"/>
                <a:gd name="connsiteX376" fmla="*/ 1127983 w 4011346"/>
                <a:gd name="connsiteY376" fmla="*/ 463875 h 1711998"/>
                <a:gd name="connsiteX377" fmla="*/ 1117971 w 4011346"/>
                <a:gd name="connsiteY377" fmla="*/ 447189 h 1711998"/>
                <a:gd name="connsiteX378" fmla="*/ 1114634 w 4011346"/>
                <a:gd name="connsiteY378" fmla="*/ 397130 h 1711998"/>
                <a:gd name="connsiteX379" fmla="*/ 1104622 w 4011346"/>
                <a:gd name="connsiteY379" fmla="*/ 317037 h 1711998"/>
                <a:gd name="connsiteX380" fmla="*/ 1101285 w 4011346"/>
                <a:gd name="connsiteY380" fmla="*/ 256967 h 1711998"/>
                <a:gd name="connsiteX381" fmla="*/ 1124646 w 4011346"/>
                <a:gd name="connsiteY381" fmla="*/ 163525 h 1711998"/>
                <a:gd name="connsiteX382" fmla="*/ 1031203 w 4011346"/>
                <a:gd name="connsiteY382" fmla="*/ 153513 h 1711998"/>
                <a:gd name="connsiteX383" fmla="*/ 1014517 w 4011346"/>
                <a:gd name="connsiteY383" fmla="*/ 210246 h 1711998"/>
                <a:gd name="connsiteX384" fmla="*/ 1024529 w 4011346"/>
                <a:gd name="connsiteY384" fmla="*/ 256967 h 1711998"/>
                <a:gd name="connsiteX385" fmla="*/ 981145 w 4011346"/>
                <a:gd name="connsiteY385" fmla="*/ 310363 h 1711998"/>
                <a:gd name="connsiteX386" fmla="*/ 991157 w 4011346"/>
                <a:gd name="connsiteY386" fmla="*/ 347072 h 1711998"/>
                <a:gd name="connsiteX387" fmla="*/ 981145 w 4011346"/>
                <a:gd name="connsiteY387" fmla="*/ 393793 h 1711998"/>
                <a:gd name="connsiteX388" fmla="*/ 1001168 w 4011346"/>
                <a:gd name="connsiteY388" fmla="*/ 417154 h 1711998"/>
                <a:gd name="connsiteX389" fmla="*/ 1017854 w 4011346"/>
                <a:gd name="connsiteY389" fmla="*/ 463875 h 1711998"/>
                <a:gd name="connsiteX390" fmla="*/ 1047890 w 4011346"/>
                <a:gd name="connsiteY390" fmla="*/ 450526 h 1711998"/>
                <a:gd name="connsiteX391" fmla="*/ 1014517 w 4011346"/>
                <a:gd name="connsiteY391" fmla="*/ 503922 h 1711998"/>
                <a:gd name="connsiteX392" fmla="*/ 957784 w 4011346"/>
                <a:gd name="connsiteY392" fmla="*/ 450526 h 1711998"/>
                <a:gd name="connsiteX393" fmla="*/ 884365 w 4011346"/>
                <a:gd name="connsiteY393" fmla="*/ 413817 h 1711998"/>
                <a:gd name="connsiteX394" fmla="*/ 824295 w 4011346"/>
                <a:gd name="connsiteY394" fmla="*/ 390456 h 1711998"/>
                <a:gd name="connsiteX395" fmla="*/ 810946 w 4011346"/>
                <a:gd name="connsiteY395" fmla="*/ 427165 h 1711998"/>
                <a:gd name="connsiteX396" fmla="*/ 827633 w 4011346"/>
                <a:gd name="connsiteY396" fmla="*/ 463875 h 1711998"/>
                <a:gd name="connsiteX397" fmla="*/ 814284 w 4011346"/>
                <a:gd name="connsiteY397" fmla="*/ 487236 h 1711998"/>
                <a:gd name="connsiteX398" fmla="*/ 800935 w 4011346"/>
                <a:gd name="connsiteY398" fmla="*/ 503922 h 1711998"/>
                <a:gd name="connsiteX399" fmla="*/ 770900 w 4011346"/>
                <a:gd name="connsiteY399" fmla="*/ 447189 h 1711998"/>
                <a:gd name="connsiteX400" fmla="*/ 744202 w 4011346"/>
                <a:gd name="connsiteY400" fmla="*/ 483898 h 1711998"/>
                <a:gd name="connsiteX401" fmla="*/ 707492 w 4011346"/>
                <a:gd name="connsiteY401" fmla="*/ 477224 h 1711998"/>
                <a:gd name="connsiteX402" fmla="*/ 654097 w 4011346"/>
                <a:gd name="connsiteY402" fmla="*/ 513933 h 1711998"/>
                <a:gd name="connsiteX403" fmla="*/ 644085 w 4011346"/>
                <a:gd name="connsiteY403" fmla="*/ 490573 h 1711998"/>
                <a:gd name="connsiteX404" fmla="*/ 654097 w 4011346"/>
                <a:gd name="connsiteY404" fmla="*/ 453863 h 1711998"/>
                <a:gd name="connsiteX405" fmla="*/ 614050 w 4011346"/>
                <a:gd name="connsiteY405" fmla="*/ 490573 h 1711998"/>
                <a:gd name="connsiteX406" fmla="*/ 594027 w 4011346"/>
                <a:gd name="connsiteY406" fmla="*/ 490573 h 1711998"/>
                <a:gd name="connsiteX407" fmla="*/ 533957 w 4011346"/>
                <a:gd name="connsiteY407" fmla="*/ 523945 h 1711998"/>
                <a:gd name="connsiteX408" fmla="*/ 510596 w 4011346"/>
                <a:gd name="connsiteY408" fmla="*/ 547306 h 1711998"/>
                <a:gd name="connsiteX409" fmla="*/ 500584 w 4011346"/>
                <a:gd name="connsiteY409" fmla="*/ 594027 h 1711998"/>
                <a:gd name="connsiteX410" fmla="*/ 450526 w 4011346"/>
                <a:gd name="connsiteY410" fmla="*/ 580678 h 1711998"/>
                <a:gd name="connsiteX411" fmla="*/ 433840 w 4011346"/>
                <a:gd name="connsiteY411" fmla="*/ 543968 h 1711998"/>
                <a:gd name="connsiteX412" fmla="*/ 467212 w 4011346"/>
                <a:gd name="connsiteY412" fmla="*/ 513933 h 1711998"/>
                <a:gd name="connsiteX413" fmla="*/ 453863 w 4011346"/>
                <a:gd name="connsiteY413" fmla="*/ 490573 h 1711998"/>
                <a:gd name="connsiteX414" fmla="*/ 390456 w 4011346"/>
                <a:gd name="connsiteY414" fmla="*/ 460538 h 1711998"/>
                <a:gd name="connsiteX415" fmla="*/ 417154 w 4011346"/>
                <a:gd name="connsiteY415" fmla="*/ 510596 h 1711998"/>
                <a:gd name="connsiteX416" fmla="*/ 407142 w 4011346"/>
                <a:gd name="connsiteY416" fmla="*/ 553980 h 1711998"/>
                <a:gd name="connsiteX417" fmla="*/ 413817 w 4011346"/>
                <a:gd name="connsiteY417" fmla="*/ 590690 h 1711998"/>
                <a:gd name="connsiteX418" fmla="*/ 427165 w 4011346"/>
                <a:gd name="connsiteY418" fmla="*/ 614050 h 1711998"/>
                <a:gd name="connsiteX419" fmla="*/ 413817 w 4011346"/>
                <a:gd name="connsiteY419" fmla="*/ 644085 h 1711998"/>
                <a:gd name="connsiteX420" fmla="*/ 390456 w 4011346"/>
                <a:gd name="connsiteY420" fmla="*/ 620725 h 1711998"/>
                <a:gd name="connsiteX421" fmla="*/ 360421 w 4011346"/>
                <a:gd name="connsiteY421" fmla="*/ 617387 h 1711998"/>
                <a:gd name="connsiteX422" fmla="*/ 333723 w 4011346"/>
                <a:gd name="connsiteY422" fmla="*/ 657434 h 1711998"/>
                <a:gd name="connsiteX423" fmla="*/ 307025 w 4011346"/>
                <a:gd name="connsiteY423" fmla="*/ 677457 h 1711998"/>
                <a:gd name="connsiteX424" fmla="*/ 320374 w 4011346"/>
                <a:gd name="connsiteY424" fmla="*/ 704155 h 1711998"/>
                <a:gd name="connsiteX425" fmla="*/ 303688 w 4011346"/>
                <a:gd name="connsiteY425" fmla="*/ 727516 h 1711998"/>
                <a:gd name="connsiteX426" fmla="*/ 233606 w 4011346"/>
                <a:gd name="connsiteY426" fmla="*/ 690806 h 1711998"/>
                <a:gd name="connsiteX427" fmla="*/ 243618 w 4011346"/>
                <a:gd name="connsiteY427" fmla="*/ 740865 h 1711998"/>
                <a:gd name="connsiteX428" fmla="*/ 263641 w 4011346"/>
                <a:gd name="connsiteY428" fmla="*/ 760888 h 1711998"/>
                <a:gd name="connsiteX429" fmla="*/ 250292 w 4011346"/>
                <a:gd name="connsiteY429" fmla="*/ 774237 h 1711998"/>
                <a:gd name="connsiteX430" fmla="*/ 193560 w 4011346"/>
                <a:gd name="connsiteY430" fmla="*/ 737527 h 1711998"/>
                <a:gd name="connsiteX431" fmla="*/ 170199 w 4011346"/>
                <a:gd name="connsiteY431" fmla="*/ 697481 h 1711998"/>
                <a:gd name="connsiteX432" fmla="*/ 170199 w 4011346"/>
                <a:gd name="connsiteY432" fmla="*/ 650760 h 1711998"/>
                <a:gd name="connsiteX433" fmla="*/ 133490 w 4011346"/>
                <a:gd name="connsiteY433" fmla="*/ 574003 h 1711998"/>
                <a:gd name="connsiteX434" fmla="*/ 196897 w 4011346"/>
                <a:gd name="connsiteY434" fmla="*/ 604038 h 1711998"/>
                <a:gd name="connsiteX435" fmla="*/ 256967 w 4011346"/>
                <a:gd name="connsiteY435" fmla="*/ 634073 h 1711998"/>
                <a:gd name="connsiteX436" fmla="*/ 293676 w 4011346"/>
                <a:gd name="connsiteY436" fmla="*/ 637411 h 1711998"/>
                <a:gd name="connsiteX437" fmla="*/ 327049 w 4011346"/>
                <a:gd name="connsiteY437" fmla="*/ 607376 h 1711998"/>
                <a:gd name="connsiteX438" fmla="*/ 343735 w 4011346"/>
                <a:gd name="connsiteY438" fmla="*/ 570666 h 1711998"/>
                <a:gd name="connsiteX439" fmla="*/ 333723 w 4011346"/>
                <a:gd name="connsiteY439" fmla="*/ 520608 h 1711998"/>
                <a:gd name="connsiteX440" fmla="*/ 290339 w 4011346"/>
                <a:gd name="connsiteY440" fmla="*/ 500584 h 1711998"/>
                <a:gd name="connsiteX441" fmla="*/ 236944 w 4011346"/>
                <a:gd name="connsiteY441" fmla="*/ 453863 h 1711998"/>
                <a:gd name="connsiteX442" fmla="*/ 133490 w 4011346"/>
                <a:gd name="connsiteY442" fmla="*/ 397130 h 1711998"/>
                <a:gd name="connsiteX0" fmla="*/ 133490 w 4011346"/>
                <a:gd name="connsiteY0" fmla="*/ 480561 h 1795429"/>
                <a:gd name="connsiteX1" fmla="*/ 46722 w 4011346"/>
                <a:gd name="connsiteY1" fmla="*/ 510596 h 1795429"/>
                <a:gd name="connsiteX2" fmla="*/ 33373 w 4011346"/>
                <a:gd name="connsiteY2" fmla="*/ 540631 h 1795429"/>
                <a:gd name="connsiteX3" fmla="*/ 43384 w 4011346"/>
                <a:gd name="connsiteY3" fmla="*/ 570667 h 1795429"/>
                <a:gd name="connsiteX4" fmla="*/ 60071 w 4011346"/>
                <a:gd name="connsiteY4" fmla="*/ 597364 h 1795429"/>
                <a:gd name="connsiteX5" fmla="*/ 73419 w 4011346"/>
                <a:gd name="connsiteY5" fmla="*/ 627399 h 1795429"/>
                <a:gd name="connsiteX6" fmla="*/ 56733 w 4011346"/>
                <a:gd name="connsiteY6" fmla="*/ 650760 h 1795429"/>
                <a:gd name="connsiteX7" fmla="*/ 76757 w 4011346"/>
                <a:gd name="connsiteY7" fmla="*/ 730853 h 1795429"/>
                <a:gd name="connsiteX8" fmla="*/ 66745 w 4011346"/>
                <a:gd name="connsiteY8" fmla="*/ 747540 h 1795429"/>
                <a:gd name="connsiteX9" fmla="*/ 70082 w 4011346"/>
                <a:gd name="connsiteY9" fmla="*/ 774237 h 1795429"/>
                <a:gd name="connsiteX10" fmla="*/ 70082 w 4011346"/>
                <a:gd name="connsiteY10" fmla="*/ 814284 h 1795429"/>
                <a:gd name="connsiteX11" fmla="*/ 80094 w 4011346"/>
                <a:gd name="connsiteY11" fmla="*/ 834307 h 1795429"/>
                <a:gd name="connsiteX12" fmla="*/ 76757 w 4011346"/>
                <a:gd name="connsiteY12" fmla="*/ 857668 h 1795429"/>
                <a:gd name="connsiteX13" fmla="*/ 106792 w 4011346"/>
                <a:gd name="connsiteY13" fmla="*/ 891040 h 1795429"/>
                <a:gd name="connsiteX14" fmla="*/ 106792 w 4011346"/>
                <a:gd name="connsiteY14" fmla="*/ 921075 h 1795429"/>
                <a:gd name="connsiteX15" fmla="*/ 13349 w 4011346"/>
                <a:gd name="connsiteY15" fmla="*/ 1011180 h 1795429"/>
                <a:gd name="connsiteX16" fmla="*/ 33373 w 4011346"/>
                <a:gd name="connsiteY16" fmla="*/ 1044553 h 1795429"/>
                <a:gd name="connsiteX17" fmla="*/ 33373 w 4011346"/>
                <a:gd name="connsiteY17" fmla="*/ 1044553 h 1795429"/>
                <a:gd name="connsiteX18" fmla="*/ 16687 w 4011346"/>
                <a:gd name="connsiteY18" fmla="*/ 1074588 h 1795429"/>
                <a:gd name="connsiteX19" fmla="*/ 3338 w 4011346"/>
                <a:gd name="connsiteY19" fmla="*/ 1104623 h 1795429"/>
                <a:gd name="connsiteX20" fmla="*/ 0 w 4011346"/>
                <a:gd name="connsiteY20" fmla="*/ 1164693 h 1795429"/>
                <a:gd name="connsiteX21" fmla="*/ 16687 w 4011346"/>
                <a:gd name="connsiteY21" fmla="*/ 1208077 h 1795429"/>
                <a:gd name="connsiteX22" fmla="*/ 20024 w 4011346"/>
                <a:gd name="connsiteY22" fmla="*/ 1241449 h 1795429"/>
                <a:gd name="connsiteX23" fmla="*/ 56733 w 4011346"/>
                <a:gd name="connsiteY23" fmla="*/ 1251461 h 1795429"/>
                <a:gd name="connsiteX24" fmla="*/ 116803 w 4011346"/>
                <a:gd name="connsiteY24" fmla="*/ 1338229 h 1795429"/>
                <a:gd name="connsiteX25" fmla="*/ 96780 w 4011346"/>
                <a:gd name="connsiteY25" fmla="*/ 1361589 h 1795429"/>
                <a:gd name="connsiteX26" fmla="*/ 93443 w 4011346"/>
                <a:gd name="connsiteY26" fmla="*/ 1391624 h 1795429"/>
                <a:gd name="connsiteX27" fmla="*/ 120141 w 4011346"/>
                <a:gd name="connsiteY27" fmla="*/ 1394961 h 1795429"/>
                <a:gd name="connsiteX28" fmla="*/ 160187 w 4011346"/>
                <a:gd name="connsiteY28" fmla="*/ 1408310 h 1795429"/>
                <a:gd name="connsiteX29" fmla="*/ 186885 w 4011346"/>
                <a:gd name="connsiteY29" fmla="*/ 1421659 h 1795429"/>
                <a:gd name="connsiteX30" fmla="*/ 213583 w 4011346"/>
                <a:gd name="connsiteY30" fmla="*/ 1451694 h 1795429"/>
                <a:gd name="connsiteX31" fmla="*/ 243618 w 4011346"/>
                <a:gd name="connsiteY31" fmla="*/ 1455031 h 1795429"/>
                <a:gd name="connsiteX32" fmla="*/ 287002 w 4011346"/>
                <a:gd name="connsiteY32" fmla="*/ 1485067 h 1795429"/>
                <a:gd name="connsiteX33" fmla="*/ 310363 w 4011346"/>
                <a:gd name="connsiteY33" fmla="*/ 1495078 h 1795429"/>
                <a:gd name="connsiteX34" fmla="*/ 310363 w 4011346"/>
                <a:gd name="connsiteY34" fmla="*/ 1531788 h 1795429"/>
                <a:gd name="connsiteX35" fmla="*/ 270316 w 4011346"/>
                <a:gd name="connsiteY35" fmla="*/ 1571834 h 1795429"/>
                <a:gd name="connsiteX36" fmla="*/ 280327 w 4011346"/>
                <a:gd name="connsiteY36" fmla="*/ 1595195 h 1795429"/>
                <a:gd name="connsiteX37" fmla="*/ 273653 w 4011346"/>
                <a:gd name="connsiteY37" fmla="*/ 1615218 h 1795429"/>
                <a:gd name="connsiteX38" fmla="*/ 266979 w 4011346"/>
                <a:gd name="connsiteY38" fmla="*/ 1631904 h 1795429"/>
                <a:gd name="connsiteX39" fmla="*/ 240281 w 4011346"/>
                <a:gd name="connsiteY39" fmla="*/ 1671951 h 1795429"/>
                <a:gd name="connsiteX40" fmla="*/ 307025 w 4011346"/>
                <a:gd name="connsiteY40" fmla="*/ 1708661 h 1795429"/>
                <a:gd name="connsiteX41" fmla="*/ 337060 w 4011346"/>
                <a:gd name="connsiteY41" fmla="*/ 1715335 h 1795429"/>
                <a:gd name="connsiteX42" fmla="*/ 360421 w 4011346"/>
                <a:gd name="connsiteY42" fmla="*/ 1722010 h 1795429"/>
                <a:gd name="connsiteX43" fmla="*/ 380444 w 4011346"/>
                <a:gd name="connsiteY43" fmla="*/ 1728684 h 1795429"/>
                <a:gd name="connsiteX44" fmla="*/ 407142 w 4011346"/>
                <a:gd name="connsiteY44" fmla="*/ 1748707 h 1795429"/>
                <a:gd name="connsiteX45" fmla="*/ 437177 w 4011346"/>
                <a:gd name="connsiteY45" fmla="*/ 1745370 h 1795429"/>
                <a:gd name="connsiteX46" fmla="*/ 507259 w 4011346"/>
                <a:gd name="connsiteY46" fmla="*/ 1795429 h 1795429"/>
                <a:gd name="connsiteX47" fmla="*/ 517271 w 4011346"/>
                <a:gd name="connsiteY47" fmla="*/ 1782080 h 1795429"/>
                <a:gd name="connsiteX48" fmla="*/ 507259 w 4011346"/>
                <a:gd name="connsiteY48" fmla="*/ 1742033 h 1795429"/>
                <a:gd name="connsiteX49" fmla="*/ 500584 w 4011346"/>
                <a:gd name="connsiteY49" fmla="*/ 1708661 h 1795429"/>
                <a:gd name="connsiteX50" fmla="*/ 483898 w 4011346"/>
                <a:gd name="connsiteY50" fmla="*/ 1665277 h 1795429"/>
                <a:gd name="connsiteX51" fmla="*/ 513933 w 4011346"/>
                <a:gd name="connsiteY51" fmla="*/ 1645253 h 1795429"/>
                <a:gd name="connsiteX52" fmla="*/ 547306 w 4011346"/>
                <a:gd name="connsiteY52" fmla="*/ 1621893 h 1795429"/>
                <a:gd name="connsiteX53" fmla="*/ 527282 w 4011346"/>
                <a:gd name="connsiteY53" fmla="*/ 1605207 h 1795429"/>
                <a:gd name="connsiteX54" fmla="*/ 517271 w 4011346"/>
                <a:gd name="connsiteY54" fmla="*/ 1571834 h 1795429"/>
                <a:gd name="connsiteX55" fmla="*/ 480561 w 4011346"/>
                <a:gd name="connsiteY55" fmla="*/ 1555148 h 1795429"/>
                <a:gd name="connsiteX56" fmla="*/ 470549 w 4011346"/>
                <a:gd name="connsiteY56" fmla="*/ 1535125 h 1795429"/>
                <a:gd name="connsiteX57" fmla="*/ 480561 w 4011346"/>
                <a:gd name="connsiteY57" fmla="*/ 1505090 h 1795429"/>
                <a:gd name="connsiteX58" fmla="*/ 490573 w 4011346"/>
                <a:gd name="connsiteY58" fmla="*/ 1465043 h 1795429"/>
                <a:gd name="connsiteX59" fmla="*/ 513933 w 4011346"/>
                <a:gd name="connsiteY59" fmla="*/ 1485067 h 1795429"/>
                <a:gd name="connsiteX60" fmla="*/ 520608 w 4011346"/>
                <a:gd name="connsiteY60" fmla="*/ 1468380 h 1795429"/>
                <a:gd name="connsiteX61" fmla="*/ 543968 w 4011346"/>
                <a:gd name="connsiteY61" fmla="*/ 1431671 h 1795429"/>
                <a:gd name="connsiteX62" fmla="*/ 574003 w 4011346"/>
                <a:gd name="connsiteY62" fmla="*/ 1414985 h 1795429"/>
                <a:gd name="connsiteX63" fmla="*/ 590690 w 4011346"/>
                <a:gd name="connsiteY63" fmla="*/ 1428334 h 1795429"/>
                <a:gd name="connsiteX64" fmla="*/ 610713 w 4011346"/>
                <a:gd name="connsiteY64" fmla="*/ 1401636 h 1795429"/>
                <a:gd name="connsiteX65" fmla="*/ 630736 w 4011346"/>
                <a:gd name="connsiteY65" fmla="*/ 1428334 h 1795429"/>
                <a:gd name="connsiteX66" fmla="*/ 657434 w 4011346"/>
                <a:gd name="connsiteY66" fmla="*/ 1451694 h 1795429"/>
                <a:gd name="connsiteX67" fmla="*/ 674120 w 4011346"/>
                <a:gd name="connsiteY67" fmla="*/ 1458369 h 1795429"/>
                <a:gd name="connsiteX68" fmla="*/ 697481 w 4011346"/>
                <a:gd name="connsiteY68" fmla="*/ 1458369 h 1795429"/>
                <a:gd name="connsiteX69" fmla="*/ 717504 w 4011346"/>
                <a:gd name="connsiteY69" fmla="*/ 1445020 h 1795429"/>
                <a:gd name="connsiteX70" fmla="*/ 744202 w 4011346"/>
                <a:gd name="connsiteY70" fmla="*/ 1445020 h 1795429"/>
                <a:gd name="connsiteX71" fmla="*/ 760888 w 4011346"/>
                <a:gd name="connsiteY71" fmla="*/ 1441683 h 1795429"/>
                <a:gd name="connsiteX72" fmla="*/ 790923 w 4011346"/>
                <a:gd name="connsiteY72" fmla="*/ 1475055 h 1795429"/>
                <a:gd name="connsiteX73" fmla="*/ 797598 w 4011346"/>
                <a:gd name="connsiteY73" fmla="*/ 1448357 h 1795429"/>
                <a:gd name="connsiteX74" fmla="*/ 817621 w 4011346"/>
                <a:gd name="connsiteY74" fmla="*/ 1465043 h 1795429"/>
                <a:gd name="connsiteX75" fmla="*/ 837644 w 4011346"/>
                <a:gd name="connsiteY75" fmla="*/ 1441683 h 1795429"/>
                <a:gd name="connsiteX76" fmla="*/ 827633 w 4011346"/>
                <a:gd name="connsiteY76" fmla="*/ 1421659 h 1795429"/>
                <a:gd name="connsiteX77" fmla="*/ 810946 w 4011346"/>
                <a:gd name="connsiteY77" fmla="*/ 1408310 h 1795429"/>
                <a:gd name="connsiteX78" fmla="*/ 810946 w 4011346"/>
                <a:gd name="connsiteY78" fmla="*/ 1381613 h 1795429"/>
                <a:gd name="connsiteX79" fmla="*/ 810946 w 4011346"/>
                <a:gd name="connsiteY79" fmla="*/ 1368264 h 1795429"/>
                <a:gd name="connsiteX80" fmla="*/ 830970 w 4011346"/>
                <a:gd name="connsiteY80" fmla="*/ 1364926 h 1795429"/>
                <a:gd name="connsiteX81" fmla="*/ 840981 w 4011346"/>
                <a:gd name="connsiteY81" fmla="*/ 1361589 h 1795429"/>
                <a:gd name="connsiteX82" fmla="*/ 820958 w 4011346"/>
                <a:gd name="connsiteY82" fmla="*/ 1324880 h 1795429"/>
                <a:gd name="connsiteX83" fmla="*/ 854330 w 4011346"/>
                <a:gd name="connsiteY83" fmla="*/ 1318205 h 1795429"/>
                <a:gd name="connsiteX84" fmla="*/ 891040 w 4011346"/>
                <a:gd name="connsiteY84" fmla="*/ 1324880 h 1795429"/>
                <a:gd name="connsiteX85" fmla="*/ 964459 w 4011346"/>
                <a:gd name="connsiteY85" fmla="*/ 1281496 h 1795429"/>
                <a:gd name="connsiteX86" fmla="*/ 1001168 w 4011346"/>
                <a:gd name="connsiteY86" fmla="*/ 1281496 h 1795429"/>
                <a:gd name="connsiteX87" fmla="*/ 1027866 w 4011346"/>
                <a:gd name="connsiteY87" fmla="*/ 1258135 h 1795429"/>
                <a:gd name="connsiteX88" fmla="*/ 1047890 w 4011346"/>
                <a:gd name="connsiteY88" fmla="*/ 1268147 h 1795429"/>
                <a:gd name="connsiteX89" fmla="*/ 1067913 w 4011346"/>
                <a:gd name="connsiteY89" fmla="*/ 1278158 h 1795429"/>
                <a:gd name="connsiteX90" fmla="*/ 1087936 w 4011346"/>
                <a:gd name="connsiteY90" fmla="*/ 1304856 h 1795429"/>
                <a:gd name="connsiteX91" fmla="*/ 1074587 w 4011346"/>
                <a:gd name="connsiteY91" fmla="*/ 1318205 h 1795429"/>
                <a:gd name="connsiteX92" fmla="*/ 1104622 w 4011346"/>
                <a:gd name="connsiteY92" fmla="*/ 1318205 h 1795429"/>
                <a:gd name="connsiteX93" fmla="*/ 1107960 w 4011346"/>
                <a:gd name="connsiteY93" fmla="*/ 1334891 h 1795429"/>
                <a:gd name="connsiteX94" fmla="*/ 1121309 w 4011346"/>
                <a:gd name="connsiteY94" fmla="*/ 1318205 h 1795429"/>
                <a:gd name="connsiteX95" fmla="*/ 1134657 w 4011346"/>
                <a:gd name="connsiteY95" fmla="*/ 1331554 h 1795429"/>
                <a:gd name="connsiteX96" fmla="*/ 1134657 w 4011346"/>
                <a:gd name="connsiteY96" fmla="*/ 1351577 h 1795429"/>
                <a:gd name="connsiteX97" fmla="*/ 1148006 w 4011346"/>
                <a:gd name="connsiteY97" fmla="*/ 1348240 h 1795429"/>
                <a:gd name="connsiteX98" fmla="*/ 1208076 w 4011346"/>
                <a:gd name="connsiteY98" fmla="*/ 1301519 h 1795429"/>
                <a:gd name="connsiteX99" fmla="*/ 1211414 w 4011346"/>
                <a:gd name="connsiteY99" fmla="*/ 1321542 h 1795429"/>
                <a:gd name="connsiteX100" fmla="*/ 1244786 w 4011346"/>
                <a:gd name="connsiteY100" fmla="*/ 1341566 h 1795429"/>
                <a:gd name="connsiteX101" fmla="*/ 1264809 w 4011346"/>
                <a:gd name="connsiteY101" fmla="*/ 1371601 h 1795429"/>
                <a:gd name="connsiteX102" fmla="*/ 1298181 w 4011346"/>
                <a:gd name="connsiteY102" fmla="*/ 1478392 h 1795429"/>
                <a:gd name="connsiteX103" fmla="*/ 1308193 w 4011346"/>
                <a:gd name="connsiteY103" fmla="*/ 1435008 h 1795429"/>
                <a:gd name="connsiteX104" fmla="*/ 1344903 w 4011346"/>
                <a:gd name="connsiteY104" fmla="*/ 1455031 h 1795429"/>
                <a:gd name="connsiteX105" fmla="*/ 1388287 w 4011346"/>
                <a:gd name="connsiteY105" fmla="*/ 1455031 h 1795429"/>
                <a:gd name="connsiteX106" fmla="*/ 1394961 w 4011346"/>
                <a:gd name="connsiteY106" fmla="*/ 1478392 h 1795429"/>
                <a:gd name="connsiteX107" fmla="*/ 1435008 w 4011346"/>
                <a:gd name="connsiteY107" fmla="*/ 1501753 h 1795429"/>
                <a:gd name="connsiteX108" fmla="*/ 1465043 w 4011346"/>
                <a:gd name="connsiteY108" fmla="*/ 1501753 h 1795429"/>
                <a:gd name="connsiteX109" fmla="*/ 1491741 w 4011346"/>
                <a:gd name="connsiteY109" fmla="*/ 1515102 h 1795429"/>
                <a:gd name="connsiteX110" fmla="*/ 1535125 w 4011346"/>
                <a:gd name="connsiteY110" fmla="*/ 1471718 h 1795429"/>
                <a:gd name="connsiteX111" fmla="*/ 1571834 w 4011346"/>
                <a:gd name="connsiteY111" fmla="*/ 1451694 h 1795429"/>
                <a:gd name="connsiteX112" fmla="*/ 1608544 w 4011346"/>
                <a:gd name="connsiteY112" fmla="*/ 1455031 h 1795429"/>
                <a:gd name="connsiteX113" fmla="*/ 1655265 w 4011346"/>
                <a:gd name="connsiteY113" fmla="*/ 1468380 h 1795429"/>
                <a:gd name="connsiteX114" fmla="*/ 1681963 w 4011346"/>
                <a:gd name="connsiteY114" fmla="*/ 1485067 h 1795429"/>
                <a:gd name="connsiteX115" fmla="*/ 1735358 w 4011346"/>
                <a:gd name="connsiteY115" fmla="*/ 1478392 h 1795429"/>
                <a:gd name="connsiteX116" fmla="*/ 1745370 w 4011346"/>
                <a:gd name="connsiteY116" fmla="*/ 1458369 h 1795429"/>
                <a:gd name="connsiteX117" fmla="*/ 1738695 w 4011346"/>
                <a:gd name="connsiteY117" fmla="*/ 1438345 h 1795429"/>
                <a:gd name="connsiteX118" fmla="*/ 1765393 w 4011346"/>
                <a:gd name="connsiteY118" fmla="*/ 1411648 h 1795429"/>
                <a:gd name="connsiteX119" fmla="*/ 1778742 w 4011346"/>
                <a:gd name="connsiteY119" fmla="*/ 1408310 h 1795429"/>
                <a:gd name="connsiteX120" fmla="*/ 1812114 w 4011346"/>
                <a:gd name="connsiteY120" fmla="*/ 1424996 h 1795429"/>
                <a:gd name="connsiteX121" fmla="*/ 1852161 w 4011346"/>
                <a:gd name="connsiteY121" fmla="*/ 1438345 h 1795429"/>
                <a:gd name="connsiteX122" fmla="*/ 1858836 w 4011346"/>
                <a:gd name="connsiteY122" fmla="*/ 1465043 h 1795429"/>
                <a:gd name="connsiteX123" fmla="*/ 1872184 w 4011346"/>
                <a:gd name="connsiteY123" fmla="*/ 1471718 h 1795429"/>
                <a:gd name="connsiteX124" fmla="*/ 1902219 w 4011346"/>
                <a:gd name="connsiteY124" fmla="*/ 1475055 h 1795429"/>
                <a:gd name="connsiteX125" fmla="*/ 1932254 w 4011346"/>
                <a:gd name="connsiteY125" fmla="*/ 1458369 h 1795429"/>
                <a:gd name="connsiteX126" fmla="*/ 1962290 w 4011346"/>
                <a:gd name="connsiteY126" fmla="*/ 1471718 h 1795429"/>
                <a:gd name="connsiteX127" fmla="*/ 1985650 w 4011346"/>
                <a:gd name="connsiteY127" fmla="*/ 1485067 h 1795429"/>
                <a:gd name="connsiteX128" fmla="*/ 1995662 w 4011346"/>
                <a:gd name="connsiteY128" fmla="*/ 1495078 h 1795429"/>
                <a:gd name="connsiteX129" fmla="*/ 2032371 w 4011346"/>
                <a:gd name="connsiteY129" fmla="*/ 1515102 h 1795429"/>
                <a:gd name="connsiteX130" fmla="*/ 2069081 w 4011346"/>
                <a:gd name="connsiteY130" fmla="*/ 1511764 h 1795429"/>
                <a:gd name="connsiteX131" fmla="*/ 2142500 w 4011346"/>
                <a:gd name="connsiteY131" fmla="*/ 1468380 h 1795429"/>
                <a:gd name="connsiteX132" fmla="*/ 2195895 w 4011346"/>
                <a:gd name="connsiteY132" fmla="*/ 1481729 h 1795429"/>
                <a:gd name="connsiteX133" fmla="*/ 2225930 w 4011346"/>
                <a:gd name="connsiteY133" fmla="*/ 1491741 h 1795429"/>
                <a:gd name="connsiteX134" fmla="*/ 2259303 w 4011346"/>
                <a:gd name="connsiteY134" fmla="*/ 1478392 h 1795429"/>
                <a:gd name="connsiteX135" fmla="*/ 2262640 w 4011346"/>
                <a:gd name="connsiteY135" fmla="*/ 1451694 h 1795429"/>
                <a:gd name="connsiteX136" fmla="*/ 2282663 w 4011346"/>
                <a:gd name="connsiteY136" fmla="*/ 1421659 h 1795429"/>
                <a:gd name="connsiteX137" fmla="*/ 2299349 w 4011346"/>
                <a:gd name="connsiteY137" fmla="*/ 1368264 h 1795429"/>
                <a:gd name="connsiteX138" fmla="*/ 2282663 w 4011346"/>
                <a:gd name="connsiteY138" fmla="*/ 1371601 h 1795429"/>
                <a:gd name="connsiteX139" fmla="*/ 2312698 w 4011346"/>
                <a:gd name="connsiteY139" fmla="*/ 1344903 h 1795429"/>
                <a:gd name="connsiteX140" fmla="*/ 2339396 w 4011346"/>
                <a:gd name="connsiteY140" fmla="*/ 1341566 h 1795429"/>
                <a:gd name="connsiteX141" fmla="*/ 2396129 w 4011346"/>
                <a:gd name="connsiteY141" fmla="*/ 1351577 h 1795429"/>
                <a:gd name="connsiteX142" fmla="*/ 2436176 w 4011346"/>
                <a:gd name="connsiteY142" fmla="*/ 1378275 h 1795429"/>
                <a:gd name="connsiteX143" fmla="*/ 2462873 w 4011346"/>
                <a:gd name="connsiteY143" fmla="*/ 1408310 h 1795429"/>
                <a:gd name="connsiteX144" fmla="*/ 2469548 w 4011346"/>
                <a:gd name="connsiteY144" fmla="*/ 1445020 h 1795429"/>
                <a:gd name="connsiteX145" fmla="*/ 2476222 w 4011346"/>
                <a:gd name="connsiteY145" fmla="*/ 1485067 h 1795429"/>
                <a:gd name="connsiteX146" fmla="*/ 2486234 w 4011346"/>
                <a:gd name="connsiteY146" fmla="*/ 1505090 h 1795429"/>
                <a:gd name="connsiteX147" fmla="*/ 2529618 w 4011346"/>
                <a:gd name="connsiteY147" fmla="*/ 1518439 h 1795429"/>
                <a:gd name="connsiteX148" fmla="*/ 2549641 w 4011346"/>
                <a:gd name="connsiteY148" fmla="*/ 1538462 h 1795429"/>
                <a:gd name="connsiteX149" fmla="*/ 2562990 w 4011346"/>
                <a:gd name="connsiteY149" fmla="*/ 1571834 h 1795429"/>
                <a:gd name="connsiteX150" fmla="*/ 2586351 w 4011346"/>
                <a:gd name="connsiteY150" fmla="*/ 1565160 h 1795429"/>
                <a:gd name="connsiteX151" fmla="*/ 2606374 w 4011346"/>
                <a:gd name="connsiteY151" fmla="*/ 1555148 h 1795429"/>
                <a:gd name="connsiteX152" fmla="*/ 2639746 w 4011346"/>
                <a:gd name="connsiteY152" fmla="*/ 1538462 h 1795429"/>
                <a:gd name="connsiteX153" fmla="*/ 2643084 w 4011346"/>
                <a:gd name="connsiteY153" fmla="*/ 1555148 h 1795429"/>
                <a:gd name="connsiteX154" fmla="*/ 2626398 w 4011346"/>
                <a:gd name="connsiteY154" fmla="*/ 1585183 h 1795429"/>
                <a:gd name="connsiteX155" fmla="*/ 2616386 w 4011346"/>
                <a:gd name="connsiteY155" fmla="*/ 1621893 h 1795429"/>
                <a:gd name="connsiteX156" fmla="*/ 2603037 w 4011346"/>
                <a:gd name="connsiteY156" fmla="*/ 1675288 h 1795429"/>
                <a:gd name="connsiteX157" fmla="*/ 2579676 w 4011346"/>
                <a:gd name="connsiteY157" fmla="*/ 1648591 h 1795429"/>
                <a:gd name="connsiteX158" fmla="*/ 2552979 w 4011346"/>
                <a:gd name="connsiteY158" fmla="*/ 1671951 h 1795429"/>
                <a:gd name="connsiteX159" fmla="*/ 2559653 w 4011346"/>
                <a:gd name="connsiteY159" fmla="*/ 1698649 h 1795429"/>
                <a:gd name="connsiteX160" fmla="*/ 2559653 w 4011346"/>
                <a:gd name="connsiteY160" fmla="*/ 1735358 h 1795429"/>
                <a:gd name="connsiteX161" fmla="*/ 2549641 w 4011346"/>
                <a:gd name="connsiteY161" fmla="*/ 1755382 h 1795429"/>
                <a:gd name="connsiteX162" fmla="*/ 2589688 w 4011346"/>
                <a:gd name="connsiteY162" fmla="*/ 1735358 h 1795429"/>
                <a:gd name="connsiteX163" fmla="*/ 2626398 w 4011346"/>
                <a:gd name="connsiteY163" fmla="*/ 1745370 h 1795429"/>
                <a:gd name="connsiteX164" fmla="*/ 2653095 w 4011346"/>
                <a:gd name="connsiteY164" fmla="*/ 1722010 h 1795429"/>
                <a:gd name="connsiteX165" fmla="*/ 2683130 w 4011346"/>
                <a:gd name="connsiteY165" fmla="*/ 1668614 h 1795429"/>
                <a:gd name="connsiteX166" fmla="*/ 2753212 w 4011346"/>
                <a:gd name="connsiteY166" fmla="*/ 1581846 h 1795429"/>
                <a:gd name="connsiteX167" fmla="*/ 2783247 w 4011346"/>
                <a:gd name="connsiteY167" fmla="*/ 1511764 h 1795429"/>
                <a:gd name="connsiteX168" fmla="*/ 2803271 w 4011346"/>
                <a:gd name="connsiteY168" fmla="*/ 1408310 h 1795429"/>
                <a:gd name="connsiteX169" fmla="*/ 2793259 w 4011346"/>
                <a:gd name="connsiteY169" fmla="*/ 1358252 h 1795429"/>
                <a:gd name="connsiteX170" fmla="*/ 2769898 w 4011346"/>
                <a:gd name="connsiteY170" fmla="*/ 1324880 h 1795429"/>
                <a:gd name="connsiteX171" fmla="*/ 2726514 w 4011346"/>
                <a:gd name="connsiteY171" fmla="*/ 1324880 h 1795429"/>
                <a:gd name="connsiteX172" fmla="*/ 2699817 w 4011346"/>
                <a:gd name="connsiteY172" fmla="*/ 1324880 h 1795429"/>
                <a:gd name="connsiteX173" fmla="*/ 2683130 w 4011346"/>
                <a:gd name="connsiteY173" fmla="*/ 1304856 h 1795429"/>
                <a:gd name="connsiteX174" fmla="*/ 2669781 w 4011346"/>
                <a:gd name="connsiteY174" fmla="*/ 1284833 h 1795429"/>
                <a:gd name="connsiteX175" fmla="*/ 2763224 w 4011346"/>
                <a:gd name="connsiteY175" fmla="*/ 1168030 h 1795429"/>
                <a:gd name="connsiteX176" fmla="*/ 2846654 w 4011346"/>
                <a:gd name="connsiteY176" fmla="*/ 1101286 h 1795429"/>
                <a:gd name="connsiteX177" fmla="*/ 2890038 w 4011346"/>
                <a:gd name="connsiteY177" fmla="*/ 1077925 h 1795429"/>
                <a:gd name="connsiteX178" fmla="*/ 2933422 w 4011346"/>
                <a:gd name="connsiteY178" fmla="*/ 1097948 h 1795429"/>
                <a:gd name="connsiteX179" fmla="*/ 2950109 w 4011346"/>
                <a:gd name="connsiteY179" fmla="*/ 1081262 h 1795429"/>
                <a:gd name="connsiteX180" fmla="*/ 2993492 w 4011346"/>
                <a:gd name="connsiteY180" fmla="*/ 1097948 h 1795429"/>
                <a:gd name="connsiteX181" fmla="*/ 3006841 w 4011346"/>
                <a:gd name="connsiteY181" fmla="*/ 1064576 h 1795429"/>
                <a:gd name="connsiteX182" fmla="*/ 3053563 w 4011346"/>
                <a:gd name="connsiteY182" fmla="*/ 1074588 h 1795429"/>
                <a:gd name="connsiteX183" fmla="*/ 3070249 w 4011346"/>
                <a:gd name="connsiteY183" fmla="*/ 1091274 h 1795429"/>
                <a:gd name="connsiteX184" fmla="*/ 3060237 w 4011346"/>
                <a:gd name="connsiteY184" fmla="*/ 1111297 h 1795429"/>
                <a:gd name="connsiteX185" fmla="*/ 3123644 w 4011346"/>
                <a:gd name="connsiteY185" fmla="*/ 1094611 h 1795429"/>
                <a:gd name="connsiteX186" fmla="*/ 3140330 w 4011346"/>
                <a:gd name="connsiteY186" fmla="*/ 1081262 h 1795429"/>
                <a:gd name="connsiteX187" fmla="*/ 3123644 w 4011346"/>
                <a:gd name="connsiteY187" fmla="*/ 1067913 h 1795429"/>
                <a:gd name="connsiteX188" fmla="*/ 3143668 w 4011346"/>
                <a:gd name="connsiteY188" fmla="*/ 1027867 h 1795429"/>
                <a:gd name="connsiteX189" fmla="*/ 3190389 w 4011346"/>
                <a:gd name="connsiteY189" fmla="*/ 957785 h 1795429"/>
                <a:gd name="connsiteX190" fmla="*/ 3233773 w 4011346"/>
                <a:gd name="connsiteY190" fmla="*/ 954448 h 1795429"/>
                <a:gd name="connsiteX191" fmla="*/ 3273819 w 4011346"/>
                <a:gd name="connsiteY191" fmla="*/ 964459 h 1795429"/>
                <a:gd name="connsiteX192" fmla="*/ 3277157 w 4011346"/>
                <a:gd name="connsiteY192" fmla="*/ 1021192 h 1795429"/>
                <a:gd name="connsiteX193" fmla="*/ 3320541 w 4011346"/>
                <a:gd name="connsiteY193" fmla="*/ 977808 h 1795429"/>
                <a:gd name="connsiteX194" fmla="*/ 3343901 w 4011346"/>
                <a:gd name="connsiteY194" fmla="*/ 961122 h 1795429"/>
                <a:gd name="connsiteX195" fmla="*/ 3350576 w 4011346"/>
                <a:gd name="connsiteY195" fmla="*/ 927750 h 1795429"/>
                <a:gd name="connsiteX196" fmla="*/ 3377273 w 4011346"/>
                <a:gd name="connsiteY196" fmla="*/ 911064 h 1795429"/>
                <a:gd name="connsiteX197" fmla="*/ 3407309 w 4011346"/>
                <a:gd name="connsiteY197" fmla="*/ 921075 h 1795429"/>
                <a:gd name="connsiteX198" fmla="*/ 3373936 w 4011346"/>
                <a:gd name="connsiteY198" fmla="*/ 951110 h 1795429"/>
                <a:gd name="connsiteX199" fmla="*/ 3360587 w 4011346"/>
                <a:gd name="connsiteY199" fmla="*/ 1001169 h 1795429"/>
                <a:gd name="connsiteX200" fmla="*/ 3323878 w 4011346"/>
                <a:gd name="connsiteY200" fmla="*/ 1041215 h 1795429"/>
                <a:gd name="connsiteX201" fmla="*/ 3210412 w 4011346"/>
                <a:gd name="connsiteY201" fmla="*/ 1137995 h 1795429"/>
                <a:gd name="connsiteX202" fmla="*/ 3163691 w 4011346"/>
                <a:gd name="connsiteY202" fmla="*/ 1208077 h 1795429"/>
                <a:gd name="connsiteX203" fmla="*/ 3160354 w 4011346"/>
                <a:gd name="connsiteY203" fmla="*/ 1281496 h 1795429"/>
                <a:gd name="connsiteX204" fmla="*/ 3170365 w 4011346"/>
                <a:gd name="connsiteY204" fmla="*/ 1371601 h 1795429"/>
                <a:gd name="connsiteX205" fmla="*/ 3190389 w 4011346"/>
                <a:gd name="connsiteY205" fmla="*/ 1435008 h 1795429"/>
                <a:gd name="connsiteX206" fmla="*/ 3217087 w 4011346"/>
                <a:gd name="connsiteY206" fmla="*/ 1424996 h 1795429"/>
                <a:gd name="connsiteX207" fmla="*/ 3240447 w 4011346"/>
                <a:gd name="connsiteY207" fmla="*/ 1358252 h 1795429"/>
                <a:gd name="connsiteX208" fmla="*/ 3270482 w 4011346"/>
                <a:gd name="connsiteY208" fmla="*/ 1354915 h 1795429"/>
                <a:gd name="connsiteX209" fmla="*/ 3287168 w 4011346"/>
                <a:gd name="connsiteY209" fmla="*/ 1294845 h 1795429"/>
                <a:gd name="connsiteX210" fmla="*/ 3313866 w 4011346"/>
                <a:gd name="connsiteY210" fmla="*/ 1284833 h 1795429"/>
                <a:gd name="connsiteX211" fmla="*/ 3313866 w 4011346"/>
                <a:gd name="connsiteY211" fmla="*/ 1254798 h 1795429"/>
                <a:gd name="connsiteX212" fmla="*/ 3337227 w 4011346"/>
                <a:gd name="connsiteY212" fmla="*/ 1218088 h 1795429"/>
                <a:gd name="connsiteX213" fmla="*/ 3330552 w 4011346"/>
                <a:gd name="connsiteY213" fmla="*/ 1174704 h 1795429"/>
                <a:gd name="connsiteX214" fmla="*/ 3333890 w 4011346"/>
                <a:gd name="connsiteY214" fmla="*/ 1144669 h 1795429"/>
                <a:gd name="connsiteX215" fmla="*/ 3323878 w 4011346"/>
                <a:gd name="connsiteY215" fmla="*/ 1134658 h 1795429"/>
                <a:gd name="connsiteX216" fmla="*/ 3363925 w 4011346"/>
                <a:gd name="connsiteY216" fmla="*/ 1047890 h 1795429"/>
                <a:gd name="connsiteX217" fmla="*/ 3383948 w 4011346"/>
                <a:gd name="connsiteY217" fmla="*/ 1057902 h 1795429"/>
                <a:gd name="connsiteX218" fmla="*/ 3410646 w 4011346"/>
                <a:gd name="connsiteY218" fmla="*/ 1031204 h 1795429"/>
                <a:gd name="connsiteX219" fmla="*/ 3420657 w 4011346"/>
                <a:gd name="connsiteY219" fmla="*/ 1057902 h 1795429"/>
                <a:gd name="connsiteX220" fmla="*/ 3447355 w 4011346"/>
                <a:gd name="connsiteY220" fmla="*/ 1041215 h 1795429"/>
                <a:gd name="connsiteX221" fmla="*/ 3477390 w 4011346"/>
                <a:gd name="connsiteY221" fmla="*/ 1031204 h 1795429"/>
                <a:gd name="connsiteX222" fmla="*/ 3514100 w 4011346"/>
                <a:gd name="connsiteY222" fmla="*/ 1057902 h 1795429"/>
                <a:gd name="connsiteX223" fmla="*/ 3574170 w 4011346"/>
                <a:gd name="connsiteY223" fmla="*/ 991157 h 1795429"/>
                <a:gd name="connsiteX224" fmla="*/ 3637577 w 4011346"/>
                <a:gd name="connsiteY224" fmla="*/ 944436 h 1795429"/>
                <a:gd name="connsiteX225" fmla="*/ 3690973 w 4011346"/>
                <a:gd name="connsiteY225" fmla="*/ 907726 h 1795429"/>
                <a:gd name="connsiteX226" fmla="*/ 3741031 w 4011346"/>
                <a:gd name="connsiteY226" fmla="*/ 934424 h 1795429"/>
                <a:gd name="connsiteX227" fmla="*/ 3751043 w 4011346"/>
                <a:gd name="connsiteY227" fmla="*/ 907726 h 1795429"/>
                <a:gd name="connsiteX228" fmla="*/ 3727682 w 4011346"/>
                <a:gd name="connsiteY228" fmla="*/ 840982 h 1795429"/>
                <a:gd name="connsiteX229" fmla="*/ 3700984 w 4011346"/>
                <a:gd name="connsiteY229" fmla="*/ 824296 h 1795429"/>
                <a:gd name="connsiteX230" fmla="*/ 3697647 w 4011346"/>
                <a:gd name="connsiteY230" fmla="*/ 794261 h 1795429"/>
                <a:gd name="connsiteX231" fmla="*/ 3751043 w 4011346"/>
                <a:gd name="connsiteY231" fmla="*/ 800935 h 1795429"/>
                <a:gd name="connsiteX232" fmla="*/ 3774403 w 4011346"/>
                <a:gd name="connsiteY232" fmla="*/ 757551 h 1795429"/>
                <a:gd name="connsiteX233" fmla="*/ 3767729 w 4011346"/>
                <a:gd name="connsiteY233" fmla="*/ 730853 h 1795429"/>
                <a:gd name="connsiteX234" fmla="*/ 3794427 w 4011346"/>
                <a:gd name="connsiteY234" fmla="*/ 697481 h 1795429"/>
                <a:gd name="connsiteX235" fmla="*/ 3804438 w 4011346"/>
                <a:gd name="connsiteY235" fmla="*/ 740865 h 1795429"/>
                <a:gd name="connsiteX236" fmla="*/ 3827799 w 4011346"/>
                <a:gd name="connsiteY236" fmla="*/ 757551 h 1795429"/>
                <a:gd name="connsiteX237" fmla="*/ 3874520 w 4011346"/>
                <a:gd name="connsiteY237" fmla="*/ 777575 h 1795429"/>
                <a:gd name="connsiteX238" fmla="*/ 3894544 w 4011346"/>
                <a:gd name="connsiteY238" fmla="*/ 804272 h 1795429"/>
                <a:gd name="connsiteX239" fmla="*/ 3941265 w 4011346"/>
                <a:gd name="connsiteY239" fmla="*/ 827633 h 1795429"/>
                <a:gd name="connsiteX240" fmla="*/ 3947939 w 4011346"/>
                <a:gd name="connsiteY240" fmla="*/ 814284 h 1795429"/>
                <a:gd name="connsiteX241" fmla="*/ 3957951 w 4011346"/>
                <a:gd name="connsiteY241" fmla="*/ 750877 h 1795429"/>
                <a:gd name="connsiteX242" fmla="*/ 4004672 w 4011346"/>
                <a:gd name="connsiteY242" fmla="*/ 744202 h 1795429"/>
                <a:gd name="connsiteX243" fmla="*/ 4011346 w 4011346"/>
                <a:gd name="connsiteY243" fmla="*/ 710830 h 1795429"/>
                <a:gd name="connsiteX244" fmla="*/ 3967963 w 4011346"/>
                <a:gd name="connsiteY244" fmla="*/ 674121 h 1795429"/>
                <a:gd name="connsiteX245" fmla="*/ 3921241 w 4011346"/>
                <a:gd name="connsiteY245" fmla="*/ 657434 h 1795429"/>
                <a:gd name="connsiteX246" fmla="*/ 3907892 w 4011346"/>
                <a:gd name="connsiteY246" fmla="*/ 660772 h 1795429"/>
                <a:gd name="connsiteX247" fmla="*/ 3907892 w 4011346"/>
                <a:gd name="connsiteY247" fmla="*/ 694144 h 1795429"/>
                <a:gd name="connsiteX248" fmla="*/ 3887869 w 4011346"/>
                <a:gd name="connsiteY248" fmla="*/ 687469 h 1795429"/>
                <a:gd name="connsiteX249" fmla="*/ 3874520 w 4011346"/>
                <a:gd name="connsiteY249" fmla="*/ 634074 h 1795429"/>
                <a:gd name="connsiteX250" fmla="*/ 3817787 w 4011346"/>
                <a:gd name="connsiteY250" fmla="*/ 570667 h 1795429"/>
                <a:gd name="connsiteX251" fmla="*/ 3717671 w 4011346"/>
                <a:gd name="connsiteY251" fmla="*/ 493910 h 1795429"/>
                <a:gd name="connsiteX252" fmla="*/ 3664275 w 4011346"/>
                <a:gd name="connsiteY252" fmla="*/ 473887 h 1795429"/>
                <a:gd name="connsiteX253" fmla="*/ 3584181 w 4011346"/>
                <a:gd name="connsiteY253" fmla="*/ 467213 h 1795429"/>
                <a:gd name="connsiteX254" fmla="*/ 3520774 w 4011346"/>
                <a:gd name="connsiteY254" fmla="*/ 450526 h 1795429"/>
                <a:gd name="connsiteX255" fmla="*/ 3530786 w 4011346"/>
                <a:gd name="connsiteY255" fmla="*/ 490573 h 1795429"/>
                <a:gd name="connsiteX256" fmla="*/ 3537460 w 4011346"/>
                <a:gd name="connsiteY256" fmla="*/ 517271 h 1795429"/>
                <a:gd name="connsiteX257" fmla="*/ 3507425 w 4011346"/>
                <a:gd name="connsiteY257" fmla="*/ 540631 h 1795429"/>
                <a:gd name="connsiteX258" fmla="*/ 3477390 w 4011346"/>
                <a:gd name="connsiteY258" fmla="*/ 513934 h 1795429"/>
                <a:gd name="connsiteX259" fmla="*/ 3477390 w 4011346"/>
                <a:gd name="connsiteY259" fmla="*/ 493910 h 1795429"/>
                <a:gd name="connsiteX260" fmla="*/ 3504088 w 4011346"/>
                <a:gd name="connsiteY260" fmla="*/ 473887 h 1795429"/>
                <a:gd name="connsiteX261" fmla="*/ 3467379 w 4011346"/>
                <a:gd name="connsiteY261" fmla="*/ 460538 h 1795429"/>
                <a:gd name="connsiteX262" fmla="*/ 3450692 w 4011346"/>
                <a:gd name="connsiteY262" fmla="*/ 487236 h 1795429"/>
                <a:gd name="connsiteX263" fmla="*/ 3440681 w 4011346"/>
                <a:gd name="connsiteY263" fmla="*/ 500585 h 1795429"/>
                <a:gd name="connsiteX264" fmla="*/ 3357250 w 4011346"/>
                <a:gd name="connsiteY264" fmla="*/ 487236 h 1795429"/>
                <a:gd name="connsiteX265" fmla="*/ 3297180 w 4011346"/>
                <a:gd name="connsiteY265" fmla="*/ 493910 h 1795429"/>
                <a:gd name="connsiteX266" fmla="*/ 3267145 w 4011346"/>
                <a:gd name="connsiteY266" fmla="*/ 470550 h 1795429"/>
                <a:gd name="connsiteX267" fmla="*/ 3267145 w 4011346"/>
                <a:gd name="connsiteY267" fmla="*/ 433840 h 1795429"/>
                <a:gd name="connsiteX268" fmla="*/ 3203738 w 4011346"/>
                <a:gd name="connsiteY268" fmla="*/ 377107 h 1795429"/>
                <a:gd name="connsiteX269" fmla="*/ 3076923 w 4011346"/>
                <a:gd name="connsiteY269" fmla="*/ 383782 h 1795429"/>
                <a:gd name="connsiteX270" fmla="*/ 3043551 w 4011346"/>
                <a:gd name="connsiteY270" fmla="*/ 360421 h 1795429"/>
                <a:gd name="connsiteX271" fmla="*/ 3000167 w 4011346"/>
                <a:gd name="connsiteY271" fmla="*/ 313700 h 1795429"/>
                <a:gd name="connsiteX272" fmla="*/ 3013516 w 4011346"/>
                <a:gd name="connsiteY272" fmla="*/ 307026 h 1795429"/>
                <a:gd name="connsiteX273" fmla="*/ 3000167 w 4011346"/>
                <a:gd name="connsiteY273" fmla="*/ 287002 h 1795429"/>
                <a:gd name="connsiteX274" fmla="*/ 2970132 w 4011346"/>
                <a:gd name="connsiteY274" fmla="*/ 283665 h 1795429"/>
                <a:gd name="connsiteX275" fmla="*/ 2920073 w 4011346"/>
                <a:gd name="connsiteY275" fmla="*/ 330386 h 1795429"/>
                <a:gd name="connsiteX276" fmla="*/ 2920073 w 4011346"/>
                <a:gd name="connsiteY276" fmla="*/ 330386 h 1795429"/>
                <a:gd name="connsiteX277" fmla="*/ 2916736 w 4011346"/>
                <a:gd name="connsiteY277" fmla="*/ 280328 h 1795429"/>
                <a:gd name="connsiteX278" fmla="*/ 2936760 w 4011346"/>
                <a:gd name="connsiteY278" fmla="*/ 276991 h 1795429"/>
                <a:gd name="connsiteX279" fmla="*/ 2866678 w 4011346"/>
                <a:gd name="connsiteY279" fmla="*/ 246956 h 1795429"/>
                <a:gd name="connsiteX280" fmla="*/ 2813282 w 4011346"/>
                <a:gd name="connsiteY280" fmla="*/ 243618 h 1795429"/>
                <a:gd name="connsiteX281" fmla="*/ 2793259 w 4011346"/>
                <a:gd name="connsiteY281" fmla="*/ 266979 h 1795429"/>
                <a:gd name="connsiteX282" fmla="*/ 2743200 w 4011346"/>
                <a:gd name="connsiteY282" fmla="*/ 276991 h 1795429"/>
                <a:gd name="connsiteX283" fmla="*/ 2786584 w 4011346"/>
                <a:gd name="connsiteY283" fmla="*/ 287002 h 1795429"/>
                <a:gd name="connsiteX284" fmla="*/ 2763224 w 4011346"/>
                <a:gd name="connsiteY284" fmla="*/ 307026 h 1795429"/>
                <a:gd name="connsiteX285" fmla="*/ 2769898 w 4011346"/>
                <a:gd name="connsiteY285" fmla="*/ 357084 h 1795429"/>
                <a:gd name="connsiteX286" fmla="*/ 2749875 w 4011346"/>
                <a:gd name="connsiteY286" fmla="*/ 340398 h 1795429"/>
                <a:gd name="connsiteX287" fmla="*/ 2733189 w 4011346"/>
                <a:gd name="connsiteY287" fmla="*/ 353747 h 1795429"/>
                <a:gd name="connsiteX288" fmla="*/ 2666444 w 4011346"/>
                <a:gd name="connsiteY288" fmla="*/ 343735 h 1795429"/>
                <a:gd name="connsiteX289" fmla="*/ 2636409 w 4011346"/>
                <a:gd name="connsiteY289" fmla="*/ 353747 h 1795429"/>
                <a:gd name="connsiteX290" fmla="*/ 2603037 w 4011346"/>
                <a:gd name="connsiteY290" fmla="*/ 313700 h 1795429"/>
                <a:gd name="connsiteX291" fmla="*/ 2569665 w 4011346"/>
                <a:gd name="connsiteY291" fmla="*/ 397131 h 1795429"/>
                <a:gd name="connsiteX292" fmla="*/ 2552979 w 4011346"/>
                <a:gd name="connsiteY292" fmla="*/ 417154 h 1795429"/>
                <a:gd name="connsiteX293" fmla="*/ 2469548 w 4011346"/>
                <a:gd name="connsiteY293" fmla="*/ 280328 h 1795429"/>
                <a:gd name="connsiteX294" fmla="*/ 2446187 w 4011346"/>
                <a:gd name="connsiteY294" fmla="*/ 297014 h 1795429"/>
                <a:gd name="connsiteX295" fmla="*/ 2442850 w 4011346"/>
                <a:gd name="connsiteY295" fmla="*/ 263642 h 1795429"/>
                <a:gd name="connsiteX296" fmla="*/ 2449525 w 4011346"/>
                <a:gd name="connsiteY296" fmla="*/ 193560 h 1795429"/>
                <a:gd name="connsiteX297" fmla="*/ 2386117 w 4011346"/>
                <a:gd name="connsiteY297" fmla="*/ 166862 h 1795429"/>
                <a:gd name="connsiteX298" fmla="*/ 2369431 w 4011346"/>
                <a:gd name="connsiteY298" fmla="*/ 206909 h 1795429"/>
                <a:gd name="connsiteX299" fmla="*/ 2379443 w 4011346"/>
                <a:gd name="connsiteY299" fmla="*/ 230269 h 1795429"/>
                <a:gd name="connsiteX300" fmla="*/ 2376106 w 4011346"/>
                <a:gd name="connsiteY300" fmla="*/ 250293 h 1795429"/>
                <a:gd name="connsiteX301" fmla="*/ 2352745 w 4011346"/>
                <a:gd name="connsiteY301" fmla="*/ 226932 h 1795429"/>
                <a:gd name="connsiteX302" fmla="*/ 2316036 w 4011346"/>
                <a:gd name="connsiteY302" fmla="*/ 233607 h 1795429"/>
                <a:gd name="connsiteX303" fmla="*/ 2272652 w 4011346"/>
                <a:gd name="connsiteY303" fmla="*/ 220258 h 1795429"/>
                <a:gd name="connsiteX304" fmla="*/ 2245954 w 4011346"/>
                <a:gd name="connsiteY304" fmla="*/ 180211 h 1795429"/>
                <a:gd name="connsiteX305" fmla="*/ 2209244 w 4011346"/>
                <a:gd name="connsiteY305" fmla="*/ 176874 h 1795429"/>
                <a:gd name="connsiteX306" fmla="*/ 2159186 w 4011346"/>
                <a:gd name="connsiteY306" fmla="*/ 166862 h 1795429"/>
                <a:gd name="connsiteX307" fmla="*/ 2132488 w 4011346"/>
                <a:gd name="connsiteY307" fmla="*/ 183548 h 1795429"/>
                <a:gd name="connsiteX308" fmla="*/ 2115802 w 4011346"/>
                <a:gd name="connsiteY308" fmla="*/ 196897 h 1795429"/>
                <a:gd name="connsiteX309" fmla="*/ 2115802 w 4011346"/>
                <a:gd name="connsiteY309" fmla="*/ 166862 h 1795429"/>
                <a:gd name="connsiteX310" fmla="*/ 2082430 w 4011346"/>
                <a:gd name="connsiteY310" fmla="*/ 163525 h 1795429"/>
                <a:gd name="connsiteX311" fmla="*/ 2045720 w 4011346"/>
                <a:gd name="connsiteY311" fmla="*/ 136827 h 1795429"/>
                <a:gd name="connsiteX312" fmla="*/ 2025697 w 4011346"/>
                <a:gd name="connsiteY312" fmla="*/ 166862 h 1795429"/>
                <a:gd name="connsiteX313" fmla="*/ 2055732 w 4011346"/>
                <a:gd name="connsiteY313" fmla="*/ 163525 h 1795429"/>
                <a:gd name="connsiteX314" fmla="*/ 2045720 w 4011346"/>
                <a:gd name="connsiteY314" fmla="*/ 190223 h 1795429"/>
                <a:gd name="connsiteX315" fmla="*/ 1988987 w 4011346"/>
                <a:gd name="connsiteY315" fmla="*/ 210246 h 1795429"/>
                <a:gd name="connsiteX316" fmla="*/ 1935592 w 4011346"/>
                <a:gd name="connsiteY316" fmla="*/ 220258 h 1795429"/>
                <a:gd name="connsiteX317" fmla="*/ 1995662 w 4011346"/>
                <a:gd name="connsiteY317" fmla="*/ 163525 h 1795429"/>
                <a:gd name="connsiteX318" fmla="*/ 2055732 w 4011346"/>
                <a:gd name="connsiteY318" fmla="*/ 93443 h 1795429"/>
                <a:gd name="connsiteX319" fmla="*/ 2055732 w 4011346"/>
                <a:gd name="connsiteY319" fmla="*/ 93443 h 1795429"/>
                <a:gd name="connsiteX320" fmla="*/ 1528449 w 4011346"/>
                <a:gd name="connsiteY320" fmla="*/ 0 h 1795429"/>
                <a:gd name="connsiteX321" fmla="*/ 1465043 w 4011346"/>
                <a:gd name="connsiteY321" fmla="*/ 83431 h 1795429"/>
                <a:gd name="connsiteX322" fmla="*/ 1448357 w 4011346"/>
                <a:gd name="connsiteY322" fmla="*/ 110129 h 1795429"/>
                <a:gd name="connsiteX323" fmla="*/ 1481729 w 4011346"/>
                <a:gd name="connsiteY323" fmla="*/ 143502 h 1795429"/>
                <a:gd name="connsiteX324" fmla="*/ 1481729 w 4011346"/>
                <a:gd name="connsiteY324" fmla="*/ 173537 h 1795429"/>
                <a:gd name="connsiteX325" fmla="*/ 1458368 w 4011346"/>
                <a:gd name="connsiteY325" fmla="*/ 176874 h 1795429"/>
                <a:gd name="connsiteX326" fmla="*/ 1458368 w 4011346"/>
                <a:gd name="connsiteY326" fmla="*/ 156850 h 1795429"/>
                <a:gd name="connsiteX327" fmla="*/ 1418322 w 4011346"/>
                <a:gd name="connsiteY327" fmla="*/ 166862 h 1795429"/>
                <a:gd name="connsiteX328" fmla="*/ 1368263 w 4011346"/>
                <a:gd name="connsiteY328" fmla="*/ 173537 h 1795429"/>
                <a:gd name="connsiteX329" fmla="*/ 1321542 w 4011346"/>
                <a:gd name="connsiteY329" fmla="*/ 180211 h 1795429"/>
                <a:gd name="connsiteX330" fmla="*/ 1318205 w 4011346"/>
                <a:gd name="connsiteY330" fmla="*/ 266979 h 1795429"/>
                <a:gd name="connsiteX331" fmla="*/ 1358252 w 4011346"/>
                <a:gd name="connsiteY331" fmla="*/ 290340 h 1795429"/>
                <a:gd name="connsiteX332" fmla="*/ 1374938 w 4011346"/>
                <a:gd name="connsiteY332" fmla="*/ 320375 h 1795429"/>
                <a:gd name="connsiteX333" fmla="*/ 1384949 w 4011346"/>
                <a:gd name="connsiteY333" fmla="*/ 343735 h 1795429"/>
                <a:gd name="connsiteX334" fmla="*/ 1394961 w 4011346"/>
                <a:gd name="connsiteY334" fmla="*/ 393794 h 1795429"/>
                <a:gd name="connsiteX335" fmla="*/ 1384949 w 4011346"/>
                <a:gd name="connsiteY335" fmla="*/ 423829 h 1795429"/>
                <a:gd name="connsiteX336" fmla="*/ 1358252 w 4011346"/>
                <a:gd name="connsiteY336" fmla="*/ 390456 h 1795429"/>
                <a:gd name="connsiteX337" fmla="*/ 1361589 w 4011346"/>
                <a:gd name="connsiteY337" fmla="*/ 360421 h 1795429"/>
                <a:gd name="connsiteX338" fmla="*/ 1351577 w 4011346"/>
                <a:gd name="connsiteY338" fmla="*/ 320375 h 1795429"/>
                <a:gd name="connsiteX339" fmla="*/ 1328217 w 4011346"/>
                <a:gd name="connsiteY339" fmla="*/ 327049 h 1795429"/>
                <a:gd name="connsiteX340" fmla="*/ 1281495 w 4011346"/>
                <a:gd name="connsiteY340" fmla="*/ 290340 h 1795429"/>
                <a:gd name="connsiteX341" fmla="*/ 1241449 w 4011346"/>
                <a:gd name="connsiteY341" fmla="*/ 287002 h 1795429"/>
                <a:gd name="connsiteX342" fmla="*/ 1241449 w 4011346"/>
                <a:gd name="connsiteY342" fmla="*/ 333723 h 1795429"/>
                <a:gd name="connsiteX343" fmla="*/ 1201402 w 4011346"/>
                <a:gd name="connsiteY343" fmla="*/ 313700 h 1795429"/>
                <a:gd name="connsiteX344" fmla="*/ 1228100 w 4011346"/>
                <a:gd name="connsiteY344" fmla="*/ 363758 h 1795429"/>
                <a:gd name="connsiteX345" fmla="*/ 1258135 w 4011346"/>
                <a:gd name="connsiteY345" fmla="*/ 373770 h 1795429"/>
                <a:gd name="connsiteX346" fmla="*/ 1258135 w 4011346"/>
                <a:gd name="connsiteY346" fmla="*/ 393794 h 1795429"/>
                <a:gd name="connsiteX347" fmla="*/ 1198065 w 4011346"/>
                <a:gd name="connsiteY347" fmla="*/ 370433 h 1795429"/>
                <a:gd name="connsiteX348" fmla="*/ 1181379 w 4011346"/>
                <a:gd name="connsiteY348" fmla="*/ 370433 h 1795429"/>
                <a:gd name="connsiteX349" fmla="*/ 1178041 w 4011346"/>
                <a:gd name="connsiteY349" fmla="*/ 327049 h 1795429"/>
                <a:gd name="connsiteX350" fmla="*/ 1171367 w 4011346"/>
                <a:gd name="connsiteY350" fmla="*/ 240281 h 1795429"/>
                <a:gd name="connsiteX351" fmla="*/ 1161355 w 4011346"/>
                <a:gd name="connsiteY351" fmla="*/ 310363 h 1795429"/>
                <a:gd name="connsiteX352" fmla="*/ 1137995 w 4011346"/>
                <a:gd name="connsiteY352" fmla="*/ 340398 h 1795429"/>
                <a:gd name="connsiteX353" fmla="*/ 1158018 w 4011346"/>
                <a:gd name="connsiteY353" fmla="*/ 387119 h 1795429"/>
                <a:gd name="connsiteX354" fmla="*/ 1158018 w 4011346"/>
                <a:gd name="connsiteY354" fmla="*/ 420491 h 1795429"/>
                <a:gd name="connsiteX355" fmla="*/ 1141332 w 4011346"/>
                <a:gd name="connsiteY355" fmla="*/ 470550 h 1795429"/>
                <a:gd name="connsiteX356" fmla="*/ 1154681 w 4011346"/>
                <a:gd name="connsiteY356" fmla="*/ 503922 h 1795429"/>
                <a:gd name="connsiteX357" fmla="*/ 1184716 w 4011346"/>
                <a:gd name="connsiteY357" fmla="*/ 510596 h 1795429"/>
                <a:gd name="connsiteX358" fmla="*/ 1221425 w 4011346"/>
                <a:gd name="connsiteY358" fmla="*/ 517271 h 1795429"/>
                <a:gd name="connsiteX359" fmla="*/ 1241449 w 4011346"/>
                <a:gd name="connsiteY359" fmla="*/ 540631 h 1795429"/>
                <a:gd name="connsiteX360" fmla="*/ 1258135 w 4011346"/>
                <a:gd name="connsiteY360" fmla="*/ 584015 h 1795429"/>
                <a:gd name="connsiteX361" fmla="*/ 1258135 w 4011346"/>
                <a:gd name="connsiteY361" fmla="*/ 584015 h 1795429"/>
                <a:gd name="connsiteX362" fmla="*/ 1254798 w 4011346"/>
                <a:gd name="connsiteY362" fmla="*/ 617388 h 1795429"/>
                <a:gd name="connsiteX363" fmla="*/ 1274821 w 4011346"/>
                <a:gd name="connsiteY363" fmla="*/ 637411 h 1795429"/>
                <a:gd name="connsiteX364" fmla="*/ 1244786 w 4011346"/>
                <a:gd name="connsiteY364" fmla="*/ 644086 h 1795429"/>
                <a:gd name="connsiteX365" fmla="*/ 1224763 w 4011346"/>
                <a:gd name="connsiteY365" fmla="*/ 604039 h 1795429"/>
                <a:gd name="connsiteX366" fmla="*/ 1224763 w 4011346"/>
                <a:gd name="connsiteY366" fmla="*/ 563992 h 1795429"/>
                <a:gd name="connsiteX367" fmla="*/ 1194727 w 4011346"/>
                <a:gd name="connsiteY367" fmla="*/ 527283 h 1795429"/>
                <a:gd name="connsiteX368" fmla="*/ 1164692 w 4011346"/>
                <a:gd name="connsiteY368" fmla="*/ 570667 h 1795429"/>
                <a:gd name="connsiteX369" fmla="*/ 1178041 w 4011346"/>
                <a:gd name="connsiteY369" fmla="*/ 614050 h 1795429"/>
                <a:gd name="connsiteX370" fmla="*/ 1137995 w 4011346"/>
                <a:gd name="connsiteY370" fmla="*/ 670783 h 1795429"/>
                <a:gd name="connsiteX371" fmla="*/ 1097948 w 4011346"/>
                <a:gd name="connsiteY371" fmla="*/ 727516 h 1795429"/>
                <a:gd name="connsiteX372" fmla="*/ 1007843 w 4011346"/>
                <a:gd name="connsiteY372" fmla="*/ 690807 h 1795429"/>
                <a:gd name="connsiteX373" fmla="*/ 1074587 w 4011346"/>
                <a:gd name="connsiteY373" fmla="*/ 687469 h 1795429"/>
                <a:gd name="connsiteX374" fmla="*/ 1107960 w 4011346"/>
                <a:gd name="connsiteY374" fmla="*/ 624062 h 1795429"/>
                <a:gd name="connsiteX375" fmla="*/ 1121309 w 4011346"/>
                <a:gd name="connsiteY375" fmla="*/ 580678 h 1795429"/>
                <a:gd name="connsiteX376" fmla="*/ 1127983 w 4011346"/>
                <a:gd name="connsiteY376" fmla="*/ 547306 h 1795429"/>
                <a:gd name="connsiteX377" fmla="*/ 1117971 w 4011346"/>
                <a:gd name="connsiteY377" fmla="*/ 530620 h 1795429"/>
                <a:gd name="connsiteX378" fmla="*/ 1114634 w 4011346"/>
                <a:gd name="connsiteY378" fmla="*/ 480561 h 1795429"/>
                <a:gd name="connsiteX379" fmla="*/ 1104622 w 4011346"/>
                <a:gd name="connsiteY379" fmla="*/ 400468 h 1795429"/>
                <a:gd name="connsiteX380" fmla="*/ 1101285 w 4011346"/>
                <a:gd name="connsiteY380" fmla="*/ 340398 h 1795429"/>
                <a:gd name="connsiteX381" fmla="*/ 1124646 w 4011346"/>
                <a:gd name="connsiteY381" fmla="*/ 246956 h 1795429"/>
                <a:gd name="connsiteX382" fmla="*/ 1031203 w 4011346"/>
                <a:gd name="connsiteY382" fmla="*/ 236944 h 1795429"/>
                <a:gd name="connsiteX383" fmla="*/ 1014517 w 4011346"/>
                <a:gd name="connsiteY383" fmla="*/ 293677 h 1795429"/>
                <a:gd name="connsiteX384" fmla="*/ 1024529 w 4011346"/>
                <a:gd name="connsiteY384" fmla="*/ 340398 h 1795429"/>
                <a:gd name="connsiteX385" fmla="*/ 981145 w 4011346"/>
                <a:gd name="connsiteY385" fmla="*/ 393794 h 1795429"/>
                <a:gd name="connsiteX386" fmla="*/ 991157 w 4011346"/>
                <a:gd name="connsiteY386" fmla="*/ 430503 h 1795429"/>
                <a:gd name="connsiteX387" fmla="*/ 981145 w 4011346"/>
                <a:gd name="connsiteY387" fmla="*/ 477224 h 1795429"/>
                <a:gd name="connsiteX388" fmla="*/ 1001168 w 4011346"/>
                <a:gd name="connsiteY388" fmla="*/ 500585 h 1795429"/>
                <a:gd name="connsiteX389" fmla="*/ 1017854 w 4011346"/>
                <a:gd name="connsiteY389" fmla="*/ 547306 h 1795429"/>
                <a:gd name="connsiteX390" fmla="*/ 1047890 w 4011346"/>
                <a:gd name="connsiteY390" fmla="*/ 533957 h 1795429"/>
                <a:gd name="connsiteX391" fmla="*/ 1014517 w 4011346"/>
                <a:gd name="connsiteY391" fmla="*/ 587353 h 1795429"/>
                <a:gd name="connsiteX392" fmla="*/ 957784 w 4011346"/>
                <a:gd name="connsiteY392" fmla="*/ 533957 h 1795429"/>
                <a:gd name="connsiteX393" fmla="*/ 884365 w 4011346"/>
                <a:gd name="connsiteY393" fmla="*/ 497248 h 1795429"/>
                <a:gd name="connsiteX394" fmla="*/ 824295 w 4011346"/>
                <a:gd name="connsiteY394" fmla="*/ 473887 h 1795429"/>
                <a:gd name="connsiteX395" fmla="*/ 810946 w 4011346"/>
                <a:gd name="connsiteY395" fmla="*/ 510596 h 1795429"/>
                <a:gd name="connsiteX396" fmla="*/ 827633 w 4011346"/>
                <a:gd name="connsiteY396" fmla="*/ 547306 h 1795429"/>
                <a:gd name="connsiteX397" fmla="*/ 814284 w 4011346"/>
                <a:gd name="connsiteY397" fmla="*/ 570667 h 1795429"/>
                <a:gd name="connsiteX398" fmla="*/ 800935 w 4011346"/>
                <a:gd name="connsiteY398" fmla="*/ 587353 h 1795429"/>
                <a:gd name="connsiteX399" fmla="*/ 770900 w 4011346"/>
                <a:gd name="connsiteY399" fmla="*/ 530620 h 1795429"/>
                <a:gd name="connsiteX400" fmla="*/ 744202 w 4011346"/>
                <a:gd name="connsiteY400" fmla="*/ 567329 h 1795429"/>
                <a:gd name="connsiteX401" fmla="*/ 707492 w 4011346"/>
                <a:gd name="connsiteY401" fmla="*/ 560655 h 1795429"/>
                <a:gd name="connsiteX402" fmla="*/ 654097 w 4011346"/>
                <a:gd name="connsiteY402" fmla="*/ 597364 h 1795429"/>
                <a:gd name="connsiteX403" fmla="*/ 644085 w 4011346"/>
                <a:gd name="connsiteY403" fmla="*/ 574004 h 1795429"/>
                <a:gd name="connsiteX404" fmla="*/ 654097 w 4011346"/>
                <a:gd name="connsiteY404" fmla="*/ 537294 h 1795429"/>
                <a:gd name="connsiteX405" fmla="*/ 614050 w 4011346"/>
                <a:gd name="connsiteY405" fmla="*/ 574004 h 1795429"/>
                <a:gd name="connsiteX406" fmla="*/ 594027 w 4011346"/>
                <a:gd name="connsiteY406" fmla="*/ 574004 h 1795429"/>
                <a:gd name="connsiteX407" fmla="*/ 533957 w 4011346"/>
                <a:gd name="connsiteY407" fmla="*/ 607376 h 1795429"/>
                <a:gd name="connsiteX408" fmla="*/ 510596 w 4011346"/>
                <a:gd name="connsiteY408" fmla="*/ 630737 h 1795429"/>
                <a:gd name="connsiteX409" fmla="*/ 500584 w 4011346"/>
                <a:gd name="connsiteY409" fmla="*/ 677458 h 1795429"/>
                <a:gd name="connsiteX410" fmla="*/ 450526 w 4011346"/>
                <a:gd name="connsiteY410" fmla="*/ 664109 h 1795429"/>
                <a:gd name="connsiteX411" fmla="*/ 433840 w 4011346"/>
                <a:gd name="connsiteY411" fmla="*/ 627399 h 1795429"/>
                <a:gd name="connsiteX412" fmla="*/ 467212 w 4011346"/>
                <a:gd name="connsiteY412" fmla="*/ 597364 h 1795429"/>
                <a:gd name="connsiteX413" fmla="*/ 453863 w 4011346"/>
                <a:gd name="connsiteY413" fmla="*/ 574004 h 1795429"/>
                <a:gd name="connsiteX414" fmla="*/ 390456 w 4011346"/>
                <a:gd name="connsiteY414" fmla="*/ 543969 h 1795429"/>
                <a:gd name="connsiteX415" fmla="*/ 417154 w 4011346"/>
                <a:gd name="connsiteY415" fmla="*/ 594027 h 1795429"/>
                <a:gd name="connsiteX416" fmla="*/ 407142 w 4011346"/>
                <a:gd name="connsiteY416" fmla="*/ 637411 h 1795429"/>
                <a:gd name="connsiteX417" fmla="*/ 413817 w 4011346"/>
                <a:gd name="connsiteY417" fmla="*/ 674121 h 1795429"/>
                <a:gd name="connsiteX418" fmla="*/ 427165 w 4011346"/>
                <a:gd name="connsiteY418" fmla="*/ 697481 h 1795429"/>
                <a:gd name="connsiteX419" fmla="*/ 413817 w 4011346"/>
                <a:gd name="connsiteY419" fmla="*/ 727516 h 1795429"/>
                <a:gd name="connsiteX420" fmla="*/ 390456 w 4011346"/>
                <a:gd name="connsiteY420" fmla="*/ 704156 h 1795429"/>
                <a:gd name="connsiteX421" fmla="*/ 360421 w 4011346"/>
                <a:gd name="connsiteY421" fmla="*/ 700818 h 1795429"/>
                <a:gd name="connsiteX422" fmla="*/ 333723 w 4011346"/>
                <a:gd name="connsiteY422" fmla="*/ 740865 h 1795429"/>
                <a:gd name="connsiteX423" fmla="*/ 307025 w 4011346"/>
                <a:gd name="connsiteY423" fmla="*/ 760888 h 1795429"/>
                <a:gd name="connsiteX424" fmla="*/ 320374 w 4011346"/>
                <a:gd name="connsiteY424" fmla="*/ 787586 h 1795429"/>
                <a:gd name="connsiteX425" fmla="*/ 303688 w 4011346"/>
                <a:gd name="connsiteY425" fmla="*/ 810947 h 1795429"/>
                <a:gd name="connsiteX426" fmla="*/ 233606 w 4011346"/>
                <a:gd name="connsiteY426" fmla="*/ 774237 h 1795429"/>
                <a:gd name="connsiteX427" fmla="*/ 243618 w 4011346"/>
                <a:gd name="connsiteY427" fmla="*/ 824296 h 1795429"/>
                <a:gd name="connsiteX428" fmla="*/ 263641 w 4011346"/>
                <a:gd name="connsiteY428" fmla="*/ 844319 h 1795429"/>
                <a:gd name="connsiteX429" fmla="*/ 250292 w 4011346"/>
                <a:gd name="connsiteY429" fmla="*/ 857668 h 1795429"/>
                <a:gd name="connsiteX430" fmla="*/ 193560 w 4011346"/>
                <a:gd name="connsiteY430" fmla="*/ 820958 h 1795429"/>
                <a:gd name="connsiteX431" fmla="*/ 170199 w 4011346"/>
                <a:gd name="connsiteY431" fmla="*/ 780912 h 1795429"/>
                <a:gd name="connsiteX432" fmla="*/ 170199 w 4011346"/>
                <a:gd name="connsiteY432" fmla="*/ 734191 h 1795429"/>
                <a:gd name="connsiteX433" fmla="*/ 133490 w 4011346"/>
                <a:gd name="connsiteY433" fmla="*/ 657434 h 1795429"/>
                <a:gd name="connsiteX434" fmla="*/ 196897 w 4011346"/>
                <a:gd name="connsiteY434" fmla="*/ 687469 h 1795429"/>
                <a:gd name="connsiteX435" fmla="*/ 256967 w 4011346"/>
                <a:gd name="connsiteY435" fmla="*/ 717504 h 1795429"/>
                <a:gd name="connsiteX436" fmla="*/ 293676 w 4011346"/>
                <a:gd name="connsiteY436" fmla="*/ 720842 h 1795429"/>
                <a:gd name="connsiteX437" fmla="*/ 327049 w 4011346"/>
                <a:gd name="connsiteY437" fmla="*/ 690807 h 1795429"/>
                <a:gd name="connsiteX438" fmla="*/ 343735 w 4011346"/>
                <a:gd name="connsiteY438" fmla="*/ 654097 h 1795429"/>
                <a:gd name="connsiteX439" fmla="*/ 333723 w 4011346"/>
                <a:gd name="connsiteY439" fmla="*/ 604039 h 1795429"/>
                <a:gd name="connsiteX440" fmla="*/ 290339 w 4011346"/>
                <a:gd name="connsiteY440" fmla="*/ 584015 h 1795429"/>
                <a:gd name="connsiteX441" fmla="*/ 236944 w 4011346"/>
                <a:gd name="connsiteY441" fmla="*/ 537294 h 1795429"/>
                <a:gd name="connsiteX442" fmla="*/ 133490 w 4011346"/>
                <a:gd name="connsiteY442" fmla="*/ 480561 h 1795429"/>
                <a:gd name="connsiteX0" fmla="*/ 133490 w 4011346"/>
                <a:gd name="connsiteY0" fmla="*/ 480561 h 1795429"/>
                <a:gd name="connsiteX1" fmla="*/ 46722 w 4011346"/>
                <a:gd name="connsiteY1" fmla="*/ 510596 h 1795429"/>
                <a:gd name="connsiteX2" fmla="*/ 33373 w 4011346"/>
                <a:gd name="connsiteY2" fmla="*/ 540631 h 1795429"/>
                <a:gd name="connsiteX3" fmla="*/ 43384 w 4011346"/>
                <a:gd name="connsiteY3" fmla="*/ 570667 h 1795429"/>
                <a:gd name="connsiteX4" fmla="*/ 60071 w 4011346"/>
                <a:gd name="connsiteY4" fmla="*/ 597364 h 1795429"/>
                <a:gd name="connsiteX5" fmla="*/ 73419 w 4011346"/>
                <a:gd name="connsiteY5" fmla="*/ 627399 h 1795429"/>
                <a:gd name="connsiteX6" fmla="*/ 56733 w 4011346"/>
                <a:gd name="connsiteY6" fmla="*/ 650760 h 1795429"/>
                <a:gd name="connsiteX7" fmla="*/ 76757 w 4011346"/>
                <a:gd name="connsiteY7" fmla="*/ 730853 h 1795429"/>
                <a:gd name="connsiteX8" fmla="*/ 66745 w 4011346"/>
                <a:gd name="connsiteY8" fmla="*/ 747540 h 1795429"/>
                <a:gd name="connsiteX9" fmla="*/ 70082 w 4011346"/>
                <a:gd name="connsiteY9" fmla="*/ 774237 h 1795429"/>
                <a:gd name="connsiteX10" fmla="*/ 70082 w 4011346"/>
                <a:gd name="connsiteY10" fmla="*/ 814284 h 1795429"/>
                <a:gd name="connsiteX11" fmla="*/ 80094 w 4011346"/>
                <a:gd name="connsiteY11" fmla="*/ 834307 h 1795429"/>
                <a:gd name="connsiteX12" fmla="*/ 76757 w 4011346"/>
                <a:gd name="connsiteY12" fmla="*/ 857668 h 1795429"/>
                <a:gd name="connsiteX13" fmla="*/ 106792 w 4011346"/>
                <a:gd name="connsiteY13" fmla="*/ 891040 h 1795429"/>
                <a:gd name="connsiteX14" fmla="*/ 106792 w 4011346"/>
                <a:gd name="connsiteY14" fmla="*/ 921075 h 1795429"/>
                <a:gd name="connsiteX15" fmla="*/ 13349 w 4011346"/>
                <a:gd name="connsiteY15" fmla="*/ 1011180 h 1795429"/>
                <a:gd name="connsiteX16" fmla="*/ 33373 w 4011346"/>
                <a:gd name="connsiteY16" fmla="*/ 1044553 h 1795429"/>
                <a:gd name="connsiteX17" fmla="*/ 33373 w 4011346"/>
                <a:gd name="connsiteY17" fmla="*/ 1044553 h 1795429"/>
                <a:gd name="connsiteX18" fmla="*/ 16687 w 4011346"/>
                <a:gd name="connsiteY18" fmla="*/ 1074588 h 1795429"/>
                <a:gd name="connsiteX19" fmla="*/ 3338 w 4011346"/>
                <a:gd name="connsiteY19" fmla="*/ 1104623 h 1795429"/>
                <a:gd name="connsiteX20" fmla="*/ 0 w 4011346"/>
                <a:gd name="connsiteY20" fmla="*/ 1164693 h 1795429"/>
                <a:gd name="connsiteX21" fmla="*/ 16687 w 4011346"/>
                <a:gd name="connsiteY21" fmla="*/ 1208077 h 1795429"/>
                <a:gd name="connsiteX22" fmla="*/ 20024 w 4011346"/>
                <a:gd name="connsiteY22" fmla="*/ 1241449 h 1795429"/>
                <a:gd name="connsiteX23" fmla="*/ 56733 w 4011346"/>
                <a:gd name="connsiteY23" fmla="*/ 1251461 h 1795429"/>
                <a:gd name="connsiteX24" fmla="*/ 116803 w 4011346"/>
                <a:gd name="connsiteY24" fmla="*/ 1338229 h 1795429"/>
                <a:gd name="connsiteX25" fmla="*/ 96780 w 4011346"/>
                <a:gd name="connsiteY25" fmla="*/ 1361589 h 1795429"/>
                <a:gd name="connsiteX26" fmla="*/ 93443 w 4011346"/>
                <a:gd name="connsiteY26" fmla="*/ 1391624 h 1795429"/>
                <a:gd name="connsiteX27" fmla="*/ 120141 w 4011346"/>
                <a:gd name="connsiteY27" fmla="*/ 1394961 h 1795429"/>
                <a:gd name="connsiteX28" fmla="*/ 160187 w 4011346"/>
                <a:gd name="connsiteY28" fmla="*/ 1408310 h 1795429"/>
                <a:gd name="connsiteX29" fmla="*/ 186885 w 4011346"/>
                <a:gd name="connsiteY29" fmla="*/ 1421659 h 1795429"/>
                <a:gd name="connsiteX30" fmla="*/ 213583 w 4011346"/>
                <a:gd name="connsiteY30" fmla="*/ 1451694 h 1795429"/>
                <a:gd name="connsiteX31" fmla="*/ 243618 w 4011346"/>
                <a:gd name="connsiteY31" fmla="*/ 1455031 h 1795429"/>
                <a:gd name="connsiteX32" fmla="*/ 287002 w 4011346"/>
                <a:gd name="connsiteY32" fmla="*/ 1485067 h 1795429"/>
                <a:gd name="connsiteX33" fmla="*/ 310363 w 4011346"/>
                <a:gd name="connsiteY33" fmla="*/ 1495078 h 1795429"/>
                <a:gd name="connsiteX34" fmla="*/ 310363 w 4011346"/>
                <a:gd name="connsiteY34" fmla="*/ 1531788 h 1795429"/>
                <a:gd name="connsiteX35" fmla="*/ 270316 w 4011346"/>
                <a:gd name="connsiteY35" fmla="*/ 1571834 h 1795429"/>
                <a:gd name="connsiteX36" fmla="*/ 280327 w 4011346"/>
                <a:gd name="connsiteY36" fmla="*/ 1595195 h 1795429"/>
                <a:gd name="connsiteX37" fmla="*/ 273653 w 4011346"/>
                <a:gd name="connsiteY37" fmla="*/ 1615218 h 1795429"/>
                <a:gd name="connsiteX38" fmla="*/ 266979 w 4011346"/>
                <a:gd name="connsiteY38" fmla="*/ 1631904 h 1795429"/>
                <a:gd name="connsiteX39" fmla="*/ 240281 w 4011346"/>
                <a:gd name="connsiteY39" fmla="*/ 1671951 h 1795429"/>
                <a:gd name="connsiteX40" fmla="*/ 307025 w 4011346"/>
                <a:gd name="connsiteY40" fmla="*/ 1708661 h 1795429"/>
                <a:gd name="connsiteX41" fmla="*/ 337060 w 4011346"/>
                <a:gd name="connsiteY41" fmla="*/ 1715335 h 1795429"/>
                <a:gd name="connsiteX42" fmla="*/ 360421 w 4011346"/>
                <a:gd name="connsiteY42" fmla="*/ 1722010 h 1795429"/>
                <a:gd name="connsiteX43" fmla="*/ 380444 w 4011346"/>
                <a:gd name="connsiteY43" fmla="*/ 1728684 h 1795429"/>
                <a:gd name="connsiteX44" fmla="*/ 407142 w 4011346"/>
                <a:gd name="connsiteY44" fmla="*/ 1748707 h 1795429"/>
                <a:gd name="connsiteX45" fmla="*/ 437177 w 4011346"/>
                <a:gd name="connsiteY45" fmla="*/ 1745370 h 1795429"/>
                <a:gd name="connsiteX46" fmla="*/ 507259 w 4011346"/>
                <a:gd name="connsiteY46" fmla="*/ 1795429 h 1795429"/>
                <a:gd name="connsiteX47" fmla="*/ 517271 w 4011346"/>
                <a:gd name="connsiteY47" fmla="*/ 1782080 h 1795429"/>
                <a:gd name="connsiteX48" fmla="*/ 507259 w 4011346"/>
                <a:gd name="connsiteY48" fmla="*/ 1742033 h 1795429"/>
                <a:gd name="connsiteX49" fmla="*/ 500584 w 4011346"/>
                <a:gd name="connsiteY49" fmla="*/ 1708661 h 1795429"/>
                <a:gd name="connsiteX50" fmla="*/ 483898 w 4011346"/>
                <a:gd name="connsiteY50" fmla="*/ 1665277 h 1795429"/>
                <a:gd name="connsiteX51" fmla="*/ 513933 w 4011346"/>
                <a:gd name="connsiteY51" fmla="*/ 1645253 h 1795429"/>
                <a:gd name="connsiteX52" fmla="*/ 547306 w 4011346"/>
                <a:gd name="connsiteY52" fmla="*/ 1621893 h 1795429"/>
                <a:gd name="connsiteX53" fmla="*/ 527282 w 4011346"/>
                <a:gd name="connsiteY53" fmla="*/ 1605207 h 1795429"/>
                <a:gd name="connsiteX54" fmla="*/ 517271 w 4011346"/>
                <a:gd name="connsiteY54" fmla="*/ 1571834 h 1795429"/>
                <a:gd name="connsiteX55" fmla="*/ 480561 w 4011346"/>
                <a:gd name="connsiteY55" fmla="*/ 1555148 h 1795429"/>
                <a:gd name="connsiteX56" fmla="*/ 470549 w 4011346"/>
                <a:gd name="connsiteY56" fmla="*/ 1535125 h 1795429"/>
                <a:gd name="connsiteX57" fmla="*/ 480561 w 4011346"/>
                <a:gd name="connsiteY57" fmla="*/ 1505090 h 1795429"/>
                <a:gd name="connsiteX58" fmla="*/ 490573 w 4011346"/>
                <a:gd name="connsiteY58" fmla="*/ 1465043 h 1795429"/>
                <a:gd name="connsiteX59" fmla="*/ 513933 w 4011346"/>
                <a:gd name="connsiteY59" fmla="*/ 1485067 h 1795429"/>
                <a:gd name="connsiteX60" fmla="*/ 520608 w 4011346"/>
                <a:gd name="connsiteY60" fmla="*/ 1468380 h 1795429"/>
                <a:gd name="connsiteX61" fmla="*/ 543968 w 4011346"/>
                <a:gd name="connsiteY61" fmla="*/ 1431671 h 1795429"/>
                <a:gd name="connsiteX62" fmla="*/ 574003 w 4011346"/>
                <a:gd name="connsiteY62" fmla="*/ 1414985 h 1795429"/>
                <a:gd name="connsiteX63" fmla="*/ 590690 w 4011346"/>
                <a:gd name="connsiteY63" fmla="*/ 1428334 h 1795429"/>
                <a:gd name="connsiteX64" fmla="*/ 610713 w 4011346"/>
                <a:gd name="connsiteY64" fmla="*/ 1401636 h 1795429"/>
                <a:gd name="connsiteX65" fmla="*/ 630736 w 4011346"/>
                <a:gd name="connsiteY65" fmla="*/ 1428334 h 1795429"/>
                <a:gd name="connsiteX66" fmla="*/ 657434 w 4011346"/>
                <a:gd name="connsiteY66" fmla="*/ 1451694 h 1795429"/>
                <a:gd name="connsiteX67" fmla="*/ 674120 w 4011346"/>
                <a:gd name="connsiteY67" fmla="*/ 1458369 h 1795429"/>
                <a:gd name="connsiteX68" fmla="*/ 697481 w 4011346"/>
                <a:gd name="connsiteY68" fmla="*/ 1458369 h 1795429"/>
                <a:gd name="connsiteX69" fmla="*/ 717504 w 4011346"/>
                <a:gd name="connsiteY69" fmla="*/ 1445020 h 1795429"/>
                <a:gd name="connsiteX70" fmla="*/ 744202 w 4011346"/>
                <a:gd name="connsiteY70" fmla="*/ 1445020 h 1795429"/>
                <a:gd name="connsiteX71" fmla="*/ 760888 w 4011346"/>
                <a:gd name="connsiteY71" fmla="*/ 1441683 h 1795429"/>
                <a:gd name="connsiteX72" fmla="*/ 790923 w 4011346"/>
                <a:gd name="connsiteY72" fmla="*/ 1475055 h 1795429"/>
                <a:gd name="connsiteX73" fmla="*/ 797598 w 4011346"/>
                <a:gd name="connsiteY73" fmla="*/ 1448357 h 1795429"/>
                <a:gd name="connsiteX74" fmla="*/ 817621 w 4011346"/>
                <a:gd name="connsiteY74" fmla="*/ 1465043 h 1795429"/>
                <a:gd name="connsiteX75" fmla="*/ 837644 w 4011346"/>
                <a:gd name="connsiteY75" fmla="*/ 1441683 h 1795429"/>
                <a:gd name="connsiteX76" fmla="*/ 827633 w 4011346"/>
                <a:gd name="connsiteY76" fmla="*/ 1421659 h 1795429"/>
                <a:gd name="connsiteX77" fmla="*/ 810946 w 4011346"/>
                <a:gd name="connsiteY77" fmla="*/ 1408310 h 1795429"/>
                <a:gd name="connsiteX78" fmla="*/ 810946 w 4011346"/>
                <a:gd name="connsiteY78" fmla="*/ 1381613 h 1795429"/>
                <a:gd name="connsiteX79" fmla="*/ 810946 w 4011346"/>
                <a:gd name="connsiteY79" fmla="*/ 1368264 h 1795429"/>
                <a:gd name="connsiteX80" fmla="*/ 830970 w 4011346"/>
                <a:gd name="connsiteY80" fmla="*/ 1364926 h 1795429"/>
                <a:gd name="connsiteX81" fmla="*/ 840981 w 4011346"/>
                <a:gd name="connsiteY81" fmla="*/ 1361589 h 1795429"/>
                <a:gd name="connsiteX82" fmla="*/ 820958 w 4011346"/>
                <a:gd name="connsiteY82" fmla="*/ 1324880 h 1795429"/>
                <a:gd name="connsiteX83" fmla="*/ 854330 w 4011346"/>
                <a:gd name="connsiteY83" fmla="*/ 1318205 h 1795429"/>
                <a:gd name="connsiteX84" fmla="*/ 891040 w 4011346"/>
                <a:gd name="connsiteY84" fmla="*/ 1324880 h 1795429"/>
                <a:gd name="connsiteX85" fmla="*/ 964459 w 4011346"/>
                <a:gd name="connsiteY85" fmla="*/ 1281496 h 1795429"/>
                <a:gd name="connsiteX86" fmla="*/ 1001168 w 4011346"/>
                <a:gd name="connsiteY86" fmla="*/ 1281496 h 1795429"/>
                <a:gd name="connsiteX87" fmla="*/ 1027866 w 4011346"/>
                <a:gd name="connsiteY87" fmla="*/ 1258135 h 1795429"/>
                <a:gd name="connsiteX88" fmla="*/ 1047890 w 4011346"/>
                <a:gd name="connsiteY88" fmla="*/ 1268147 h 1795429"/>
                <a:gd name="connsiteX89" fmla="*/ 1067913 w 4011346"/>
                <a:gd name="connsiteY89" fmla="*/ 1278158 h 1795429"/>
                <a:gd name="connsiteX90" fmla="*/ 1087936 w 4011346"/>
                <a:gd name="connsiteY90" fmla="*/ 1304856 h 1795429"/>
                <a:gd name="connsiteX91" fmla="*/ 1074587 w 4011346"/>
                <a:gd name="connsiteY91" fmla="*/ 1318205 h 1795429"/>
                <a:gd name="connsiteX92" fmla="*/ 1104622 w 4011346"/>
                <a:gd name="connsiteY92" fmla="*/ 1318205 h 1795429"/>
                <a:gd name="connsiteX93" fmla="*/ 1107960 w 4011346"/>
                <a:gd name="connsiteY93" fmla="*/ 1334891 h 1795429"/>
                <a:gd name="connsiteX94" fmla="*/ 1121309 w 4011346"/>
                <a:gd name="connsiteY94" fmla="*/ 1318205 h 1795429"/>
                <a:gd name="connsiteX95" fmla="*/ 1134657 w 4011346"/>
                <a:gd name="connsiteY95" fmla="*/ 1331554 h 1795429"/>
                <a:gd name="connsiteX96" fmla="*/ 1134657 w 4011346"/>
                <a:gd name="connsiteY96" fmla="*/ 1351577 h 1795429"/>
                <a:gd name="connsiteX97" fmla="*/ 1148006 w 4011346"/>
                <a:gd name="connsiteY97" fmla="*/ 1348240 h 1795429"/>
                <a:gd name="connsiteX98" fmla="*/ 1208076 w 4011346"/>
                <a:gd name="connsiteY98" fmla="*/ 1301519 h 1795429"/>
                <a:gd name="connsiteX99" fmla="*/ 1211414 w 4011346"/>
                <a:gd name="connsiteY99" fmla="*/ 1321542 h 1795429"/>
                <a:gd name="connsiteX100" fmla="*/ 1244786 w 4011346"/>
                <a:gd name="connsiteY100" fmla="*/ 1341566 h 1795429"/>
                <a:gd name="connsiteX101" fmla="*/ 1264809 w 4011346"/>
                <a:gd name="connsiteY101" fmla="*/ 1371601 h 1795429"/>
                <a:gd name="connsiteX102" fmla="*/ 1298181 w 4011346"/>
                <a:gd name="connsiteY102" fmla="*/ 1478392 h 1795429"/>
                <a:gd name="connsiteX103" fmla="*/ 1308193 w 4011346"/>
                <a:gd name="connsiteY103" fmla="*/ 1435008 h 1795429"/>
                <a:gd name="connsiteX104" fmla="*/ 1344903 w 4011346"/>
                <a:gd name="connsiteY104" fmla="*/ 1455031 h 1795429"/>
                <a:gd name="connsiteX105" fmla="*/ 1388287 w 4011346"/>
                <a:gd name="connsiteY105" fmla="*/ 1455031 h 1795429"/>
                <a:gd name="connsiteX106" fmla="*/ 1394961 w 4011346"/>
                <a:gd name="connsiteY106" fmla="*/ 1478392 h 1795429"/>
                <a:gd name="connsiteX107" fmla="*/ 1435008 w 4011346"/>
                <a:gd name="connsiteY107" fmla="*/ 1501753 h 1795429"/>
                <a:gd name="connsiteX108" fmla="*/ 1465043 w 4011346"/>
                <a:gd name="connsiteY108" fmla="*/ 1501753 h 1795429"/>
                <a:gd name="connsiteX109" fmla="*/ 1491741 w 4011346"/>
                <a:gd name="connsiteY109" fmla="*/ 1515102 h 1795429"/>
                <a:gd name="connsiteX110" fmla="*/ 1535125 w 4011346"/>
                <a:gd name="connsiteY110" fmla="*/ 1471718 h 1795429"/>
                <a:gd name="connsiteX111" fmla="*/ 1571834 w 4011346"/>
                <a:gd name="connsiteY111" fmla="*/ 1451694 h 1795429"/>
                <a:gd name="connsiteX112" fmla="*/ 1608544 w 4011346"/>
                <a:gd name="connsiteY112" fmla="*/ 1455031 h 1795429"/>
                <a:gd name="connsiteX113" fmla="*/ 1655265 w 4011346"/>
                <a:gd name="connsiteY113" fmla="*/ 1468380 h 1795429"/>
                <a:gd name="connsiteX114" fmla="*/ 1681963 w 4011346"/>
                <a:gd name="connsiteY114" fmla="*/ 1485067 h 1795429"/>
                <a:gd name="connsiteX115" fmla="*/ 1735358 w 4011346"/>
                <a:gd name="connsiteY115" fmla="*/ 1478392 h 1795429"/>
                <a:gd name="connsiteX116" fmla="*/ 1745370 w 4011346"/>
                <a:gd name="connsiteY116" fmla="*/ 1458369 h 1795429"/>
                <a:gd name="connsiteX117" fmla="*/ 1738695 w 4011346"/>
                <a:gd name="connsiteY117" fmla="*/ 1438345 h 1795429"/>
                <a:gd name="connsiteX118" fmla="*/ 1765393 w 4011346"/>
                <a:gd name="connsiteY118" fmla="*/ 1411648 h 1795429"/>
                <a:gd name="connsiteX119" fmla="*/ 1778742 w 4011346"/>
                <a:gd name="connsiteY119" fmla="*/ 1408310 h 1795429"/>
                <a:gd name="connsiteX120" fmla="*/ 1812114 w 4011346"/>
                <a:gd name="connsiteY120" fmla="*/ 1424996 h 1795429"/>
                <a:gd name="connsiteX121" fmla="*/ 1852161 w 4011346"/>
                <a:gd name="connsiteY121" fmla="*/ 1438345 h 1795429"/>
                <a:gd name="connsiteX122" fmla="*/ 1858836 w 4011346"/>
                <a:gd name="connsiteY122" fmla="*/ 1465043 h 1795429"/>
                <a:gd name="connsiteX123" fmla="*/ 1872184 w 4011346"/>
                <a:gd name="connsiteY123" fmla="*/ 1471718 h 1795429"/>
                <a:gd name="connsiteX124" fmla="*/ 1902219 w 4011346"/>
                <a:gd name="connsiteY124" fmla="*/ 1475055 h 1795429"/>
                <a:gd name="connsiteX125" fmla="*/ 1932254 w 4011346"/>
                <a:gd name="connsiteY125" fmla="*/ 1458369 h 1795429"/>
                <a:gd name="connsiteX126" fmla="*/ 1962290 w 4011346"/>
                <a:gd name="connsiteY126" fmla="*/ 1471718 h 1795429"/>
                <a:gd name="connsiteX127" fmla="*/ 1985650 w 4011346"/>
                <a:gd name="connsiteY127" fmla="*/ 1485067 h 1795429"/>
                <a:gd name="connsiteX128" fmla="*/ 1995662 w 4011346"/>
                <a:gd name="connsiteY128" fmla="*/ 1495078 h 1795429"/>
                <a:gd name="connsiteX129" fmla="*/ 2032371 w 4011346"/>
                <a:gd name="connsiteY129" fmla="*/ 1515102 h 1795429"/>
                <a:gd name="connsiteX130" fmla="*/ 2069081 w 4011346"/>
                <a:gd name="connsiteY130" fmla="*/ 1511764 h 1795429"/>
                <a:gd name="connsiteX131" fmla="*/ 2142500 w 4011346"/>
                <a:gd name="connsiteY131" fmla="*/ 1468380 h 1795429"/>
                <a:gd name="connsiteX132" fmla="*/ 2195895 w 4011346"/>
                <a:gd name="connsiteY132" fmla="*/ 1481729 h 1795429"/>
                <a:gd name="connsiteX133" fmla="*/ 2225930 w 4011346"/>
                <a:gd name="connsiteY133" fmla="*/ 1491741 h 1795429"/>
                <a:gd name="connsiteX134" fmla="*/ 2259303 w 4011346"/>
                <a:gd name="connsiteY134" fmla="*/ 1478392 h 1795429"/>
                <a:gd name="connsiteX135" fmla="*/ 2262640 w 4011346"/>
                <a:gd name="connsiteY135" fmla="*/ 1451694 h 1795429"/>
                <a:gd name="connsiteX136" fmla="*/ 2282663 w 4011346"/>
                <a:gd name="connsiteY136" fmla="*/ 1421659 h 1795429"/>
                <a:gd name="connsiteX137" fmla="*/ 2299349 w 4011346"/>
                <a:gd name="connsiteY137" fmla="*/ 1368264 h 1795429"/>
                <a:gd name="connsiteX138" fmla="*/ 2282663 w 4011346"/>
                <a:gd name="connsiteY138" fmla="*/ 1371601 h 1795429"/>
                <a:gd name="connsiteX139" fmla="*/ 2312698 w 4011346"/>
                <a:gd name="connsiteY139" fmla="*/ 1344903 h 1795429"/>
                <a:gd name="connsiteX140" fmla="*/ 2339396 w 4011346"/>
                <a:gd name="connsiteY140" fmla="*/ 1341566 h 1795429"/>
                <a:gd name="connsiteX141" fmla="*/ 2396129 w 4011346"/>
                <a:gd name="connsiteY141" fmla="*/ 1351577 h 1795429"/>
                <a:gd name="connsiteX142" fmla="*/ 2436176 w 4011346"/>
                <a:gd name="connsiteY142" fmla="*/ 1378275 h 1795429"/>
                <a:gd name="connsiteX143" fmla="*/ 2462873 w 4011346"/>
                <a:gd name="connsiteY143" fmla="*/ 1408310 h 1795429"/>
                <a:gd name="connsiteX144" fmla="*/ 2469548 w 4011346"/>
                <a:gd name="connsiteY144" fmla="*/ 1445020 h 1795429"/>
                <a:gd name="connsiteX145" fmla="*/ 2476222 w 4011346"/>
                <a:gd name="connsiteY145" fmla="*/ 1485067 h 1795429"/>
                <a:gd name="connsiteX146" fmla="*/ 2486234 w 4011346"/>
                <a:gd name="connsiteY146" fmla="*/ 1505090 h 1795429"/>
                <a:gd name="connsiteX147" fmla="*/ 2529618 w 4011346"/>
                <a:gd name="connsiteY147" fmla="*/ 1518439 h 1795429"/>
                <a:gd name="connsiteX148" fmla="*/ 2549641 w 4011346"/>
                <a:gd name="connsiteY148" fmla="*/ 1538462 h 1795429"/>
                <a:gd name="connsiteX149" fmla="*/ 2562990 w 4011346"/>
                <a:gd name="connsiteY149" fmla="*/ 1571834 h 1795429"/>
                <a:gd name="connsiteX150" fmla="*/ 2586351 w 4011346"/>
                <a:gd name="connsiteY150" fmla="*/ 1565160 h 1795429"/>
                <a:gd name="connsiteX151" fmla="*/ 2606374 w 4011346"/>
                <a:gd name="connsiteY151" fmla="*/ 1555148 h 1795429"/>
                <a:gd name="connsiteX152" fmla="*/ 2639746 w 4011346"/>
                <a:gd name="connsiteY152" fmla="*/ 1538462 h 1795429"/>
                <a:gd name="connsiteX153" fmla="*/ 2643084 w 4011346"/>
                <a:gd name="connsiteY153" fmla="*/ 1555148 h 1795429"/>
                <a:gd name="connsiteX154" fmla="*/ 2626398 w 4011346"/>
                <a:gd name="connsiteY154" fmla="*/ 1585183 h 1795429"/>
                <a:gd name="connsiteX155" fmla="*/ 2616386 w 4011346"/>
                <a:gd name="connsiteY155" fmla="*/ 1621893 h 1795429"/>
                <a:gd name="connsiteX156" fmla="*/ 2603037 w 4011346"/>
                <a:gd name="connsiteY156" fmla="*/ 1675288 h 1795429"/>
                <a:gd name="connsiteX157" fmla="*/ 2579676 w 4011346"/>
                <a:gd name="connsiteY157" fmla="*/ 1648591 h 1795429"/>
                <a:gd name="connsiteX158" fmla="*/ 2552979 w 4011346"/>
                <a:gd name="connsiteY158" fmla="*/ 1671951 h 1795429"/>
                <a:gd name="connsiteX159" fmla="*/ 2559653 w 4011346"/>
                <a:gd name="connsiteY159" fmla="*/ 1698649 h 1795429"/>
                <a:gd name="connsiteX160" fmla="*/ 2559653 w 4011346"/>
                <a:gd name="connsiteY160" fmla="*/ 1735358 h 1795429"/>
                <a:gd name="connsiteX161" fmla="*/ 2549641 w 4011346"/>
                <a:gd name="connsiteY161" fmla="*/ 1755382 h 1795429"/>
                <a:gd name="connsiteX162" fmla="*/ 2589688 w 4011346"/>
                <a:gd name="connsiteY162" fmla="*/ 1735358 h 1795429"/>
                <a:gd name="connsiteX163" fmla="*/ 2626398 w 4011346"/>
                <a:gd name="connsiteY163" fmla="*/ 1745370 h 1795429"/>
                <a:gd name="connsiteX164" fmla="*/ 2653095 w 4011346"/>
                <a:gd name="connsiteY164" fmla="*/ 1722010 h 1795429"/>
                <a:gd name="connsiteX165" fmla="*/ 2683130 w 4011346"/>
                <a:gd name="connsiteY165" fmla="*/ 1668614 h 1795429"/>
                <a:gd name="connsiteX166" fmla="*/ 2753212 w 4011346"/>
                <a:gd name="connsiteY166" fmla="*/ 1581846 h 1795429"/>
                <a:gd name="connsiteX167" fmla="*/ 2783247 w 4011346"/>
                <a:gd name="connsiteY167" fmla="*/ 1511764 h 1795429"/>
                <a:gd name="connsiteX168" fmla="*/ 2803271 w 4011346"/>
                <a:gd name="connsiteY168" fmla="*/ 1408310 h 1795429"/>
                <a:gd name="connsiteX169" fmla="*/ 2793259 w 4011346"/>
                <a:gd name="connsiteY169" fmla="*/ 1358252 h 1795429"/>
                <a:gd name="connsiteX170" fmla="*/ 2769898 w 4011346"/>
                <a:gd name="connsiteY170" fmla="*/ 1324880 h 1795429"/>
                <a:gd name="connsiteX171" fmla="*/ 2726514 w 4011346"/>
                <a:gd name="connsiteY171" fmla="*/ 1324880 h 1795429"/>
                <a:gd name="connsiteX172" fmla="*/ 2699817 w 4011346"/>
                <a:gd name="connsiteY172" fmla="*/ 1324880 h 1795429"/>
                <a:gd name="connsiteX173" fmla="*/ 2683130 w 4011346"/>
                <a:gd name="connsiteY173" fmla="*/ 1304856 h 1795429"/>
                <a:gd name="connsiteX174" fmla="*/ 2669781 w 4011346"/>
                <a:gd name="connsiteY174" fmla="*/ 1284833 h 1795429"/>
                <a:gd name="connsiteX175" fmla="*/ 2763224 w 4011346"/>
                <a:gd name="connsiteY175" fmla="*/ 1168030 h 1795429"/>
                <a:gd name="connsiteX176" fmla="*/ 2846654 w 4011346"/>
                <a:gd name="connsiteY176" fmla="*/ 1101286 h 1795429"/>
                <a:gd name="connsiteX177" fmla="*/ 2890038 w 4011346"/>
                <a:gd name="connsiteY177" fmla="*/ 1077925 h 1795429"/>
                <a:gd name="connsiteX178" fmla="*/ 2933422 w 4011346"/>
                <a:gd name="connsiteY178" fmla="*/ 1097948 h 1795429"/>
                <a:gd name="connsiteX179" fmla="*/ 2950109 w 4011346"/>
                <a:gd name="connsiteY179" fmla="*/ 1081262 h 1795429"/>
                <a:gd name="connsiteX180" fmla="*/ 2993492 w 4011346"/>
                <a:gd name="connsiteY180" fmla="*/ 1097948 h 1795429"/>
                <a:gd name="connsiteX181" fmla="*/ 3006841 w 4011346"/>
                <a:gd name="connsiteY181" fmla="*/ 1064576 h 1795429"/>
                <a:gd name="connsiteX182" fmla="*/ 3053563 w 4011346"/>
                <a:gd name="connsiteY182" fmla="*/ 1074588 h 1795429"/>
                <a:gd name="connsiteX183" fmla="*/ 3070249 w 4011346"/>
                <a:gd name="connsiteY183" fmla="*/ 1091274 h 1795429"/>
                <a:gd name="connsiteX184" fmla="*/ 3060237 w 4011346"/>
                <a:gd name="connsiteY184" fmla="*/ 1111297 h 1795429"/>
                <a:gd name="connsiteX185" fmla="*/ 3123644 w 4011346"/>
                <a:gd name="connsiteY185" fmla="*/ 1094611 h 1795429"/>
                <a:gd name="connsiteX186" fmla="*/ 3140330 w 4011346"/>
                <a:gd name="connsiteY186" fmla="*/ 1081262 h 1795429"/>
                <a:gd name="connsiteX187" fmla="*/ 3123644 w 4011346"/>
                <a:gd name="connsiteY187" fmla="*/ 1067913 h 1795429"/>
                <a:gd name="connsiteX188" fmla="*/ 3143668 w 4011346"/>
                <a:gd name="connsiteY188" fmla="*/ 1027867 h 1795429"/>
                <a:gd name="connsiteX189" fmla="*/ 3190389 w 4011346"/>
                <a:gd name="connsiteY189" fmla="*/ 957785 h 1795429"/>
                <a:gd name="connsiteX190" fmla="*/ 3233773 w 4011346"/>
                <a:gd name="connsiteY190" fmla="*/ 954448 h 1795429"/>
                <a:gd name="connsiteX191" fmla="*/ 3273819 w 4011346"/>
                <a:gd name="connsiteY191" fmla="*/ 964459 h 1795429"/>
                <a:gd name="connsiteX192" fmla="*/ 3277157 w 4011346"/>
                <a:gd name="connsiteY192" fmla="*/ 1021192 h 1795429"/>
                <a:gd name="connsiteX193" fmla="*/ 3320541 w 4011346"/>
                <a:gd name="connsiteY193" fmla="*/ 977808 h 1795429"/>
                <a:gd name="connsiteX194" fmla="*/ 3343901 w 4011346"/>
                <a:gd name="connsiteY194" fmla="*/ 961122 h 1795429"/>
                <a:gd name="connsiteX195" fmla="*/ 3350576 w 4011346"/>
                <a:gd name="connsiteY195" fmla="*/ 927750 h 1795429"/>
                <a:gd name="connsiteX196" fmla="*/ 3377273 w 4011346"/>
                <a:gd name="connsiteY196" fmla="*/ 911064 h 1795429"/>
                <a:gd name="connsiteX197" fmla="*/ 3407309 w 4011346"/>
                <a:gd name="connsiteY197" fmla="*/ 921075 h 1795429"/>
                <a:gd name="connsiteX198" fmla="*/ 3373936 w 4011346"/>
                <a:gd name="connsiteY198" fmla="*/ 951110 h 1795429"/>
                <a:gd name="connsiteX199" fmla="*/ 3360587 w 4011346"/>
                <a:gd name="connsiteY199" fmla="*/ 1001169 h 1795429"/>
                <a:gd name="connsiteX200" fmla="*/ 3323878 w 4011346"/>
                <a:gd name="connsiteY200" fmla="*/ 1041215 h 1795429"/>
                <a:gd name="connsiteX201" fmla="*/ 3210412 w 4011346"/>
                <a:gd name="connsiteY201" fmla="*/ 1137995 h 1795429"/>
                <a:gd name="connsiteX202" fmla="*/ 3163691 w 4011346"/>
                <a:gd name="connsiteY202" fmla="*/ 1208077 h 1795429"/>
                <a:gd name="connsiteX203" fmla="*/ 3160354 w 4011346"/>
                <a:gd name="connsiteY203" fmla="*/ 1281496 h 1795429"/>
                <a:gd name="connsiteX204" fmla="*/ 3170365 w 4011346"/>
                <a:gd name="connsiteY204" fmla="*/ 1371601 h 1795429"/>
                <a:gd name="connsiteX205" fmla="*/ 3190389 w 4011346"/>
                <a:gd name="connsiteY205" fmla="*/ 1435008 h 1795429"/>
                <a:gd name="connsiteX206" fmla="*/ 3217087 w 4011346"/>
                <a:gd name="connsiteY206" fmla="*/ 1424996 h 1795429"/>
                <a:gd name="connsiteX207" fmla="*/ 3240447 w 4011346"/>
                <a:gd name="connsiteY207" fmla="*/ 1358252 h 1795429"/>
                <a:gd name="connsiteX208" fmla="*/ 3270482 w 4011346"/>
                <a:gd name="connsiteY208" fmla="*/ 1354915 h 1795429"/>
                <a:gd name="connsiteX209" fmla="*/ 3287168 w 4011346"/>
                <a:gd name="connsiteY209" fmla="*/ 1294845 h 1795429"/>
                <a:gd name="connsiteX210" fmla="*/ 3313866 w 4011346"/>
                <a:gd name="connsiteY210" fmla="*/ 1284833 h 1795429"/>
                <a:gd name="connsiteX211" fmla="*/ 3313866 w 4011346"/>
                <a:gd name="connsiteY211" fmla="*/ 1254798 h 1795429"/>
                <a:gd name="connsiteX212" fmla="*/ 3337227 w 4011346"/>
                <a:gd name="connsiteY212" fmla="*/ 1218088 h 1795429"/>
                <a:gd name="connsiteX213" fmla="*/ 3330552 w 4011346"/>
                <a:gd name="connsiteY213" fmla="*/ 1174704 h 1795429"/>
                <a:gd name="connsiteX214" fmla="*/ 3333890 w 4011346"/>
                <a:gd name="connsiteY214" fmla="*/ 1144669 h 1795429"/>
                <a:gd name="connsiteX215" fmla="*/ 3323878 w 4011346"/>
                <a:gd name="connsiteY215" fmla="*/ 1134658 h 1795429"/>
                <a:gd name="connsiteX216" fmla="*/ 3363925 w 4011346"/>
                <a:gd name="connsiteY216" fmla="*/ 1047890 h 1795429"/>
                <a:gd name="connsiteX217" fmla="*/ 3383948 w 4011346"/>
                <a:gd name="connsiteY217" fmla="*/ 1057902 h 1795429"/>
                <a:gd name="connsiteX218" fmla="*/ 3410646 w 4011346"/>
                <a:gd name="connsiteY218" fmla="*/ 1031204 h 1795429"/>
                <a:gd name="connsiteX219" fmla="*/ 3420657 w 4011346"/>
                <a:gd name="connsiteY219" fmla="*/ 1057902 h 1795429"/>
                <a:gd name="connsiteX220" fmla="*/ 3447355 w 4011346"/>
                <a:gd name="connsiteY220" fmla="*/ 1041215 h 1795429"/>
                <a:gd name="connsiteX221" fmla="*/ 3477390 w 4011346"/>
                <a:gd name="connsiteY221" fmla="*/ 1031204 h 1795429"/>
                <a:gd name="connsiteX222" fmla="*/ 3514100 w 4011346"/>
                <a:gd name="connsiteY222" fmla="*/ 1057902 h 1795429"/>
                <a:gd name="connsiteX223" fmla="*/ 3574170 w 4011346"/>
                <a:gd name="connsiteY223" fmla="*/ 991157 h 1795429"/>
                <a:gd name="connsiteX224" fmla="*/ 3637577 w 4011346"/>
                <a:gd name="connsiteY224" fmla="*/ 944436 h 1795429"/>
                <a:gd name="connsiteX225" fmla="*/ 3690973 w 4011346"/>
                <a:gd name="connsiteY225" fmla="*/ 907726 h 1795429"/>
                <a:gd name="connsiteX226" fmla="*/ 3741031 w 4011346"/>
                <a:gd name="connsiteY226" fmla="*/ 934424 h 1795429"/>
                <a:gd name="connsiteX227" fmla="*/ 3751043 w 4011346"/>
                <a:gd name="connsiteY227" fmla="*/ 907726 h 1795429"/>
                <a:gd name="connsiteX228" fmla="*/ 3727682 w 4011346"/>
                <a:gd name="connsiteY228" fmla="*/ 840982 h 1795429"/>
                <a:gd name="connsiteX229" fmla="*/ 3700984 w 4011346"/>
                <a:gd name="connsiteY229" fmla="*/ 824296 h 1795429"/>
                <a:gd name="connsiteX230" fmla="*/ 3697647 w 4011346"/>
                <a:gd name="connsiteY230" fmla="*/ 794261 h 1795429"/>
                <a:gd name="connsiteX231" fmla="*/ 3751043 w 4011346"/>
                <a:gd name="connsiteY231" fmla="*/ 800935 h 1795429"/>
                <a:gd name="connsiteX232" fmla="*/ 3774403 w 4011346"/>
                <a:gd name="connsiteY232" fmla="*/ 757551 h 1795429"/>
                <a:gd name="connsiteX233" fmla="*/ 3767729 w 4011346"/>
                <a:gd name="connsiteY233" fmla="*/ 730853 h 1795429"/>
                <a:gd name="connsiteX234" fmla="*/ 3794427 w 4011346"/>
                <a:gd name="connsiteY234" fmla="*/ 697481 h 1795429"/>
                <a:gd name="connsiteX235" fmla="*/ 3804438 w 4011346"/>
                <a:gd name="connsiteY235" fmla="*/ 740865 h 1795429"/>
                <a:gd name="connsiteX236" fmla="*/ 3827799 w 4011346"/>
                <a:gd name="connsiteY236" fmla="*/ 757551 h 1795429"/>
                <a:gd name="connsiteX237" fmla="*/ 3874520 w 4011346"/>
                <a:gd name="connsiteY237" fmla="*/ 777575 h 1795429"/>
                <a:gd name="connsiteX238" fmla="*/ 3894544 w 4011346"/>
                <a:gd name="connsiteY238" fmla="*/ 804272 h 1795429"/>
                <a:gd name="connsiteX239" fmla="*/ 3941265 w 4011346"/>
                <a:gd name="connsiteY239" fmla="*/ 827633 h 1795429"/>
                <a:gd name="connsiteX240" fmla="*/ 3947939 w 4011346"/>
                <a:gd name="connsiteY240" fmla="*/ 814284 h 1795429"/>
                <a:gd name="connsiteX241" fmla="*/ 3957951 w 4011346"/>
                <a:gd name="connsiteY241" fmla="*/ 750877 h 1795429"/>
                <a:gd name="connsiteX242" fmla="*/ 4004672 w 4011346"/>
                <a:gd name="connsiteY242" fmla="*/ 744202 h 1795429"/>
                <a:gd name="connsiteX243" fmla="*/ 4011346 w 4011346"/>
                <a:gd name="connsiteY243" fmla="*/ 710830 h 1795429"/>
                <a:gd name="connsiteX244" fmla="*/ 3967963 w 4011346"/>
                <a:gd name="connsiteY244" fmla="*/ 674121 h 1795429"/>
                <a:gd name="connsiteX245" fmla="*/ 3921241 w 4011346"/>
                <a:gd name="connsiteY245" fmla="*/ 657434 h 1795429"/>
                <a:gd name="connsiteX246" fmla="*/ 3907892 w 4011346"/>
                <a:gd name="connsiteY246" fmla="*/ 660772 h 1795429"/>
                <a:gd name="connsiteX247" fmla="*/ 3907892 w 4011346"/>
                <a:gd name="connsiteY247" fmla="*/ 694144 h 1795429"/>
                <a:gd name="connsiteX248" fmla="*/ 3887869 w 4011346"/>
                <a:gd name="connsiteY248" fmla="*/ 687469 h 1795429"/>
                <a:gd name="connsiteX249" fmla="*/ 3874520 w 4011346"/>
                <a:gd name="connsiteY249" fmla="*/ 634074 h 1795429"/>
                <a:gd name="connsiteX250" fmla="*/ 3817787 w 4011346"/>
                <a:gd name="connsiteY250" fmla="*/ 570667 h 1795429"/>
                <a:gd name="connsiteX251" fmla="*/ 3717671 w 4011346"/>
                <a:gd name="connsiteY251" fmla="*/ 493910 h 1795429"/>
                <a:gd name="connsiteX252" fmla="*/ 3664275 w 4011346"/>
                <a:gd name="connsiteY252" fmla="*/ 473887 h 1795429"/>
                <a:gd name="connsiteX253" fmla="*/ 3584181 w 4011346"/>
                <a:gd name="connsiteY253" fmla="*/ 467213 h 1795429"/>
                <a:gd name="connsiteX254" fmla="*/ 3520774 w 4011346"/>
                <a:gd name="connsiteY254" fmla="*/ 450526 h 1795429"/>
                <a:gd name="connsiteX255" fmla="*/ 3530786 w 4011346"/>
                <a:gd name="connsiteY255" fmla="*/ 490573 h 1795429"/>
                <a:gd name="connsiteX256" fmla="*/ 3537460 w 4011346"/>
                <a:gd name="connsiteY256" fmla="*/ 517271 h 1795429"/>
                <a:gd name="connsiteX257" fmla="*/ 3507425 w 4011346"/>
                <a:gd name="connsiteY257" fmla="*/ 540631 h 1795429"/>
                <a:gd name="connsiteX258" fmla="*/ 3477390 w 4011346"/>
                <a:gd name="connsiteY258" fmla="*/ 513934 h 1795429"/>
                <a:gd name="connsiteX259" fmla="*/ 3477390 w 4011346"/>
                <a:gd name="connsiteY259" fmla="*/ 493910 h 1795429"/>
                <a:gd name="connsiteX260" fmla="*/ 3504088 w 4011346"/>
                <a:gd name="connsiteY260" fmla="*/ 473887 h 1795429"/>
                <a:gd name="connsiteX261" fmla="*/ 3467379 w 4011346"/>
                <a:gd name="connsiteY261" fmla="*/ 460538 h 1795429"/>
                <a:gd name="connsiteX262" fmla="*/ 3450692 w 4011346"/>
                <a:gd name="connsiteY262" fmla="*/ 487236 h 1795429"/>
                <a:gd name="connsiteX263" fmla="*/ 3440681 w 4011346"/>
                <a:gd name="connsiteY263" fmla="*/ 500585 h 1795429"/>
                <a:gd name="connsiteX264" fmla="*/ 3357250 w 4011346"/>
                <a:gd name="connsiteY264" fmla="*/ 487236 h 1795429"/>
                <a:gd name="connsiteX265" fmla="*/ 3297180 w 4011346"/>
                <a:gd name="connsiteY265" fmla="*/ 493910 h 1795429"/>
                <a:gd name="connsiteX266" fmla="*/ 3267145 w 4011346"/>
                <a:gd name="connsiteY266" fmla="*/ 470550 h 1795429"/>
                <a:gd name="connsiteX267" fmla="*/ 3267145 w 4011346"/>
                <a:gd name="connsiteY267" fmla="*/ 433840 h 1795429"/>
                <a:gd name="connsiteX268" fmla="*/ 3203738 w 4011346"/>
                <a:gd name="connsiteY268" fmla="*/ 377107 h 1795429"/>
                <a:gd name="connsiteX269" fmla="*/ 3076923 w 4011346"/>
                <a:gd name="connsiteY269" fmla="*/ 383782 h 1795429"/>
                <a:gd name="connsiteX270" fmla="*/ 3043551 w 4011346"/>
                <a:gd name="connsiteY270" fmla="*/ 360421 h 1795429"/>
                <a:gd name="connsiteX271" fmla="*/ 3000167 w 4011346"/>
                <a:gd name="connsiteY271" fmla="*/ 313700 h 1795429"/>
                <a:gd name="connsiteX272" fmla="*/ 3013516 w 4011346"/>
                <a:gd name="connsiteY272" fmla="*/ 307026 h 1795429"/>
                <a:gd name="connsiteX273" fmla="*/ 3000167 w 4011346"/>
                <a:gd name="connsiteY273" fmla="*/ 287002 h 1795429"/>
                <a:gd name="connsiteX274" fmla="*/ 2970132 w 4011346"/>
                <a:gd name="connsiteY274" fmla="*/ 283665 h 1795429"/>
                <a:gd name="connsiteX275" fmla="*/ 2920073 w 4011346"/>
                <a:gd name="connsiteY275" fmla="*/ 330386 h 1795429"/>
                <a:gd name="connsiteX276" fmla="*/ 2920073 w 4011346"/>
                <a:gd name="connsiteY276" fmla="*/ 330386 h 1795429"/>
                <a:gd name="connsiteX277" fmla="*/ 2916736 w 4011346"/>
                <a:gd name="connsiteY277" fmla="*/ 280328 h 1795429"/>
                <a:gd name="connsiteX278" fmla="*/ 2936760 w 4011346"/>
                <a:gd name="connsiteY278" fmla="*/ 276991 h 1795429"/>
                <a:gd name="connsiteX279" fmla="*/ 2866678 w 4011346"/>
                <a:gd name="connsiteY279" fmla="*/ 246956 h 1795429"/>
                <a:gd name="connsiteX280" fmla="*/ 2813282 w 4011346"/>
                <a:gd name="connsiteY280" fmla="*/ 243618 h 1795429"/>
                <a:gd name="connsiteX281" fmla="*/ 2793259 w 4011346"/>
                <a:gd name="connsiteY281" fmla="*/ 266979 h 1795429"/>
                <a:gd name="connsiteX282" fmla="*/ 2743200 w 4011346"/>
                <a:gd name="connsiteY282" fmla="*/ 276991 h 1795429"/>
                <a:gd name="connsiteX283" fmla="*/ 2786584 w 4011346"/>
                <a:gd name="connsiteY283" fmla="*/ 287002 h 1795429"/>
                <a:gd name="connsiteX284" fmla="*/ 2763224 w 4011346"/>
                <a:gd name="connsiteY284" fmla="*/ 307026 h 1795429"/>
                <a:gd name="connsiteX285" fmla="*/ 2769898 w 4011346"/>
                <a:gd name="connsiteY285" fmla="*/ 357084 h 1795429"/>
                <a:gd name="connsiteX286" fmla="*/ 2749875 w 4011346"/>
                <a:gd name="connsiteY286" fmla="*/ 340398 h 1795429"/>
                <a:gd name="connsiteX287" fmla="*/ 2733189 w 4011346"/>
                <a:gd name="connsiteY287" fmla="*/ 353747 h 1795429"/>
                <a:gd name="connsiteX288" fmla="*/ 2666444 w 4011346"/>
                <a:gd name="connsiteY288" fmla="*/ 343735 h 1795429"/>
                <a:gd name="connsiteX289" fmla="*/ 2636409 w 4011346"/>
                <a:gd name="connsiteY289" fmla="*/ 353747 h 1795429"/>
                <a:gd name="connsiteX290" fmla="*/ 2603037 w 4011346"/>
                <a:gd name="connsiteY290" fmla="*/ 313700 h 1795429"/>
                <a:gd name="connsiteX291" fmla="*/ 2569665 w 4011346"/>
                <a:gd name="connsiteY291" fmla="*/ 397131 h 1795429"/>
                <a:gd name="connsiteX292" fmla="*/ 2552979 w 4011346"/>
                <a:gd name="connsiteY292" fmla="*/ 417154 h 1795429"/>
                <a:gd name="connsiteX293" fmla="*/ 2469548 w 4011346"/>
                <a:gd name="connsiteY293" fmla="*/ 280328 h 1795429"/>
                <a:gd name="connsiteX294" fmla="*/ 2446187 w 4011346"/>
                <a:gd name="connsiteY294" fmla="*/ 297014 h 1795429"/>
                <a:gd name="connsiteX295" fmla="*/ 2442850 w 4011346"/>
                <a:gd name="connsiteY295" fmla="*/ 263642 h 1795429"/>
                <a:gd name="connsiteX296" fmla="*/ 2449525 w 4011346"/>
                <a:gd name="connsiteY296" fmla="*/ 193560 h 1795429"/>
                <a:gd name="connsiteX297" fmla="*/ 2386117 w 4011346"/>
                <a:gd name="connsiteY297" fmla="*/ 166862 h 1795429"/>
                <a:gd name="connsiteX298" fmla="*/ 2369431 w 4011346"/>
                <a:gd name="connsiteY298" fmla="*/ 206909 h 1795429"/>
                <a:gd name="connsiteX299" fmla="*/ 2379443 w 4011346"/>
                <a:gd name="connsiteY299" fmla="*/ 230269 h 1795429"/>
                <a:gd name="connsiteX300" fmla="*/ 2376106 w 4011346"/>
                <a:gd name="connsiteY300" fmla="*/ 250293 h 1795429"/>
                <a:gd name="connsiteX301" fmla="*/ 2352745 w 4011346"/>
                <a:gd name="connsiteY301" fmla="*/ 226932 h 1795429"/>
                <a:gd name="connsiteX302" fmla="*/ 2316036 w 4011346"/>
                <a:gd name="connsiteY302" fmla="*/ 233607 h 1795429"/>
                <a:gd name="connsiteX303" fmla="*/ 2272652 w 4011346"/>
                <a:gd name="connsiteY303" fmla="*/ 220258 h 1795429"/>
                <a:gd name="connsiteX304" fmla="*/ 2245954 w 4011346"/>
                <a:gd name="connsiteY304" fmla="*/ 180211 h 1795429"/>
                <a:gd name="connsiteX305" fmla="*/ 2209244 w 4011346"/>
                <a:gd name="connsiteY305" fmla="*/ 176874 h 1795429"/>
                <a:gd name="connsiteX306" fmla="*/ 2159186 w 4011346"/>
                <a:gd name="connsiteY306" fmla="*/ 166862 h 1795429"/>
                <a:gd name="connsiteX307" fmla="*/ 2132488 w 4011346"/>
                <a:gd name="connsiteY307" fmla="*/ 183548 h 1795429"/>
                <a:gd name="connsiteX308" fmla="*/ 2115802 w 4011346"/>
                <a:gd name="connsiteY308" fmla="*/ 196897 h 1795429"/>
                <a:gd name="connsiteX309" fmla="*/ 2115802 w 4011346"/>
                <a:gd name="connsiteY309" fmla="*/ 166862 h 1795429"/>
                <a:gd name="connsiteX310" fmla="*/ 2082430 w 4011346"/>
                <a:gd name="connsiteY310" fmla="*/ 163525 h 1795429"/>
                <a:gd name="connsiteX311" fmla="*/ 2045720 w 4011346"/>
                <a:gd name="connsiteY311" fmla="*/ 136827 h 1795429"/>
                <a:gd name="connsiteX312" fmla="*/ 2025697 w 4011346"/>
                <a:gd name="connsiteY312" fmla="*/ 166862 h 1795429"/>
                <a:gd name="connsiteX313" fmla="*/ 2055732 w 4011346"/>
                <a:gd name="connsiteY313" fmla="*/ 163525 h 1795429"/>
                <a:gd name="connsiteX314" fmla="*/ 2045720 w 4011346"/>
                <a:gd name="connsiteY314" fmla="*/ 190223 h 1795429"/>
                <a:gd name="connsiteX315" fmla="*/ 1988987 w 4011346"/>
                <a:gd name="connsiteY315" fmla="*/ 210246 h 1795429"/>
                <a:gd name="connsiteX316" fmla="*/ 1935592 w 4011346"/>
                <a:gd name="connsiteY316" fmla="*/ 220258 h 1795429"/>
                <a:gd name="connsiteX317" fmla="*/ 1995662 w 4011346"/>
                <a:gd name="connsiteY317" fmla="*/ 163525 h 1795429"/>
                <a:gd name="connsiteX318" fmla="*/ 2055732 w 4011346"/>
                <a:gd name="connsiteY318" fmla="*/ 93443 h 1795429"/>
                <a:gd name="connsiteX319" fmla="*/ 2055732 w 4011346"/>
                <a:gd name="connsiteY319" fmla="*/ 93443 h 1795429"/>
                <a:gd name="connsiteX320" fmla="*/ 1655265 w 4011346"/>
                <a:gd name="connsiteY320" fmla="*/ 20025 h 1795429"/>
                <a:gd name="connsiteX321" fmla="*/ 1528449 w 4011346"/>
                <a:gd name="connsiteY321" fmla="*/ 0 h 1795429"/>
                <a:gd name="connsiteX322" fmla="*/ 1465043 w 4011346"/>
                <a:gd name="connsiteY322" fmla="*/ 83431 h 1795429"/>
                <a:gd name="connsiteX323" fmla="*/ 1448357 w 4011346"/>
                <a:gd name="connsiteY323" fmla="*/ 110129 h 1795429"/>
                <a:gd name="connsiteX324" fmla="*/ 1481729 w 4011346"/>
                <a:gd name="connsiteY324" fmla="*/ 143502 h 1795429"/>
                <a:gd name="connsiteX325" fmla="*/ 1481729 w 4011346"/>
                <a:gd name="connsiteY325" fmla="*/ 173537 h 1795429"/>
                <a:gd name="connsiteX326" fmla="*/ 1458368 w 4011346"/>
                <a:gd name="connsiteY326" fmla="*/ 176874 h 1795429"/>
                <a:gd name="connsiteX327" fmla="*/ 1458368 w 4011346"/>
                <a:gd name="connsiteY327" fmla="*/ 156850 h 1795429"/>
                <a:gd name="connsiteX328" fmla="*/ 1418322 w 4011346"/>
                <a:gd name="connsiteY328" fmla="*/ 166862 h 1795429"/>
                <a:gd name="connsiteX329" fmla="*/ 1368263 w 4011346"/>
                <a:gd name="connsiteY329" fmla="*/ 173537 h 1795429"/>
                <a:gd name="connsiteX330" fmla="*/ 1321542 w 4011346"/>
                <a:gd name="connsiteY330" fmla="*/ 180211 h 1795429"/>
                <a:gd name="connsiteX331" fmla="*/ 1318205 w 4011346"/>
                <a:gd name="connsiteY331" fmla="*/ 266979 h 1795429"/>
                <a:gd name="connsiteX332" fmla="*/ 1358252 w 4011346"/>
                <a:gd name="connsiteY332" fmla="*/ 290340 h 1795429"/>
                <a:gd name="connsiteX333" fmla="*/ 1374938 w 4011346"/>
                <a:gd name="connsiteY333" fmla="*/ 320375 h 1795429"/>
                <a:gd name="connsiteX334" fmla="*/ 1384949 w 4011346"/>
                <a:gd name="connsiteY334" fmla="*/ 343735 h 1795429"/>
                <a:gd name="connsiteX335" fmla="*/ 1394961 w 4011346"/>
                <a:gd name="connsiteY335" fmla="*/ 393794 h 1795429"/>
                <a:gd name="connsiteX336" fmla="*/ 1384949 w 4011346"/>
                <a:gd name="connsiteY336" fmla="*/ 423829 h 1795429"/>
                <a:gd name="connsiteX337" fmla="*/ 1358252 w 4011346"/>
                <a:gd name="connsiteY337" fmla="*/ 390456 h 1795429"/>
                <a:gd name="connsiteX338" fmla="*/ 1361589 w 4011346"/>
                <a:gd name="connsiteY338" fmla="*/ 360421 h 1795429"/>
                <a:gd name="connsiteX339" fmla="*/ 1351577 w 4011346"/>
                <a:gd name="connsiteY339" fmla="*/ 320375 h 1795429"/>
                <a:gd name="connsiteX340" fmla="*/ 1328217 w 4011346"/>
                <a:gd name="connsiteY340" fmla="*/ 327049 h 1795429"/>
                <a:gd name="connsiteX341" fmla="*/ 1281495 w 4011346"/>
                <a:gd name="connsiteY341" fmla="*/ 290340 h 1795429"/>
                <a:gd name="connsiteX342" fmla="*/ 1241449 w 4011346"/>
                <a:gd name="connsiteY342" fmla="*/ 287002 h 1795429"/>
                <a:gd name="connsiteX343" fmla="*/ 1241449 w 4011346"/>
                <a:gd name="connsiteY343" fmla="*/ 333723 h 1795429"/>
                <a:gd name="connsiteX344" fmla="*/ 1201402 w 4011346"/>
                <a:gd name="connsiteY344" fmla="*/ 313700 h 1795429"/>
                <a:gd name="connsiteX345" fmla="*/ 1228100 w 4011346"/>
                <a:gd name="connsiteY345" fmla="*/ 363758 h 1795429"/>
                <a:gd name="connsiteX346" fmla="*/ 1258135 w 4011346"/>
                <a:gd name="connsiteY346" fmla="*/ 373770 h 1795429"/>
                <a:gd name="connsiteX347" fmla="*/ 1258135 w 4011346"/>
                <a:gd name="connsiteY347" fmla="*/ 393794 h 1795429"/>
                <a:gd name="connsiteX348" fmla="*/ 1198065 w 4011346"/>
                <a:gd name="connsiteY348" fmla="*/ 370433 h 1795429"/>
                <a:gd name="connsiteX349" fmla="*/ 1181379 w 4011346"/>
                <a:gd name="connsiteY349" fmla="*/ 370433 h 1795429"/>
                <a:gd name="connsiteX350" fmla="*/ 1178041 w 4011346"/>
                <a:gd name="connsiteY350" fmla="*/ 327049 h 1795429"/>
                <a:gd name="connsiteX351" fmla="*/ 1171367 w 4011346"/>
                <a:gd name="connsiteY351" fmla="*/ 240281 h 1795429"/>
                <a:gd name="connsiteX352" fmla="*/ 1161355 w 4011346"/>
                <a:gd name="connsiteY352" fmla="*/ 310363 h 1795429"/>
                <a:gd name="connsiteX353" fmla="*/ 1137995 w 4011346"/>
                <a:gd name="connsiteY353" fmla="*/ 340398 h 1795429"/>
                <a:gd name="connsiteX354" fmla="*/ 1158018 w 4011346"/>
                <a:gd name="connsiteY354" fmla="*/ 387119 h 1795429"/>
                <a:gd name="connsiteX355" fmla="*/ 1158018 w 4011346"/>
                <a:gd name="connsiteY355" fmla="*/ 420491 h 1795429"/>
                <a:gd name="connsiteX356" fmla="*/ 1141332 w 4011346"/>
                <a:gd name="connsiteY356" fmla="*/ 470550 h 1795429"/>
                <a:gd name="connsiteX357" fmla="*/ 1154681 w 4011346"/>
                <a:gd name="connsiteY357" fmla="*/ 503922 h 1795429"/>
                <a:gd name="connsiteX358" fmla="*/ 1184716 w 4011346"/>
                <a:gd name="connsiteY358" fmla="*/ 510596 h 1795429"/>
                <a:gd name="connsiteX359" fmla="*/ 1221425 w 4011346"/>
                <a:gd name="connsiteY359" fmla="*/ 517271 h 1795429"/>
                <a:gd name="connsiteX360" fmla="*/ 1241449 w 4011346"/>
                <a:gd name="connsiteY360" fmla="*/ 540631 h 1795429"/>
                <a:gd name="connsiteX361" fmla="*/ 1258135 w 4011346"/>
                <a:gd name="connsiteY361" fmla="*/ 584015 h 1795429"/>
                <a:gd name="connsiteX362" fmla="*/ 1258135 w 4011346"/>
                <a:gd name="connsiteY362" fmla="*/ 584015 h 1795429"/>
                <a:gd name="connsiteX363" fmla="*/ 1254798 w 4011346"/>
                <a:gd name="connsiteY363" fmla="*/ 617388 h 1795429"/>
                <a:gd name="connsiteX364" fmla="*/ 1274821 w 4011346"/>
                <a:gd name="connsiteY364" fmla="*/ 637411 h 1795429"/>
                <a:gd name="connsiteX365" fmla="*/ 1244786 w 4011346"/>
                <a:gd name="connsiteY365" fmla="*/ 644086 h 1795429"/>
                <a:gd name="connsiteX366" fmla="*/ 1224763 w 4011346"/>
                <a:gd name="connsiteY366" fmla="*/ 604039 h 1795429"/>
                <a:gd name="connsiteX367" fmla="*/ 1224763 w 4011346"/>
                <a:gd name="connsiteY367" fmla="*/ 563992 h 1795429"/>
                <a:gd name="connsiteX368" fmla="*/ 1194727 w 4011346"/>
                <a:gd name="connsiteY368" fmla="*/ 527283 h 1795429"/>
                <a:gd name="connsiteX369" fmla="*/ 1164692 w 4011346"/>
                <a:gd name="connsiteY369" fmla="*/ 570667 h 1795429"/>
                <a:gd name="connsiteX370" fmla="*/ 1178041 w 4011346"/>
                <a:gd name="connsiteY370" fmla="*/ 614050 h 1795429"/>
                <a:gd name="connsiteX371" fmla="*/ 1137995 w 4011346"/>
                <a:gd name="connsiteY371" fmla="*/ 670783 h 1795429"/>
                <a:gd name="connsiteX372" fmla="*/ 1097948 w 4011346"/>
                <a:gd name="connsiteY372" fmla="*/ 727516 h 1795429"/>
                <a:gd name="connsiteX373" fmla="*/ 1007843 w 4011346"/>
                <a:gd name="connsiteY373" fmla="*/ 690807 h 1795429"/>
                <a:gd name="connsiteX374" fmla="*/ 1074587 w 4011346"/>
                <a:gd name="connsiteY374" fmla="*/ 687469 h 1795429"/>
                <a:gd name="connsiteX375" fmla="*/ 1107960 w 4011346"/>
                <a:gd name="connsiteY375" fmla="*/ 624062 h 1795429"/>
                <a:gd name="connsiteX376" fmla="*/ 1121309 w 4011346"/>
                <a:gd name="connsiteY376" fmla="*/ 580678 h 1795429"/>
                <a:gd name="connsiteX377" fmla="*/ 1127983 w 4011346"/>
                <a:gd name="connsiteY377" fmla="*/ 547306 h 1795429"/>
                <a:gd name="connsiteX378" fmla="*/ 1117971 w 4011346"/>
                <a:gd name="connsiteY378" fmla="*/ 530620 h 1795429"/>
                <a:gd name="connsiteX379" fmla="*/ 1114634 w 4011346"/>
                <a:gd name="connsiteY379" fmla="*/ 480561 h 1795429"/>
                <a:gd name="connsiteX380" fmla="*/ 1104622 w 4011346"/>
                <a:gd name="connsiteY380" fmla="*/ 400468 h 1795429"/>
                <a:gd name="connsiteX381" fmla="*/ 1101285 w 4011346"/>
                <a:gd name="connsiteY381" fmla="*/ 340398 h 1795429"/>
                <a:gd name="connsiteX382" fmla="*/ 1124646 w 4011346"/>
                <a:gd name="connsiteY382" fmla="*/ 246956 h 1795429"/>
                <a:gd name="connsiteX383" fmla="*/ 1031203 w 4011346"/>
                <a:gd name="connsiteY383" fmla="*/ 236944 h 1795429"/>
                <a:gd name="connsiteX384" fmla="*/ 1014517 w 4011346"/>
                <a:gd name="connsiteY384" fmla="*/ 293677 h 1795429"/>
                <a:gd name="connsiteX385" fmla="*/ 1024529 w 4011346"/>
                <a:gd name="connsiteY385" fmla="*/ 340398 h 1795429"/>
                <a:gd name="connsiteX386" fmla="*/ 981145 w 4011346"/>
                <a:gd name="connsiteY386" fmla="*/ 393794 h 1795429"/>
                <a:gd name="connsiteX387" fmla="*/ 991157 w 4011346"/>
                <a:gd name="connsiteY387" fmla="*/ 430503 h 1795429"/>
                <a:gd name="connsiteX388" fmla="*/ 981145 w 4011346"/>
                <a:gd name="connsiteY388" fmla="*/ 477224 h 1795429"/>
                <a:gd name="connsiteX389" fmla="*/ 1001168 w 4011346"/>
                <a:gd name="connsiteY389" fmla="*/ 500585 h 1795429"/>
                <a:gd name="connsiteX390" fmla="*/ 1017854 w 4011346"/>
                <a:gd name="connsiteY390" fmla="*/ 547306 h 1795429"/>
                <a:gd name="connsiteX391" fmla="*/ 1047890 w 4011346"/>
                <a:gd name="connsiteY391" fmla="*/ 533957 h 1795429"/>
                <a:gd name="connsiteX392" fmla="*/ 1014517 w 4011346"/>
                <a:gd name="connsiteY392" fmla="*/ 587353 h 1795429"/>
                <a:gd name="connsiteX393" fmla="*/ 957784 w 4011346"/>
                <a:gd name="connsiteY393" fmla="*/ 533957 h 1795429"/>
                <a:gd name="connsiteX394" fmla="*/ 884365 w 4011346"/>
                <a:gd name="connsiteY394" fmla="*/ 497248 h 1795429"/>
                <a:gd name="connsiteX395" fmla="*/ 824295 w 4011346"/>
                <a:gd name="connsiteY395" fmla="*/ 473887 h 1795429"/>
                <a:gd name="connsiteX396" fmla="*/ 810946 w 4011346"/>
                <a:gd name="connsiteY396" fmla="*/ 510596 h 1795429"/>
                <a:gd name="connsiteX397" fmla="*/ 827633 w 4011346"/>
                <a:gd name="connsiteY397" fmla="*/ 547306 h 1795429"/>
                <a:gd name="connsiteX398" fmla="*/ 814284 w 4011346"/>
                <a:gd name="connsiteY398" fmla="*/ 570667 h 1795429"/>
                <a:gd name="connsiteX399" fmla="*/ 800935 w 4011346"/>
                <a:gd name="connsiteY399" fmla="*/ 587353 h 1795429"/>
                <a:gd name="connsiteX400" fmla="*/ 770900 w 4011346"/>
                <a:gd name="connsiteY400" fmla="*/ 530620 h 1795429"/>
                <a:gd name="connsiteX401" fmla="*/ 744202 w 4011346"/>
                <a:gd name="connsiteY401" fmla="*/ 567329 h 1795429"/>
                <a:gd name="connsiteX402" fmla="*/ 707492 w 4011346"/>
                <a:gd name="connsiteY402" fmla="*/ 560655 h 1795429"/>
                <a:gd name="connsiteX403" fmla="*/ 654097 w 4011346"/>
                <a:gd name="connsiteY403" fmla="*/ 597364 h 1795429"/>
                <a:gd name="connsiteX404" fmla="*/ 644085 w 4011346"/>
                <a:gd name="connsiteY404" fmla="*/ 574004 h 1795429"/>
                <a:gd name="connsiteX405" fmla="*/ 654097 w 4011346"/>
                <a:gd name="connsiteY405" fmla="*/ 537294 h 1795429"/>
                <a:gd name="connsiteX406" fmla="*/ 614050 w 4011346"/>
                <a:gd name="connsiteY406" fmla="*/ 574004 h 1795429"/>
                <a:gd name="connsiteX407" fmla="*/ 594027 w 4011346"/>
                <a:gd name="connsiteY407" fmla="*/ 574004 h 1795429"/>
                <a:gd name="connsiteX408" fmla="*/ 533957 w 4011346"/>
                <a:gd name="connsiteY408" fmla="*/ 607376 h 1795429"/>
                <a:gd name="connsiteX409" fmla="*/ 510596 w 4011346"/>
                <a:gd name="connsiteY409" fmla="*/ 630737 h 1795429"/>
                <a:gd name="connsiteX410" fmla="*/ 500584 w 4011346"/>
                <a:gd name="connsiteY410" fmla="*/ 677458 h 1795429"/>
                <a:gd name="connsiteX411" fmla="*/ 450526 w 4011346"/>
                <a:gd name="connsiteY411" fmla="*/ 664109 h 1795429"/>
                <a:gd name="connsiteX412" fmla="*/ 433840 w 4011346"/>
                <a:gd name="connsiteY412" fmla="*/ 627399 h 1795429"/>
                <a:gd name="connsiteX413" fmla="*/ 467212 w 4011346"/>
                <a:gd name="connsiteY413" fmla="*/ 597364 h 1795429"/>
                <a:gd name="connsiteX414" fmla="*/ 453863 w 4011346"/>
                <a:gd name="connsiteY414" fmla="*/ 574004 h 1795429"/>
                <a:gd name="connsiteX415" fmla="*/ 390456 w 4011346"/>
                <a:gd name="connsiteY415" fmla="*/ 543969 h 1795429"/>
                <a:gd name="connsiteX416" fmla="*/ 417154 w 4011346"/>
                <a:gd name="connsiteY416" fmla="*/ 594027 h 1795429"/>
                <a:gd name="connsiteX417" fmla="*/ 407142 w 4011346"/>
                <a:gd name="connsiteY417" fmla="*/ 637411 h 1795429"/>
                <a:gd name="connsiteX418" fmla="*/ 413817 w 4011346"/>
                <a:gd name="connsiteY418" fmla="*/ 674121 h 1795429"/>
                <a:gd name="connsiteX419" fmla="*/ 427165 w 4011346"/>
                <a:gd name="connsiteY419" fmla="*/ 697481 h 1795429"/>
                <a:gd name="connsiteX420" fmla="*/ 413817 w 4011346"/>
                <a:gd name="connsiteY420" fmla="*/ 727516 h 1795429"/>
                <a:gd name="connsiteX421" fmla="*/ 390456 w 4011346"/>
                <a:gd name="connsiteY421" fmla="*/ 704156 h 1795429"/>
                <a:gd name="connsiteX422" fmla="*/ 360421 w 4011346"/>
                <a:gd name="connsiteY422" fmla="*/ 700818 h 1795429"/>
                <a:gd name="connsiteX423" fmla="*/ 333723 w 4011346"/>
                <a:gd name="connsiteY423" fmla="*/ 740865 h 1795429"/>
                <a:gd name="connsiteX424" fmla="*/ 307025 w 4011346"/>
                <a:gd name="connsiteY424" fmla="*/ 760888 h 1795429"/>
                <a:gd name="connsiteX425" fmla="*/ 320374 w 4011346"/>
                <a:gd name="connsiteY425" fmla="*/ 787586 h 1795429"/>
                <a:gd name="connsiteX426" fmla="*/ 303688 w 4011346"/>
                <a:gd name="connsiteY426" fmla="*/ 810947 h 1795429"/>
                <a:gd name="connsiteX427" fmla="*/ 233606 w 4011346"/>
                <a:gd name="connsiteY427" fmla="*/ 774237 h 1795429"/>
                <a:gd name="connsiteX428" fmla="*/ 243618 w 4011346"/>
                <a:gd name="connsiteY428" fmla="*/ 824296 h 1795429"/>
                <a:gd name="connsiteX429" fmla="*/ 263641 w 4011346"/>
                <a:gd name="connsiteY429" fmla="*/ 844319 h 1795429"/>
                <a:gd name="connsiteX430" fmla="*/ 250292 w 4011346"/>
                <a:gd name="connsiteY430" fmla="*/ 857668 h 1795429"/>
                <a:gd name="connsiteX431" fmla="*/ 193560 w 4011346"/>
                <a:gd name="connsiteY431" fmla="*/ 820958 h 1795429"/>
                <a:gd name="connsiteX432" fmla="*/ 170199 w 4011346"/>
                <a:gd name="connsiteY432" fmla="*/ 780912 h 1795429"/>
                <a:gd name="connsiteX433" fmla="*/ 170199 w 4011346"/>
                <a:gd name="connsiteY433" fmla="*/ 734191 h 1795429"/>
                <a:gd name="connsiteX434" fmla="*/ 133490 w 4011346"/>
                <a:gd name="connsiteY434" fmla="*/ 657434 h 1795429"/>
                <a:gd name="connsiteX435" fmla="*/ 196897 w 4011346"/>
                <a:gd name="connsiteY435" fmla="*/ 687469 h 1795429"/>
                <a:gd name="connsiteX436" fmla="*/ 256967 w 4011346"/>
                <a:gd name="connsiteY436" fmla="*/ 717504 h 1795429"/>
                <a:gd name="connsiteX437" fmla="*/ 293676 w 4011346"/>
                <a:gd name="connsiteY437" fmla="*/ 720842 h 1795429"/>
                <a:gd name="connsiteX438" fmla="*/ 327049 w 4011346"/>
                <a:gd name="connsiteY438" fmla="*/ 690807 h 1795429"/>
                <a:gd name="connsiteX439" fmla="*/ 343735 w 4011346"/>
                <a:gd name="connsiteY439" fmla="*/ 654097 h 1795429"/>
                <a:gd name="connsiteX440" fmla="*/ 333723 w 4011346"/>
                <a:gd name="connsiteY440" fmla="*/ 604039 h 1795429"/>
                <a:gd name="connsiteX441" fmla="*/ 290339 w 4011346"/>
                <a:gd name="connsiteY441" fmla="*/ 584015 h 1795429"/>
                <a:gd name="connsiteX442" fmla="*/ 236944 w 4011346"/>
                <a:gd name="connsiteY442" fmla="*/ 537294 h 1795429"/>
                <a:gd name="connsiteX443" fmla="*/ 133490 w 4011346"/>
                <a:gd name="connsiteY443" fmla="*/ 480561 h 1795429"/>
                <a:gd name="connsiteX0" fmla="*/ 133490 w 4011346"/>
                <a:gd name="connsiteY0" fmla="*/ 507257 h 1822125"/>
                <a:gd name="connsiteX1" fmla="*/ 46722 w 4011346"/>
                <a:gd name="connsiteY1" fmla="*/ 537292 h 1822125"/>
                <a:gd name="connsiteX2" fmla="*/ 33373 w 4011346"/>
                <a:gd name="connsiteY2" fmla="*/ 567327 h 1822125"/>
                <a:gd name="connsiteX3" fmla="*/ 43384 w 4011346"/>
                <a:gd name="connsiteY3" fmla="*/ 597363 h 1822125"/>
                <a:gd name="connsiteX4" fmla="*/ 60071 w 4011346"/>
                <a:gd name="connsiteY4" fmla="*/ 624060 h 1822125"/>
                <a:gd name="connsiteX5" fmla="*/ 73419 w 4011346"/>
                <a:gd name="connsiteY5" fmla="*/ 654095 h 1822125"/>
                <a:gd name="connsiteX6" fmla="*/ 56733 w 4011346"/>
                <a:gd name="connsiteY6" fmla="*/ 677456 h 1822125"/>
                <a:gd name="connsiteX7" fmla="*/ 76757 w 4011346"/>
                <a:gd name="connsiteY7" fmla="*/ 757549 h 1822125"/>
                <a:gd name="connsiteX8" fmla="*/ 66745 w 4011346"/>
                <a:gd name="connsiteY8" fmla="*/ 774236 h 1822125"/>
                <a:gd name="connsiteX9" fmla="*/ 70082 w 4011346"/>
                <a:gd name="connsiteY9" fmla="*/ 800933 h 1822125"/>
                <a:gd name="connsiteX10" fmla="*/ 70082 w 4011346"/>
                <a:gd name="connsiteY10" fmla="*/ 840980 h 1822125"/>
                <a:gd name="connsiteX11" fmla="*/ 80094 w 4011346"/>
                <a:gd name="connsiteY11" fmla="*/ 861003 h 1822125"/>
                <a:gd name="connsiteX12" fmla="*/ 76757 w 4011346"/>
                <a:gd name="connsiteY12" fmla="*/ 884364 h 1822125"/>
                <a:gd name="connsiteX13" fmla="*/ 106792 w 4011346"/>
                <a:gd name="connsiteY13" fmla="*/ 917736 h 1822125"/>
                <a:gd name="connsiteX14" fmla="*/ 106792 w 4011346"/>
                <a:gd name="connsiteY14" fmla="*/ 947771 h 1822125"/>
                <a:gd name="connsiteX15" fmla="*/ 13349 w 4011346"/>
                <a:gd name="connsiteY15" fmla="*/ 1037876 h 1822125"/>
                <a:gd name="connsiteX16" fmla="*/ 33373 w 4011346"/>
                <a:gd name="connsiteY16" fmla="*/ 1071249 h 1822125"/>
                <a:gd name="connsiteX17" fmla="*/ 33373 w 4011346"/>
                <a:gd name="connsiteY17" fmla="*/ 1071249 h 1822125"/>
                <a:gd name="connsiteX18" fmla="*/ 16687 w 4011346"/>
                <a:gd name="connsiteY18" fmla="*/ 1101284 h 1822125"/>
                <a:gd name="connsiteX19" fmla="*/ 3338 w 4011346"/>
                <a:gd name="connsiteY19" fmla="*/ 1131319 h 1822125"/>
                <a:gd name="connsiteX20" fmla="*/ 0 w 4011346"/>
                <a:gd name="connsiteY20" fmla="*/ 1191389 h 1822125"/>
                <a:gd name="connsiteX21" fmla="*/ 16687 w 4011346"/>
                <a:gd name="connsiteY21" fmla="*/ 1234773 h 1822125"/>
                <a:gd name="connsiteX22" fmla="*/ 20024 w 4011346"/>
                <a:gd name="connsiteY22" fmla="*/ 1268145 h 1822125"/>
                <a:gd name="connsiteX23" fmla="*/ 56733 w 4011346"/>
                <a:gd name="connsiteY23" fmla="*/ 1278157 h 1822125"/>
                <a:gd name="connsiteX24" fmla="*/ 116803 w 4011346"/>
                <a:gd name="connsiteY24" fmla="*/ 1364925 h 1822125"/>
                <a:gd name="connsiteX25" fmla="*/ 96780 w 4011346"/>
                <a:gd name="connsiteY25" fmla="*/ 1388285 h 1822125"/>
                <a:gd name="connsiteX26" fmla="*/ 93443 w 4011346"/>
                <a:gd name="connsiteY26" fmla="*/ 1418320 h 1822125"/>
                <a:gd name="connsiteX27" fmla="*/ 120141 w 4011346"/>
                <a:gd name="connsiteY27" fmla="*/ 1421657 h 1822125"/>
                <a:gd name="connsiteX28" fmla="*/ 160187 w 4011346"/>
                <a:gd name="connsiteY28" fmla="*/ 1435006 h 1822125"/>
                <a:gd name="connsiteX29" fmla="*/ 186885 w 4011346"/>
                <a:gd name="connsiteY29" fmla="*/ 1448355 h 1822125"/>
                <a:gd name="connsiteX30" fmla="*/ 213583 w 4011346"/>
                <a:gd name="connsiteY30" fmla="*/ 1478390 h 1822125"/>
                <a:gd name="connsiteX31" fmla="*/ 243618 w 4011346"/>
                <a:gd name="connsiteY31" fmla="*/ 1481727 h 1822125"/>
                <a:gd name="connsiteX32" fmla="*/ 287002 w 4011346"/>
                <a:gd name="connsiteY32" fmla="*/ 1511763 h 1822125"/>
                <a:gd name="connsiteX33" fmla="*/ 310363 w 4011346"/>
                <a:gd name="connsiteY33" fmla="*/ 1521774 h 1822125"/>
                <a:gd name="connsiteX34" fmla="*/ 310363 w 4011346"/>
                <a:gd name="connsiteY34" fmla="*/ 1558484 h 1822125"/>
                <a:gd name="connsiteX35" fmla="*/ 270316 w 4011346"/>
                <a:gd name="connsiteY35" fmla="*/ 1598530 h 1822125"/>
                <a:gd name="connsiteX36" fmla="*/ 280327 w 4011346"/>
                <a:gd name="connsiteY36" fmla="*/ 1621891 h 1822125"/>
                <a:gd name="connsiteX37" fmla="*/ 273653 w 4011346"/>
                <a:gd name="connsiteY37" fmla="*/ 1641914 h 1822125"/>
                <a:gd name="connsiteX38" fmla="*/ 266979 w 4011346"/>
                <a:gd name="connsiteY38" fmla="*/ 1658600 h 1822125"/>
                <a:gd name="connsiteX39" fmla="*/ 240281 w 4011346"/>
                <a:gd name="connsiteY39" fmla="*/ 1698647 h 1822125"/>
                <a:gd name="connsiteX40" fmla="*/ 307025 w 4011346"/>
                <a:gd name="connsiteY40" fmla="*/ 1735357 h 1822125"/>
                <a:gd name="connsiteX41" fmla="*/ 337060 w 4011346"/>
                <a:gd name="connsiteY41" fmla="*/ 1742031 h 1822125"/>
                <a:gd name="connsiteX42" fmla="*/ 360421 w 4011346"/>
                <a:gd name="connsiteY42" fmla="*/ 1748706 h 1822125"/>
                <a:gd name="connsiteX43" fmla="*/ 380444 w 4011346"/>
                <a:gd name="connsiteY43" fmla="*/ 1755380 h 1822125"/>
                <a:gd name="connsiteX44" fmla="*/ 407142 w 4011346"/>
                <a:gd name="connsiteY44" fmla="*/ 1775403 h 1822125"/>
                <a:gd name="connsiteX45" fmla="*/ 437177 w 4011346"/>
                <a:gd name="connsiteY45" fmla="*/ 1772066 h 1822125"/>
                <a:gd name="connsiteX46" fmla="*/ 507259 w 4011346"/>
                <a:gd name="connsiteY46" fmla="*/ 1822125 h 1822125"/>
                <a:gd name="connsiteX47" fmla="*/ 517271 w 4011346"/>
                <a:gd name="connsiteY47" fmla="*/ 1808776 h 1822125"/>
                <a:gd name="connsiteX48" fmla="*/ 507259 w 4011346"/>
                <a:gd name="connsiteY48" fmla="*/ 1768729 h 1822125"/>
                <a:gd name="connsiteX49" fmla="*/ 500584 w 4011346"/>
                <a:gd name="connsiteY49" fmla="*/ 1735357 h 1822125"/>
                <a:gd name="connsiteX50" fmla="*/ 483898 w 4011346"/>
                <a:gd name="connsiteY50" fmla="*/ 1691973 h 1822125"/>
                <a:gd name="connsiteX51" fmla="*/ 513933 w 4011346"/>
                <a:gd name="connsiteY51" fmla="*/ 1671949 h 1822125"/>
                <a:gd name="connsiteX52" fmla="*/ 547306 w 4011346"/>
                <a:gd name="connsiteY52" fmla="*/ 1648589 h 1822125"/>
                <a:gd name="connsiteX53" fmla="*/ 527282 w 4011346"/>
                <a:gd name="connsiteY53" fmla="*/ 1631903 h 1822125"/>
                <a:gd name="connsiteX54" fmla="*/ 517271 w 4011346"/>
                <a:gd name="connsiteY54" fmla="*/ 1598530 h 1822125"/>
                <a:gd name="connsiteX55" fmla="*/ 480561 w 4011346"/>
                <a:gd name="connsiteY55" fmla="*/ 1581844 h 1822125"/>
                <a:gd name="connsiteX56" fmla="*/ 470549 w 4011346"/>
                <a:gd name="connsiteY56" fmla="*/ 1561821 h 1822125"/>
                <a:gd name="connsiteX57" fmla="*/ 480561 w 4011346"/>
                <a:gd name="connsiteY57" fmla="*/ 1531786 h 1822125"/>
                <a:gd name="connsiteX58" fmla="*/ 490573 w 4011346"/>
                <a:gd name="connsiteY58" fmla="*/ 1491739 h 1822125"/>
                <a:gd name="connsiteX59" fmla="*/ 513933 w 4011346"/>
                <a:gd name="connsiteY59" fmla="*/ 1511763 h 1822125"/>
                <a:gd name="connsiteX60" fmla="*/ 520608 w 4011346"/>
                <a:gd name="connsiteY60" fmla="*/ 1495076 h 1822125"/>
                <a:gd name="connsiteX61" fmla="*/ 543968 w 4011346"/>
                <a:gd name="connsiteY61" fmla="*/ 1458367 h 1822125"/>
                <a:gd name="connsiteX62" fmla="*/ 574003 w 4011346"/>
                <a:gd name="connsiteY62" fmla="*/ 1441681 h 1822125"/>
                <a:gd name="connsiteX63" fmla="*/ 590690 w 4011346"/>
                <a:gd name="connsiteY63" fmla="*/ 1455030 h 1822125"/>
                <a:gd name="connsiteX64" fmla="*/ 610713 w 4011346"/>
                <a:gd name="connsiteY64" fmla="*/ 1428332 h 1822125"/>
                <a:gd name="connsiteX65" fmla="*/ 630736 w 4011346"/>
                <a:gd name="connsiteY65" fmla="*/ 1455030 h 1822125"/>
                <a:gd name="connsiteX66" fmla="*/ 657434 w 4011346"/>
                <a:gd name="connsiteY66" fmla="*/ 1478390 h 1822125"/>
                <a:gd name="connsiteX67" fmla="*/ 674120 w 4011346"/>
                <a:gd name="connsiteY67" fmla="*/ 1485065 h 1822125"/>
                <a:gd name="connsiteX68" fmla="*/ 697481 w 4011346"/>
                <a:gd name="connsiteY68" fmla="*/ 1485065 h 1822125"/>
                <a:gd name="connsiteX69" fmla="*/ 717504 w 4011346"/>
                <a:gd name="connsiteY69" fmla="*/ 1471716 h 1822125"/>
                <a:gd name="connsiteX70" fmla="*/ 744202 w 4011346"/>
                <a:gd name="connsiteY70" fmla="*/ 1471716 h 1822125"/>
                <a:gd name="connsiteX71" fmla="*/ 760888 w 4011346"/>
                <a:gd name="connsiteY71" fmla="*/ 1468379 h 1822125"/>
                <a:gd name="connsiteX72" fmla="*/ 790923 w 4011346"/>
                <a:gd name="connsiteY72" fmla="*/ 1501751 h 1822125"/>
                <a:gd name="connsiteX73" fmla="*/ 797598 w 4011346"/>
                <a:gd name="connsiteY73" fmla="*/ 1475053 h 1822125"/>
                <a:gd name="connsiteX74" fmla="*/ 817621 w 4011346"/>
                <a:gd name="connsiteY74" fmla="*/ 1491739 h 1822125"/>
                <a:gd name="connsiteX75" fmla="*/ 837644 w 4011346"/>
                <a:gd name="connsiteY75" fmla="*/ 1468379 h 1822125"/>
                <a:gd name="connsiteX76" fmla="*/ 827633 w 4011346"/>
                <a:gd name="connsiteY76" fmla="*/ 1448355 h 1822125"/>
                <a:gd name="connsiteX77" fmla="*/ 810946 w 4011346"/>
                <a:gd name="connsiteY77" fmla="*/ 1435006 h 1822125"/>
                <a:gd name="connsiteX78" fmla="*/ 810946 w 4011346"/>
                <a:gd name="connsiteY78" fmla="*/ 1408309 h 1822125"/>
                <a:gd name="connsiteX79" fmla="*/ 810946 w 4011346"/>
                <a:gd name="connsiteY79" fmla="*/ 1394960 h 1822125"/>
                <a:gd name="connsiteX80" fmla="*/ 830970 w 4011346"/>
                <a:gd name="connsiteY80" fmla="*/ 1391622 h 1822125"/>
                <a:gd name="connsiteX81" fmla="*/ 840981 w 4011346"/>
                <a:gd name="connsiteY81" fmla="*/ 1388285 h 1822125"/>
                <a:gd name="connsiteX82" fmla="*/ 820958 w 4011346"/>
                <a:gd name="connsiteY82" fmla="*/ 1351576 h 1822125"/>
                <a:gd name="connsiteX83" fmla="*/ 854330 w 4011346"/>
                <a:gd name="connsiteY83" fmla="*/ 1344901 h 1822125"/>
                <a:gd name="connsiteX84" fmla="*/ 891040 w 4011346"/>
                <a:gd name="connsiteY84" fmla="*/ 1351576 h 1822125"/>
                <a:gd name="connsiteX85" fmla="*/ 964459 w 4011346"/>
                <a:gd name="connsiteY85" fmla="*/ 1308192 h 1822125"/>
                <a:gd name="connsiteX86" fmla="*/ 1001168 w 4011346"/>
                <a:gd name="connsiteY86" fmla="*/ 1308192 h 1822125"/>
                <a:gd name="connsiteX87" fmla="*/ 1027866 w 4011346"/>
                <a:gd name="connsiteY87" fmla="*/ 1284831 h 1822125"/>
                <a:gd name="connsiteX88" fmla="*/ 1047890 w 4011346"/>
                <a:gd name="connsiteY88" fmla="*/ 1294843 h 1822125"/>
                <a:gd name="connsiteX89" fmla="*/ 1067913 w 4011346"/>
                <a:gd name="connsiteY89" fmla="*/ 1304854 h 1822125"/>
                <a:gd name="connsiteX90" fmla="*/ 1087936 w 4011346"/>
                <a:gd name="connsiteY90" fmla="*/ 1331552 h 1822125"/>
                <a:gd name="connsiteX91" fmla="*/ 1074587 w 4011346"/>
                <a:gd name="connsiteY91" fmla="*/ 1344901 h 1822125"/>
                <a:gd name="connsiteX92" fmla="*/ 1104622 w 4011346"/>
                <a:gd name="connsiteY92" fmla="*/ 1344901 h 1822125"/>
                <a:gd name="connsiteX93" fmla="*/ 1107960 w 4011346"/>
                <a:gd name="connsiteY93" fmla="*/ 1361587 h 1822125"/>
                <a:gd name="connsiteX94" fmla="*/ 1121309 w 4011346"/>
                <a:gd name="connsiteY94" fmla="*/ 1344901 h 1822125"/>
                <a:gd name="connsiteX95" fmla="*/ 1134657 w 4011346"/>
                <a:gd name="connsiteY95" fmla="*/ 1358250 h 1822125"/>
                <a:gd name="connsiteX96" fmla="*/ 1134657 w 4011346"/>
                <a:gd name="connsiteY96" fmla="*/ 1378273 h 1822125"/>
                <a:gd name="connsiteX97" fmla="*/ 1148006 w 4011346"/>
                <a:gd name="connsiteY97" fmla="*/ 1374936 h 1822125"/>
                <a:gd name="connsiteX98" fmla="*/ 1208076 w 4011346"/>
                <a:gd name="connsiteY98" fmla="*/ 1328215 h 1822125"/>
                <a:gd name="connsiteX99" fmla="*/ 1211414 w 4011346"/>
                <a:gd name="connsiteY99" fmla="*/ 1348238 h 1822125"/>
                <a:gd name="connsiteX100" fmla="*/ 1244786 w 4011346"/>
                <a:gd name="connsiteY100" fmla="*/ 1368262 h 1822125"/>
                <a:gd name="connsiteX101" fmla="*/ 1264809 w 4011346"/>
                <a:gd name="connsiteY101" fmla="*/ 1398297 h 1822125"/>
                <a:gd name="connsiteX102" fmla="*/ 1298181 w 4011346"/>
                <a:gd name="connsiteY102" fmla="*/ 1505088 h 1822125"/>
                <a:gd name="connsiteX103" fmla="*/ 1308193 w 4011346"/>
                <a:gd name="connsiteY103" fmla="*/ 1461704 h 1822125"/>
                <a:gd name="connsiteX104" fmla="*/ 1344903 w 4011346"/>
                <a:gd name="connsiteY104" fmla="*/ 1481727 h 1822125"/>
                <a:gd name="connsiteX105" fmla="*/ 1388287 w 4011346"/>
                <a:gd name="connsiteY105" fmla="*/ 1481727 h 1822125"/>
                <a:gd name="connsiteX106" fmla="*/ 1394961 w 4011346"/>
                <a:gd name="connsiteY106" fmla="*/ 1505088 h 1822125"/>
                <a:gd name="connsiteX107" fmla="*/ 1435008 w 4011346"/>
                <a:gd name="connsiteY107" fmla="*/ 1528449 h 1822125"/>
                <a:gd name="connsiteX108" fmla="*/ 1465043 w 4011346"/>
                <a:gd name="connsiteY108" fmla="*/ 1528449 h 1822125"/>
                <a:gd name="connsiteX109" fmla="*/ 1491741 w 4011346"/>
                <a:gd name="connsiteY109" fmla="*/ 1541798 h 1822125"/>
                <a:gd name="connsiteX110" fmla="*/ 1535125 w 4011346"/>
                <a:gd name="connsiteY110" fmla="*/ 1498414 h 1822125"/>
                <a:gd name="connsiteX111" fmla="*/ 1571834 w 4011346"/>
                <a:gd name="connsiteY111" fmla="*/ 1478390 h 1822125"/>
                <a:gd name="connsiteX112" fmla="*/ 1608544 w 4011346"/>
                <a:gd name="connsiteY112" fmla="*/ 1481727 h 1822125"/>
                <a:gd name="connsiteX113" fmla="*/ 1655265 w 4011346"/>
                <a:gd name="connsiteY113" fmla="*/ 1495076 h 1822125"/>
                <a:gd name="connsiteX114" fmla="*/ 1681963 w 4011346"/>
                <a:gd name="connsiteY114" fmla="*/ 1511763 h 1822125"/>
                <a:gd name="connsiteX115" fmla="*/ 1735358 w 4011346"/>
                <a:gd name="connsiteY115" fmla="*/ 1505088 h 1822125"/>
                <a:gd name="connsiteX116" fmla="*/ 1745370 w 4011346"/>
                <a:gd name="connsiteY116" fmla="*/ 1485065 h 1822125"/>
                <a:gd name="connsiteX117" fmla="*/ 1738695 w 4011346"/>
                <a:gd name="connsiteY117" fmla="*/ 1465041 h 1822125"/>
                <a:gd name="connsiteX118" fmla="*/ 1765393 w 4011346"/>
                <a:gd name="connsiteY118" fmla="*/ 1438344 h 1822125"/>
                <a:gd name="connsiteX119" fmla="*/ 1778742 w 4011346"/>
                <a:gd name="connsiteY119" fmla="*/ 1435006 h 1822125"/>
                <a:gd name="connsiteX120" fmla="*/ 1812114 w 4011346"/>
                <a:gd name="connsiteY120" fmla="*/ 1451692 h 1822125"/>
                <a:gd name="connsiteX121" fmla="*/ 1852161 w 4011346"/>
                <a:gd name="connsiteY121" fmla="*/ 1465041 h 1822125"/>
                <a:gd name="connsiteX122" fmla="*/ 1858836 w 4011346"/>
                <a:gd name="connsiteY122" fmla="*/ 1491739 h 1822125"/>
                <a:gd name="connsiteX123" fmla="*/ 1872184 w 4011346"/>
                <a:gd name="connsiteY123" fmla="*/ 1498414 h 1822125"/>
                <a:gd name="connsiteX124" fmla="*/ 1902219 w 4011346"/>
                <a:gd name="connsiteY124" fmla="*/ 1501751 h 1822125"/>
                <a:gd name="connsiteX125" fmla="*/ 1932254 w 4011346"/>
                <a:gd name="connsiteY125" fmla="*/ 1485065 h 1822125"/>
                <a:gd name="connsiteX126" fmla="*/ 1962290 w 4011346"/>
                <a:gd name="connsiteY126" fmla="*/ 1498414 h 1822125"/>
                <a:gd name="connsiteX127" fmla="*/ 1985650 w 4011346"/>
                <a:gd name="connsiteY127" fmla="*/ 1511763 h 1822125"/>
                <a:gd name="connsiteX128" fmla="*/ 1995662 w 4011346"/>
                <a:gd name="connsiteY128" fmla="*/ 1521774 h 1822125"/>
                <a:gd name="connsiteX129" fmla="*/ 2032371 w 4011346"/>
                <a:gd name="connsiteY129" fmla="*/ 1541798 h 1822125"/>
                <a:gd name="connsiteX130" fmla="*/ 2069081 w 4011346"/>
                <a:gd name="connsiteY130" fmla="*/ 1538460 h 1822125"/>
                <a:gd name="connsiteX131" fmla="*/ 2142500 w 4011346"/>
                <a:gd name="connsiteY131" fmla="*/ 1495076 h 1822125"/>
                <a:gd name="connsiteX132" fmla="*/ 2195895 w 4011346"/>
                <a:gd name="connsiteY132" fmla="*/ 1508425 h 1822125"/>
                <a:gd name="connsiteX133" fmla="*/ 2225930 w 4011346"/>
                <a:gd name="connsiteY133" fmla="*/ 1518437 h 1822125"/>
                <a:gd name="connsiteX134" fmla="*/ 2259303 w 4011346"/>
                <a:gd name="connsiteY134" fmla="*/ 1505088 h 1822125"/>
                <a:gd name="connsiteX135" fmla="*/ 2262640 w 4011346"/>
                <a:gd name="connsiteY135" fmla="*/ 1478390 h 1822125"/>
                <a:gd name="connsiteX136" fmla="*/ 2282663 w 4011346"/>
                <a:gd name="connsiteY136" fmla="*/ 1448355 h 1822125"/>
                <a:gd name="connsiteX137" fmla="*/ 2299349 w 4011346"/>
                <a:gd name="connsiteY137" fmla="*/ 1394960 h 1822125"/>
                <a:gd name="connsiteX138" fmla="*/ 2282663 w 4011346"/>
                <a:gd name="connsiteY138" fmla="*/ 1398297 h 1822125"/>
                <a:gd name="connsiteX139" fmla="*/ 2312698 w 4011346"/>
                <a:gd name="connsiteY139" fmla="*/ 1371599 h 1822125"/>
                <a:gd name="connsiteX140" fmla="*/ 2339396 w 4011346"/>
                <a:gd name="connsiteY140" fmla="*/ 1368262 h 1822125"/>
                <a:gd name="connsiteX141" fmla="*/ 2396129 w 4011346"/>
                <a:gd name="connsiteY141" fmla="*/ 1378273 h 1822125"/>
                <a:gd name="connsiteX142" fmla="*/ 2436176 w 4011346"/>
                <a:gd name="connsiteY142" fmla="*/ 1404971 h 1822125"/>
                <a:gd name="connsiteX143" fmla="*/ 2462873 w 4011346"/>
                <a:gd name="connsiteY143" fmla="*/ 1435006 h 1822125"/>
                <a:gd name="connsiteX144" fmla="*/ 2469548 w 4011346"/>
                <a:gd name="connsiteY144" fmla="*/ 1471716 h 1822125"/>
                <a:gd name="connsiteX145" fmla="*/ 2476222 w 4011346"/>
                <a:gd name="connsiteY145" fmla="*/ 1511763 h 1822125"/>
                <a:gd name="connsiteX146" fmla="*/ 2486234 w 4011346"/>
                <a:gd name="connsiteY146" fmla="*/ 1531786 h 1822125"/>
                <a:gd name="connsiteX147" fmla="*/ 2529618 w 4011346"/>
                <a:gd name="connsiteY147" fmla="*/ 1545135 h 1822125"/>
                <a:gd name="connsiteX148" fmla="*/ 2549641 w 4011346"/>
                <a:gd name="connsiteY148" fmla="*/ 1565158 h 1822125"/>
                <a:gd name="connsiteX149" fmla="*/ 2562990 w 4011346"/>
                <a:gd name="connsiteY149" fmla="*/ 1598530 h 1822125"/>
                <a:gd name="connsiteX150" fmla="*/ 2586351 w 4011346"/>
                <a:gd name="connsiteY150" fmla="*/ 1591856 h 1822125"/>
                <a:gd name="connsiteX151" fmla="*/ 2606374 w 4011346"/>
                <a:gd name="connsiteY151" fmla="*/ 1581844 h 1822125"/>
                <a:gd name="connsiteX152" fmla="*/ 2639746 w 4011346"/>
                <a:gd name="connsiteY152" fmla="*/ 1565158 h 1822125"/>
                <a:gd name="connsiteX153" fmla="*/ 2643084 w 4011346"/>
                <a:gd name="connsiteY153" fmla="*/ 1581844 h 1822125"/>
                <a:gd name="connsiteX154" fmla="*/ 2626398 w 4011346"/>
                <a:gd name="connsiteY154" fmla="*/ 1611879 h 1822125"/>
                <a:gd name="connsiteX155" fmla="*/ 2616386 w 4011346"/>
                <a:gd name="connsiteY155" fmla="*/ 1648589 h 1822125"/>
                <a:gd name="connsiteX156" fmla="*/ 2603037 w 4011346"/>
                <a:gd name="connsiteY156" fmla="*/ 1701984 h 1822125"/>
                <a:gd name="connsiteX157" fmla="*/ 2579676 w 4011346"/>
                <a:gd name="connsiteY157" fmla="*/ 1675287 h 1822125"/>
                <a:gd name="connsiteX158" fmla="*/ 2552979 w 4011346"/>
                <a:gd name="connsiteY158" fmla="*/ 1698647 h 1822125"/>
                <a:gd name="connsiteX159" fmla="*/ 2559653 w 4011346"/>
                <a:gd name="connsiteY159" fmla="*/ 1725345 h 1822125"/>
                <a:gd name="connsiteX160" fmla="*/ 2559653 w 4011346"/>
                <a:gd name="connsiteY160" fmla="*/ 1762054 h 1822125"/>
                <a:gd name="connsiteX161" fmla="*/ 2549641 w 4011346"/>
                <a:gd name="connsiteY161" fmla="*/ 1782078 h 1822125"/>
                <a:gd name="connsiteX162" fmla="*/ 2589688 w 4011346"/>
                <a:gd name="connsiteY162" fmla="*/ 1762054 h 1822125"/>
                <a:gd name="connsiteX163" fmla="*/ 2626398 w 4011346"/>
                <a:gd name="connsiteY163" fmla="*/ 1772066 h 1822125"/>
                <a:gd name="connsiteX164" fmla="*/ 2653095 w 4011346"/>
                <a:gd name="connsiteY164" fmla="*/ 1748706 h 1822125"/>
                <a:gd name="connsiteX165" fmla="*/ 2683130 w 4011346"/>
                <a:gd name="connsiteY165" fmla="*/ 1695310 h 1822125"/>
                <a:gd name="connsiteX166" fmla="*/ 2753212 w 4011346"/>
                <a:gd name="connsiteY166" fmla="*/ 1608542 h 1822125"/>
                <a:gd name="connsiteX167" fmla="*/ 2783247 w 4011346"/>
                <a:gd name="connsiteY167" fmla="*/ 1538460 h 1822125"/>
                <a:gd name="connsiteX168" fmla="*/ 2803271 w 4011346"/>
                <a:gd name="connsiteY168" fmla="*/ 1435006 h 1822125"/>
                <a:gd name="connsiteX169" fmla="*/ 2793259 w 4011346"/>
                <a:gd name="connsiteY169" fmla="*/ 1384948 h 1822125"/>
                <a:gd name="connsiteX170" fmla="*/ 2769898 w 4011346"/>
                <a:gd name="connsiteY170" fmla="*/ 1351576 h 1822125"/>
                <a:gd name="connsiteX171" fmla="*/ 2726514 w 4011346"/>
                <a:gd name="connsiteY171" fmla="*/ 1351576 h 1822125"/>
                <a:gd name="connsiteX172" fmla="*/ 2699817 w 4011346"/>
                <a:gd name="connsiteY172" fmla="*/ 1351576 h 1822125"/>
                <a:gd name="connsiteX173" fmla="*/ 2683130 w 4011346"/>
                <a:gd name="connsiteY173" fmla="*/ 1331552 h 1822125"/>
                <a:gd name="connsiteX174" fmla="*/ 2669781 w 4011346"/>
                <a:gd name="connsiteY174" fmla="*/ 1311529 h 1822125"/>
                <a:gd name="connsiteX175" fmla="*/ 2763224 w 4011346"/>
                <a:gd name="connsiteY175" fmla="*/ 1194726 h 1822125"/>
                <a:gd name="connsiteX176" fmla="*/ 2846654 w 4011346"/>
                <a:gd name="connsiteY176" fmla="*/ 1127982 h 1822125"/>
                <a:gd name="connsiteX177" fmla="*/ 2890038 w 4011346"/>
                <a:gd name="connsiteY177" fmla="*/ 1104621 h 1822125"/>
                <a:gd name="connsiteX178" fmla="*/ 2933422 w 4011346"/>
                <a:gd name="connsiteY178" fmla="*/ 1124644 h 1822125"/>
                <a:gd name="connsiteX179" fmla="*/ 2950109 w 4011346"/>
                <a:gd name="connsiteY179" fmla="*/ 1107958 h 1822125"/>
                <a:gd name="connsiteX180" fmla="*/ 2993492 w 4011346"/>
                <a:gd name="connsiteY180" fmla="*/ 1124644 h 1822125"/>
                <a:gd name="connsiteX181" fmla="*/ 3006841 w 4011346"/>
                <a:gd name="connsiteY181" fmla="*/ 1091272 h 1822125"/>
                <a:gd name="connsiteX182" fmla="*/ 3053563 w 4011346"/>
                <a:gd name="connsiteY182" fmla="*/ 1101284 h 1822125"/>
                <a:gd name="connsiteX183" fmla="*/ 3070249 w 4011346"/>
                <a:gd name="connsiteY183" fmla="*/ 1117970 h 1822125"/>
                <a:gd name="connsiteX184" fmla="*/ 3060237 w 4011346"/>
                <a:gd name="connsiteY184" fmla="*/ 1137993 h 1822125"/>
                <a:gd name="connsiteX185" fmla="*/ 3123644 w 4011346"/>
                <a:gd name="connsiteY185" fmla="*/ 1121307 h 1822125"/>
                <a:gd name="connsiteX186" fmla="*/ 3140330 w 4011346"/>
                <a:gd name="connsiteY186" fmla="*/ 1107958 h 1822125"/>
                <a:gd name="connsiteX187" fmla="*/ 3123644 w 4011346"/>
                <a:gd name="connsiteY187" fmla="*/ 1094609 h 1822125"/>
                <a:gd name="connsiteX188" fmla="*/ 3143668 w 4011346"/>
                <a:gd name="connsiteY188" fmla="*/ 1054563 h 1822125"/>
                <a:gd name="connsiteX189" fmla="*/ 3190389 w 4011346"/>
                <a:gd name="connsiteY189" fmla="*/ 984481 h 1822125"/>
                <a:gd name="connsiteX190" fmla="*/ 3233773 w 4011346"/>
                <a:gd name="connsiteY190" fmla="*/ 981144 h 1822125"/>
                <a:gd name="connsiteX191" fmla="*/ 3273819 w 4011346"/>
                <a:gd name="connsiteY191" fmla="*/ 991155 h 1822125"/>
                <a:gd name="connsiteX192" fmla="*/ 3277157 w 4011346"/>
                <a:gd name="connsiteY192" fmla="*/ 1047888 h 1822125"/>
                <a:gd name="connsiteX193" fmla="*/ 3320541 w 4011346"/>
                <a:gd name="connsiteY193" fmla="*/ 1004504 h 1822125"/>
                <a:gd name="connsiteX194" fmla="*/ 3343901 w 4011346"/>
                <a:gd name="connsiteY194" fmla="*/ 987818 h 1822125"/>
                <a:gd name="connsiteX195" fmla="*/ 3350576 w 4011346"/>
                <a:gd name="connsiteY195" fmla="*/ 954446 h 1822125"/>
                <a:gd name="connsiteX196" fmla="*/ 3377273 w 4011346"/>
                <a:gd name="connsiteY196" fmla="*/ 937760 h 1822125"/>
                <a:gd name="connsiteX197" fmla="*/ 3407309 w 4011346"/>
                <a:gd name="connsiteY197" fmla="*/ 947771 h 1822125"/>
                <a:gd name="connsiteX198" fmla="*/ 3373936 w 4011346"/>
                <a:gd name="connsiteY198" fmla="*/ 977806 h 1822125"/>
                <a:gd name="connsiteX199" fmla="*/ 3360587 w 4011346"/>
                <a:gd name="connsiteY199" fmla="*/ 1027865 h 1822125"/>
                <a:gd name="connsiteX200" fmla="*/ 3323878 w 4011346"/>
                <a:gd name="connsiteY200" fmla="*/ 1067911 h 1822125"/>
                <a:gd name="connsiteX201" fmla="*/ 3210412 w 4011346"/>
                <a:gd name="connsiteY201" fmla="*/ 1164691 h 1822125"/>
                <a:gd name="connsiteX202" fmla="*/ 3163691 w 4011346"/>
                <a:gd name="connsiteY202" fmla="*/ 1234773 h 1822125"/>
                <a:gd name="connsiteX203" fmla="*/ 3160354 w 4011346"/>
                <a:gd name="connsiteY203" fmla="*/ 1308192 h 1822125"/>
                <a:gd name="connsiteX204" fmla="*/ 3170365 w 4011346"/>
                <a:gd name="connsiteY204" fmla="*/ 1398297 h 1822125"/>
                <a:gd name="connsiteX205" fmla="*/ 3190389 w 4011346"/>
                <a:gd name="connsiteY205" fmla="*/ 1461704 h 1822125"/>
                <a:gd name="connsiteX206" fmla="*/ 3217087 w 4011346"/>
                <a:gd name="connsiteY206" fmla="*/ 1451692 h 1822125"/>
                <a:gd name="connsiteX207" fmla="*/ 3240447 w 4011346"/>
                <a:gd name="connsiteY207" fmla="*/ 1384948 h 1822125"/>
                <a:gd name="connsiteX208" fmla="*/ 3270482 w 4011346"/>
                <a:gd name="connsiteY208" fmla="*/ 1381611 h 1822125"/>
                <a:gd name="connsiteX209" fmla="*/ 3287168 w 4011346"/>
                <a:gd name="connsiteY209" fmla="*/ 1321541 h 1822125"/>
                <a:gd name="connsiteX210" fmla="*/ 3313866 w 4011346"/>
                <a:gd name="connsiteY210" fmla="*/ 1311529 h 1822125"/>
                <a:gd name="connsiteX211" fmla="*/ 3313866 w 4011346"/>
                <a:gd name="connsiteY211" fmla="*/ 1281494 h 1822125"/>
                <a:gd name="connsiteX212" fmla="*/ 3337227 w 4011346"/>
                <a:gd name="connsiteY212" fmla="*/ 1244784 h 1822125"/>
                <a:gd name="connsiteX213" fmla="*/ 3330552 w 4011346"/>
                <a:gd name="connsiteY213" fmla="*/ 1201400 h 1822125"/>
                <a:gd name="connsiteX214" fmla="*/ 3333890 w 4011346"/>
                <a:gd name="connsiteY214" fmla="*/ 1171365 h 1822125"/>
                <a:gd name="connsiteX215" fmla="*/ 3323878 w 4011346"/>
                <a:gd name="connsiteY215" fmla="*/ 1161354 h 1822125"/>
                <a:gd name="connsiteX216" fmla="*/ 3363925 w 4011346"/>
                <a:gd name="connsiteY216" fmla="*/ 1074586 h 1822125"/>
                <a:gd name="connsiteX217" fmla="*/ 3383948 w 4011346"/>
                <a:gd name="connsiteY217" fmla="*/ 1084598 h 1822125"/>
                <a:gd name="connsiteX218" fmla="*/ 3410646 w 4011346"/>
                <a:gd name="connsiteY218" fmla="*/ 1057900 h 1822125"/>
                <a:gd name="connsiteX219" fmla="*/ 3420657 w 4011346"/>
                <a:gd name="connsiteY219" fmla="*/ 1084598 h 1822125"/>
                <a:gd name="connsiteX220" fmla="*/ 3447355 w 4011346"/>
                <a:gd name="connsiteY220" fmla="*/ 1067911 h 1822125"/>
                <a:gd name="connsiteX221" fmla="*/ 3477390 w 4011346"/>
                <a:gd name="connsiteY221" fmla="*/ 1057900 h 1822125"/>
                <a:gd name="connsiteX222" fmla="*/ 3514100 w 4011346"/>
                <a:gd name="connsiteY222" fmla="*/ 1084598 h 1822125"/>
                <a:gd name="connsiteX223" fmla="*/ 3574170 w 4011346"/>
                <a:gd name="connsiteY223" fmla="*/ 1017853 h 1822125"/>
                <a:gd name="connsiteX224" fmla="*/ 3637577 w 4011346"/>
                <a:gd name="connsiteY224" fmla="*/ 971132 h 1822125"/>
                <a:gd name="connsiteX225" fmla="*/ 3690973 w 4011346"/>
                <a:gd name="connsiteY225" fmla="*/ 934422 h 1822125"/>
                <a:gd name="connsiteX226" fmla="*/ 3741031 w 4011346"/>
                <a:gd name="connsiteY226" fmla="*/ 961120 h 1822125"/>
                <a:gd name="connsiteX227" fmla="*/ 3751043 w 4011346"/>
                <a:gd name="connsiteY227" fmla="*/ 934422 h 1822125"/>
                <a:gd name="connsiteX228" fmla="*/ 3727682 w 4011346"/>
                <a:gd name="connsiteY228" fmla="*/ 867678 h 1822125"/>
                <a:gd name="connsiteX229" fmla="*/ 3700984 w 4011346"/>
                <a:gd name="connsiteY229" fmla="*/ 850992 h 1822125"/>
                <a:gd name="connsiteX230" fmla="*/ 3697647 w 4011346"/>
                <a:gd name="connsiteY230" fmla="*/ 820957 h 1822125"/>
                <a:gd name="connsiteX231" fmla="*/ 3751043 w 4011346"/>
                <a:gd name="connsiteY231" fmla="*/ 827631 h 1822125"/>
                <a:gd name="connsiteX232" fmla="*/ 3774403 w 4011346"/>
                <a:gd name="connsiteY232" fmla="*/ 784247 h 1822125"/>
                <a:gd name="connsiteX233" fmla="*/ 3767729 w 4011346"/>
                <a:gd name="connsiteY233" fmla="*/ 757549 h 1822125"/>
                <a:gd name="connsiteX234" fmla="*/ 3794427 w 4011346"/>
                <a:gd name="connsiteY234" fmla="*/ 724177 h 1822125"/>
                <a:gd name="connsiteX235" fmla="*/ 3804438 w 4011346"/>
                <a:gd name="connsiteY235" fmla="*/ 767561 h 1822125"/>
                <a:gd name="connsiteX236" fmla="*/ 3827799 w 4011346"/>
                <a:gd name="connsiteY236" fmla="*/ 784247 h 1822125"/>
                <a:gd name="connsiteX237" fmla="*/ 3874520 w 4011346"/>
                <a:gd name="connsiteY237" fmla="*/ 804271 h 1822125"/>
                <a:gd name="connsiteX238" fmla="*/ 3894544 w 4011346"/>
                <a:gd name="connsiteY238" fmla="*/ 830968 h 1822125"/>
                <a:gd name="connsiteX239" fmla="*/ 3941265 w 4011346"/>
                <a:gd name="connsiteY239" fmla="*/ 854329 h 1822125"/>
                <a:gd name="connsiteX240" fmla="*/ 3947939 w 4011346"/>
                <a:gd name="connsiteY240" fmla="*/ 840980 h 1822125"/>
                <a:gd name="connsiteX241" fmla="*/ 3957951 w 4011346"/>
                <a:gd name="connsiteY241" fmla="*/ 777573 h 1822125"/>
                <a:gd name="connsiteX242" fmla="*/ 4004672 w 4011346"/>
                <a:gd name="connsiteY242" fmla="*/ 770898 h 1822125"/>
                <a:gd name="connsiteX243" fmla="*/ 4011346 w 4011346"/>
                <a:gd name="connsiteY243" fmla="*/ 737526 h 1822125"/>
                <a:gd name="connsiteX244" fmla="*/ 3967963 w 4011346"/>
                <a:gd name="connsiteY244" fmla="*/ 700817 h 1822125"/>
                <a:gd name="connsiteX245" fmla="*/ 3921241 w 4011346"/>
                <a:gd name="connsiteY245" fmla="*/ 684130 h 1822125"/>
                <a:gd name="connsiteX246" fmla="*/ 3907892 w 4011346"/>
                <a:gd name="connsiteY246" fmla="*/ 687468 h 1822125"/>
                <a:gd name="connsiteX247" fmla="*/ 3907892 w 4011346"/>
                <a:gd name="connsiteY247" fmla="*/ 720840 h 1822125"/>
                <a:gd name="connsiteX248" fmla="*/ 3887869 w 4011346"/>
                <a:gd name="connsiteY248" fmla="*/ 714165 h 1822125"/>
                <a:gd name="connsiteX249" fmla="*/ 3874520 w 4011346"/>
                <a:gd name="connsiteY249" fmla="*/ 660770 h 1822125"/>
                <a:gd name="connsiteX250" fmla="*/ 3817787 w 4011346"/>
                <a:gd name="connsiteY250" fmla="*/ 597363 h 1822125"/>
                <a:gd name="connsiteX251" fmla="*/ 3717671 w 4011346"/>
                <a:gd name="connsiteY251" fmla="*/ 520606 h 1822125"/>
                <a:gd name="connsiteX252" fmla="*/ 3664275 w 4011346"/>
                <a:gd name="connsiteY252" fmla="*/ 500583 h 1822125"/>
                <a:gd name="connsiteX253" fmla="*/ 3584181 w 4011346"/>
                <a:gd name="connsiteY253" fmla="*/ 493909 h 1822125"/>
                <a:gd name="connsiteX254" fmla="*/ 3520774 w 4011346"/>
                <a:gd name="connsiteY254" fmla="*/ 477222 h 1822125"/>
                <a:gd name="connsiteX255" fmla="*/ 3530786 w 4011346"/>
                <a:gd name="connsiteY255" fmla="*/ 517269 h 1822125"/>
                <a:gd name="connsiteX256" fmla="*/ 3537460 w 4011346"/>
                <a:gd name="connsiteY256" fmla="*/ 543967 h 1822125"/>
                <a:gd name="connsiteX257" fmla="*/ 3507425 w 4011346"/>
                <a:gd name="connsiteY257" fmla="*/ 567327 h 1822125"/>
                <a:gd name="connsiteX258" fmla="*/ 3477390 w 4011346"/>
                <a:gd name="connsiteY258" fmla="*/ 540630 h 1822125"/>
                <a:gd name="connsiteX259" fmla="*/ 3477390 w 4011346"/>
                <a:gd name="connsiteY259" fmla="*/ 520606 h 1822125"/>
                <a:gd name="connsiteX260" fmla="*/ 3504088 w 4011346"/>
                <a:gd name="connsiteY260" fmla="*/ 500583 h 1822125"/>
                <a:gd name="connsiteX261" fmla="*/ 3467379 w 4011346"/>
                <a:gd name="connsiteY261" fmla="*/ 487234 h 1822125"/>
                <a:gd name="connsiteX262" fmla="*/ 3450692 w 4011346"/>
                <a:gd name="connsiteY262" fmla="*/ 513932 h 1822125"/>
                <a:gd name="connsiteX263" fmla="*/ 3440681 w 4011346"/>
                <a:gd name="connsiteY263" fmla="*/ 527281 h 1822125"/>
                <a:gd name="connsiteX264" fmla="*/ 3357250 w 4011346"/>
                <a:gd name="connsiteY264" fmla="*/ 513932 h 1822125"/>
                <a:gd name="connsiteX265" fmla="*/ 3297180 w 4011346"/>
                <a:gd name="connsiteY265" fmla="*/ 520606 h 1822125"/>
                <a:gd name="connsiteX266" fmla="*/ 3267145 w 4011346"/>
                <a:gd name="connsiteY266" fmla="*/ 497246 h 1822125"/>
                <a:gd name="connsiteX267" fmla="*/ 3267145 w 4011346"/>
                <a:gd name="connsiteY267" fmla="*/ 460536 h 1822125"/>
                <a:gd name="connsiteX268" fmla="*/ 3203738 w 4011346"/>
                <a:gd name="connsiteY268" fmla="*/ 403803 h 1822125"/>
                <a:gd name="connsiteX269" fmla="*/ 3076923 w 4011346"/>
                <a:gd name="connsiteY269" fmla="*/ 410478 h 1822125"/>
                <a:gd name="connsiteX270" fmla="*/ 3043551 w 4011346"/>
                <a:gd name="connsiteY270" fmla="*/ 387117 h 1822125"/>
                <a:gd name="connsiteX271" fmla="*/ 3000167 w 4011346"/>
                <a:gd name="connsiteY271" fmla="*/ 340396 h 1822125"/>
                <a:gd name="connsiteX272" fmla="*/ 3013516 w 4011346"/>
                <a:gd name="connsiteY272" fmla="*/ 333722 h 1822125"/>
                <a:gd name="connsiteX273" fmla="*/ 3000167 w 4011346"/>
                <a:gd name="connsiteY273" fmla="*/ 313698 h 1822125"/>
                <a:gd name="connsiteX274" fmla="*/ 2970132 w 4011346"/>
                <a:gd name="connsiteY274" fmla="*/ 310361 h 1822125"/>
                <a:gd name="connsiteX275" fmla="*/ 2920073 w 4011346"/>
                <a:gd name="connsiteY275" fmla="*/ 357082 h 1822125"/>
                <a:gd name="connsiteX276" fmla="*/ 2920073 w 4011346"/>
                <a:gd name="connsiteY276" fmla="*/ 357082 h 1822125"/>
                <a:gd name="connsiteX277" fmla="*/ 2916736 w 4011346"/>
                <a:gd name="connsiteY277" fmla="*/ 307024 h 1822125"/>
                <a:gd name="connsiteX278" fmla="*/ 2936760 w 4011346"/>
                <a:gd name="connsiteY278" fmla="*/ 303687 h 1822125"/>
                <a:gd name="connsiteX279" fmla="*/ 2866678 w 4011346"/>
                <a:gd name="connsiteY279" fmla="*/ 273652 h 1822125"/>
                <a:gd name="connsiteX280" fmla="*/ 2813282 w 4011346"/>
                <a:gd name="connsiteY280" fmla="*/ 270314 h 1822125"/>
                <a:gd name="connsiteX281" fmla="*/ 2793259 w 4011346"/>
                <a:gd name="connsiteY281" fmla="*/ 293675 h 1822125"/>
                <a:gd name="connsiteX282" fmla="*/ 2743200 w 4011346"/>
                <a:gd name="connsiteY282" fmla="*/ 303687 h 1822125"/>
                <a:gd name="connsiteX283" fmla="*/ 2786584 w 4011346"/>
                <a:gd name="connsiteY283" fmla="*/ 313698 h 1822125"/>
                <a:gd name="connsiteX284" fmla="*/ 2763224 w 4011346"/>
                <a:gd name="connsiteY284" fmla="*/ 333722 h 1822125"/>
                <a:gd name="connsiteX285" fmla="*/ 2769898 w 4011346"/>
                <a:gd name="connsiteY285" fmla="*/ 383780 h 1822125"/>
                <a:gd name="connsiteX286" fmla="*/ 2749875 w 4011346"/>
                <a:gd name="connsiteY286" fmla="*/ 367094 h 1822125"/>
                <a:gd name="connsiteX287" fmla="*/ 2733189 w 4011346"/>
                <a:gd name="connsiteY287" fmla="*/ 380443 h 1822125"/>
                <a:gd name="connsiteX288" fmla="*/ 2666444 w 4011346"/>
                <a:gd name="connsiteY288" fmla="*/ 370431 h 1822125"/>
                <a:gd name="connsiteX289" fmla="*/ 2636409 w 4011346"/>
                <a:gd name="connsiteY289" fmla="*/ 380443 h 1822125"/>
                <a:gd name="connsiteX290" fmla="*/ 2603037 w 4011346"/>
                <a:gd name="connsiteY290" fmla="*/ 340396 h 1822125"/>
                <a:gd name="connsiteX291" fmla="*/ 2569665 w 4011346"/>
                <a:gd name="connsiteY291" fmla="*/ 423827 h 1822125"/>
                <a:gd name="connsiteX292" fmla="*/ 2552979 w 4011346"/>
                <a:gd name="connsiteY292" fmla="*/ 443850 h 1822125"/>
                <a:gd name="connsiteX293" fmla="*/ 2469548 w 4011346"/>
                <a:gd name="connsiteY293" fmla="*/ 307024 h 1822125"/>
                <a:gd name="connsiteX294" fmla="*/ 2446187 w 4011346"/>
                <a:gd name="connsiteY294" fmla="*/ 323710 h 1822125"/>
                <a:gd name="connsiteX295" fmla="*/ 2442850 w 4011346"/>
                <a:gd name="connsiteY295" fmla="*/ 290338 h 1822125"/>
                <a:gd name="connsiteX296" fmla="*/ 2449525 w 4011346"/>
                <a:gd name="connsiteY296" fmla="*/ 220256 h 1822125"/>
                <a:gd name="connsiteX297" fmla="*/ 2386117 w 4011346"/>
                <a:gd name="connsiteY297" fmla="*/ 193558 h 1822125"/>
                <a:gd name="connsiteX298" fmla="*/ 2369431 w 4011346"/>
                <a:gd name="connsiteY298" fmla="*/ 233605 h 1822125"/>
                <a:gd name="connsiteX299" fmla="*/ 2379443 w 4011346"/>
                <a:gd name="connsiteY299" fmla="*/ 256965 h 1822125"/>
                <a:gd name="connsiteX300" fmla="*/ 2376106 w 4011346"/>
                <a:gd name="connsiteY300" fmla="*/ 276989 h 1822125"/>
                <a:gd name="connsiteX301" fmla="*/ 2352745 w 4011346"/>
                <a:gd name="connsiteY301" fmla="*/ 253628 h 1822125"/>
                <a:gd name="connsiteX302" fmla="*/ 2316036 w 4011346"/>
                <a:gd name="connsiteY302" fmla="*/ 260303 h 1822125"/>
                <a:gd name="connsiteX303" fmla="*/ 2272652 w 4011346"/>
                <a:gd name="connsiteY303" fmla="*/ 246954 h 1822125"/>
                <a:gd name="connsiteX304" fmla="*/ 2245954 w 4011346"/>
                <a:gd name="connsiteY304" fmla="*/ 206907 h 1822125"/>
                <a:gd name="connsiteX305" fmla="*/ 2209244 w 4011346"/>
                <a:gd name="connsiteY305" fmla="*/ 203570 h 1822125"/>
                <a:gd name="connsiteX306" fmla="*/ 2159186 w 4011346"/>
                <a:gd name="connsiteY306" fmla="*/ 193558 h 1822125"/>
                <a:gd name="connsiteX307" fmla="*/ 2132488 w 4011346"/>
                <a:gd name="connsiteY307" fmla="*/ 210244 h 1822125"/>
                <a:gd name="connsiteX308" fmla="*/ 2115802 w 4011346"/>
                <a:gd name="connsiteY308" fmla="*/ 223593 h 1822125"/>
                <a:gd name="connsiteX309" fmla="*/ 2115802 w 4011346"/>
                <a:gd name="connsiteY309" fmla="*/ 193558 h 1822125"/>
                <a:gd name="connsiteX310" fmla="*/ 2082430 w 4011346"/>
                <a:gd name="connsiteY310" fmla="*/ 190221 h 1822125"/>
                <a:gd name="connsiteX311" fmla="*/ 2045720 w 4011346"/>
                <a:gd name="connsiteY311" fmla="*/ 163523 h 1822125"/>
                <a:gd name="connsiteX312" fmla="*/ 2025697 w 4011346"/>
                <a:gd name="connsiteY312" fmla="*/ 193558 h 1822125"/>
                <a:gd name="connsiteX313" fmla="*/ 2055732 w 4011346"/>
                <a:gd name="connsiteY313" fmla="*/ 190221 h 1822125"/>
                <a:gd name="connsiteX314" fmla="*/ 2045720 w 4011346"/>
                <a:gd name="connsiteY314" fmla="*/ 216919 h 1822125"/>
                <a:gd name="connsiteX315" fmla="*/ 1988987 w 4011346"/>
                <a:gd name="connsiteY315" fmla="*/ 236942 h 1822125"/>
                <a:gd name="connsiteX316" fmla="*/ 1935592 w 4011346"/>
                <a:gd name="connsiteY316" fmla="*/ 246954 h 1822125"/>
                <a:gd name="connsiteX317" fmla="*/ 1995662 w 4011346"/>
                <a:gd name="connsiteY317" fmla="*/ 190221 h 1822125"/>
                <a:gd name="connsiteX318" fmla="*/ 2055732 w 4011346"/>
                <a:gd name="connsiteY318" fmla="*/ 120139 h 1822125"/>
                <a:gd name="connsiteX319" fmla="*/ 2055732 w 4011346"/>
                <a:gd name="connsiteY319" fmla="*/ 120139 h 1822125"/>
                <a:gd name="connsiteX320" fmla="*/ 1638579 w 4011346"/>
                <a:gd name="connsiteY320" fmla="*/ 0 h 1822125"/>
                <a:gd name="connsiteX321" fmla="*/ 1528449 w 4011346"/>
                <a:gd name="connsiteY321" fmla="*/ 26696 h 1822125"/>
                <a:gd name="connsiteX322" fmla="*/ 1465043 w 4011346"/>
                <a:gd name="connsiteY322" fmla="*/ 110127 h 1822125"/>
                <a:gd name="connsiteX323" fmla="*/ 1448357 w 4011346"/>
                <a:gd name="connsiteY323" fmla="*/ 136825 h 1822125"/>
                <a:gd name="connsiteX324" fmla="*/ 1481729 w 4011346"/>
                <a:gd name="connsiteY324" fmla="*/ 170198 h 1822125"/>
                <a:gd name="connsiteX325" fmla="*/ 1481729 w 4011346"/>
                <a:gd name="connsiteY325" fmla="*/ 200233 h 1822125"/>
                <a:gd name="connsiteX326" fmla="*/ 1458368 w 4011346"/>
                <a:gd name="connsiteY326" fmla="*/ 203570 h 1822125"/>
                <a:gd name="connsiteX327" fmla="*/ 1458368 w 4011346"/>
                <a:gd name="connsiteY327" fmla="*/ 183546 h 1822125"/>
                <a:gd name="connsiteX328" fmla="*/ 1418322 w 4011346"/>
                <a:gd name="connsiteY328" fmla="*/ 193558 h 1822125"/>
                <a:gd name="connsiteX329" fmla="*/ 1368263 w 4011346"/>
                <a:gd name="connsiteY329" fmla="*/ 200233 h 1822125"/>
                <a:gd name="connsiteX330" fmla="*/ 1321542 w 4011346"/>
                <a:gd name="connsiteY330" fmla="*/ 206907 h 1822125"/>
                <a:gd name="connsiteX331" fmla="*/ 1318205 w 4011346"/>
                <a:gd name="connsiteY331" fmla="*/ 293675 h 1822125"/>
                <a:gd name="connsiteX332" fmla="*/ 1358252 w 4011346"/>
                <a:gd name="connsiteY332" fmla="*/ 317036 h 1822125"/>
                <a:gd name="connsiteX333" fmla="*/ 1374938 w 4011346"/>
                <a:gd name="connsiteY333" fmla="*/ 347071 h 1822125"/>
                <a:gd name="connsiteX334" fmla="*/ 1384949 w 4011346"/>
                <a:gd name="connsiteY334" fmla="*/ 370431 h 1822125"/>
                <a:gd name="connsiteX335" fmla="*/ 1394961 w 4011346"/>
                <a:gd name="connsiteY335" fmla="*/ 420490 h 1822125"/>
                <a:gd name="connsiteX336" fmla="*/ 1384949 w 4011346"/>
                <a:gd name="connsiteY336" fmla="*/ 450525 h 1822125"/>
                <a:gd name="connsiteX337" fmla="*/ 1358252 w 4011346"/>
                <a:gd name="connsiteY337" fmla="*/ 417152 h 1822125"/>
                <a:gd name="connsiteX338" fmla="*/ 1361589 w 4011346"/>
                <a:gd name="connsiteY338" fmla="*/ 387117 h 1822125"/>
                <a:gd name="connsiteX339" fmla="*/ 1351577 w 4011346"/>
                <a:gd name="connsiteY339" fmla="*/ 347071 h 1822125"/>
                <a:gd name="connsiteX340" fmla="*/ 1328217 w 4011346"/>
                <a:gd name="connsiteY340" fmla="*/ 353745 h 1822125"/>
                <a:gd name="connsiteX341" fmla="*/ 1281495 w 4011346"/>
                <a:gd name="connsiteY341" fmla="*/ 317036 h 1822125"/>
                <a:gd name="connsiteX342" fmla="*/ 1241449 w 4011346"/>
                <a:gd name="connsiteY342" fmla="*/ 313698 h 1822125"/>
                <a:gd name="connsiteX343" fmla="*/ 1241449 w 4011346"/>
                <a:gd name="connsiteY343" fmla="*/ 360419 h 1822125"/>
                <a:gd name="connsiteX344" fmla="*/ 1201402 w 4011346"/>
                <a:gd name="connsiteY344" fmla="*/ 340396 h 1822125"/>
                <a:gd name="connsiteX345" fmla="*/ 1228100 w 4011346"/>
                <a:gd name="connsiteY345" fmla="*/ 390454 h 1822125"/>
                <a:gd name="connsiteX346" fmla="*/ 1258135 w 4011346"/>
                <a:gd name="connsiteY346" fmla="*/ 400466 h 1822125"/>
                <a:gd name="connsiteX347" fmla="*/ 1258135 w 4011346"/>
                <a:gd name="connsiteY347" fmla="*/ 420490 h 1822125"/>
                <a:gd name="connsiteX348" fmla="*/ 1198065 w 4011346"/>
                <a:gd name="connsiteY348" fmla="*/ 397129 h 1822125"/>
                <a:gd name="connsiteX349" fmla="*/ 1181379 w 4011346"/>
                <a:gd name="connsiteY349" fmla="*/ 397129 h 1822125"/>
                <a:gd name="connsiteX350" fmla="*/ 1178041 w 4011346"/>
                <a:gd name="connsiteY350" fmla="*/ 353745 h 1822125"/>
                <a:gd name="connsiteX351" fmla="*/ 1171367 w 4011346"/>
                <a:gd name="connsiteY351" fmla="*/ 266977 h 1822125"/>
                <a:gd name="connsiteX352" fmla="*/ 1161355 w 4011346"/>
                <a:gd name="connsiteY352" fmla="*/ 337059 h 1822125"/>
                <a:gd name="connsiteX353" fmla="*/ 1137995 w 4011346"/>
                <a:gd name="connsiteY353" fmla="*/ 367094 h 1822125"/>
                <a:gd name="connsiteX354" fmla="*/ 1158018 w 4011346"/>
                <a:gd name="connsiteY354" fmla="*/ 413815 h 1822125"/>
                <a:gd name="connsiteX355" fmla="*/ 1158018 w 4011346"/>
                <a:gd name="connsiteY355" fmla="*/ 447187 h 1822125"/>
                <a:gd name="connsiteX356" fmla="*/ 1141332 w 4011346"/>
                <a:gd name="connsiteY356" fmla="*/ 497246 h 1822125"/>
                <a:gd name="connsiteX357" fmla="*/ 1154681 w 4011346"/>
                <a:gd name="connsiteY357" fmla="*/ 530618 h 1822125"/>
                <a:gd name="connsiteX358" fmla="*/ 1184716 w 4011346"/>
                <a:gd name="connsiteY358" fmla="*/ 537292 h 1822125"/>
                <a:gd name="connsiteX359" fmla="*/ 1221425 w 4011346"/>
                <a:gd name="connsiteY359" fmla="*/ 543967 h 1822125"/>
                <a:gd name="connsiteX360" fmla="*/ 1241449 w 4011346"/>
                <a:gd name="connsiteY360" fmla="*/ 567327 h 1822125"/>
                <a:gd name="connsiteX361" fmla="*/ 1258135 w 4011346"/>
                <a:gd name="connsiteY361" fmla="*/ 610711 h 1822125"/>
                <a:gd name="connsiteX362" fmla="*/ 1258135 w 4011346"/>
                <a:gd name="connsiteY362" fmla="*/ 610711 h 1822125"/>
                <a:gd name="connsiteX363" fmla="*/ 1254798 w 4011346"/>
                <a:gd name="connsiteY363" fmla="*/ 644084 h 1822125"/>
                <a:gd name="connsiteX364" fmla="*/ 1274821 w 4011346"/>
                <a:gd name="connsiteY364" fmla="*/ 664107 h 1822125"/>
                <a:gd name="connsiteX365" fmla="*/ 1244786 w 4011346"/>
                <a:gd name="connsiteY365" fmla="*/ 670782 h 1822125"/>
                <a:gd name="connsiteX366" fmla="*/ 1224763 w 4011346"/>
                <a:gd name="connsiteY366" fmla="*/ 630735 h 1822125"/>
                <a:gd name="connsiteX367" fmla="*/ 1224763 w 4011346"/>
                <a:gd name="connsiteY367" fmla="*/ 590688 h 1822125"/>
                <a:gd name="connsiteX368" fmla="*/ 1194727 w 4011346"/>
                <a:gd name="connsiteY368" fmla="*/ 553979 h 1822125"/>
                <a:gd name="connsiteX369" fmla="*/ 1164692 w 4011346"/>
                <a:gd name="connsiteY369" fmla="*/ 597363 h 1822125"/>
                <a:gd name="connsiteX370" fmla="*/ 1178041 w 4011346"/>
                <a:gd name="connsiteY370" fmla="*/ 640746 h 1822125"/>
                <a:gd name="connsiteX371" fmla="*/ 1137995 w 4011346"/>
                <a:gd name="connsiteY371" fmla="*/ 697479 h 1822125"/>
                <a:gd name="connsiteX372" fmla="*/ 1097948 w 4011346"/>
                <a:gd name="connsiteY372" fmla="*/ 754212 h 1822125"/>
                <a:gd name="connsiteX373" fmla="*/ 1007843 w 4011346"/>
                <a:gd name="connsiteY373" fmla="*/ 717503 h 1822125"/>
                <a:gd name="connsiteX374" fmla="*/ 1074587 w 4011346"/>
                <a:gd name="connsiteY374" fmla="*/ 714165 h 1822125"/>
                <a:gd name="connsiteX375" fmla="*/ 1107960 w 4011346"/>
                <a:gd name="connsiteY375" fmla="*/ 650758 h 1822125"/>
                <a:gd name="connsiteX376" fmla="*/ 1121309 w 4011346"/>
                <a:gd name="connsiteY376" fmla="*/ 607374 h 1822125"/>
                <a:gd name="connsiteX377" fmla="*/ 1127983 w 4011346"/>
                <a:gd name="connsiteY377" fmla="*/ 574002 h 1822125"/>
                <a:gd name="connsiteX378" fmla="*/ 1117971 w 4011346"/>
                <a:gd name="connsiteY378" fmla="*/ 557316 h 1822125"/>
                <a:gd name="connsiteX379" fmla="*/ 1114634 w 4011346"/>
                <a:gd name="connsiteY379" fmla="*/ 507257 h 1822125"/>
                <a:gd name="connsiteX380" fmla="*/ 1104622 w 4011346"/>
                <a:gd name="connsiteY380" fmla="*/ 427164 h 1822125"/>
                <a:gd name="connsiteX381" fmla="*/ 1101285 w 4011346"/>
                <a:gd name="connsiteY381" fmla="*/ 367094 h 1822125"/>
                <a:gd name="connsiteX382" fmla="*/ 1124646 w 4011346"/>
                <a:gd name="connsiteY382" fmla="*/ 273652 h 1822125"/>
                <a:gd name="connsiteX383" fmla="*/ 1031203 w 4011346"/>
                <a:gd name="connsiteY383" fmla="*/ 263640 h 1822125"/>
                <a:gd name="connsiteX384" fmla="*/ 1014517 w 4011346"/>
                <a:gd name="connsiteY384" fmla="*/ 320373 h 1822125"/>
                <a:gd name="connsiteX385" fmla="*/ 1024529 w 4011346"/>
                <a:gd name="connsiteY385" fmla="*/ 367094 h 1822125"/>
                <a:gd name="connsiteX386" fmla="*/ 981145 w 4011346"/>
                <a:gd name="connsiteY386" fmla="*/ 420490 h 1822125"/>
                <a:gd name="connsiteX387" fmla="*/ 991157 w 4011346"/>
                <a:gd name="connsiteY387" fmla="*/ 457199 h 1822125"/>
                <a:gd name="connsiteX388" fmla="*/ 981145 w 4011346"/>
                <a:gd name="connsiteY388" fmla="*/ 503920 h 1822125"/>
                <a:gd name="connsiteX389" fmla="*/ 1001168 w 4011346"/>
                <a:gd name="connsiteY389" fmla="*/ 527281 h 1822125"/>
                <a:gd name="connsiteX390" fmla="*/ 1017854 w 4011346"/>
                <a:gd name="connsiteY390" fmla="*/ 574002 h 1822125"/>
                <a:gd name="connsiteX391" fmla="*/ 1047890 w 4011346"/>
                <a:gd name="connsiteY391" fmla="*/ 560653 h 1822125"/>
                <a:gd name="connsiteX392" fmla="*/ 1014517 w 4011346"/>
                <a:gd name="connsiteY392" fmla="*/ 614049 h 1822125"/>
                <a:gd name="connsiteX393" fmla="*/ 957784 w 4011346"/>
                <a:gd name="connsiteY393" fmla="*/ 560653 h 1822125"/>
                <a:gd name="connsiteX394" fmla="*/ 884365 w 4011346"/>
                <a:gd name="connsiteY394" fmla="*/ 523944 h 1822125"/>
                <a:gd name="connsiteX395" fmla="*/ 824295 w 4011346"/>
                <a:gd name="connsiteY395" fmla="*/ 500583 h 1822125"/>
                <a:gd name="connsiteX396" fmla="*/ 810946 w 4011346"/>
                <a:gd name="connsiteY396" fmla="*/ 537292 h 1822125"/>
                <a:gd name="connsiteX397" fmla="*/ 827633 w 4011346"/>
                <a:gd name="connsiteY397" fmla="*/ 574002 h 1822125"/>
                <a:gd name="connsiteX398" fmla="*/ 814284 w 4011346"/>
                <a:gd name="connsiteY398" fmla="*/ 597363 h 1822125"/>
                <a:gd name="connsiteX399" fmla="*/ 800935 w 4011346"/>
                <a:gd name="connsiteY399" fmla="*/ 614049 h 1822125"/>
                <a:gd name="connsiteX400" fmla="*/ 770900 w 4011346"/>
                <a:gd name="connsiteY400" fmla="*/ 557316 h 1822125"/>
                <a:gd name="connsiteX401" fmla="*/ 744202 w 4011346"/>
                <a:gd name="connsiteY401" fmla="*/ 594025 h 1822125"/>
                <a:gd name="connsiteX402" fmla="*/ 707492 w 4011346"/>
                <a:gd name="connsiteY402" fmla="*/ 587351 h 1822125"/>
                <a:gd name="connsiteX403" fmla="*/ 654097 w 4011346"/>
                <a:gd name="connsiteY403" fmla="*/ 624060 h 1822125"/>
                <a:gd name="connsiteX404" fmla="*/ 644085 w 4011346"/>
                <a:gd name="connsiteY404" fmla="*/ 600700 h 1822125"/>
                <a:gd name="connsiteX405" fmla="*/ 654097 w 4011346"/>
                <a:gd name="connsiteY405" fmla="*/ 563990 h 1822125"/>
                <a:gd name="connsiteX406" fmla="*/ 614050 w 4011346"/>
                <a:gd name="connsiteY406" fmla="*/ 600700 h 1822125"/>
                <a:gd name="connsiteX407" fmla="*/ 594027 w 4011346"/>
                <a:gd name="connsiteY407" fmla="*/ 600700 h 1822125"/>
                <a:gd name="connsiteX408" fmla="*/ 533957 w 4011346"/>
                <a:gd name="connsiteY408" fmla="*/ 634072 h 1822125"/>
                <a:gd name="connsiteX409" fmla="*/ 510596 w 4011346"/>
                <a:gd name="connsiteY409" fmla="*/ 657433 h 1822125"/>
                <a:gd name="connsiteX410" fmla="*/ 500584 w 4011346"/>
                <a:gd name="connsiteY410" fmla="*/ 704154 h 1822125"/>
                <a:gd name="connsiteX411" fmla="*/ 450526 w 4011346"/>
                <a:gd name="connsiteY411" fmla="*/ 690805 h 1822125"/>
                <a:gd name="connsiteX412" fmla="*/ 433840 w 4011346"/>
                <a:gd name="connsiteY412" fmla="*/ 654095 h 1822125"/>
                <a:gd name="connsiteX413" fmla="*/ 467212 w 4011346"/>
                <a:gd name="connsiteY413" fmla="*/ 624060 h 1822125"/>
                <a:gd name="connsiteX414" fmla="*/ 453863 w 4011346"/>
                <a:gd name="connsiteY414" fmla="*/ 600700 h 1822125"/>
                <a:gd name="connsiteX415" fmla="*/ 390456 w 4011346"/>
                <a:gd name="connsiteY415" fmla="*/ 570665 h 1822125"/>
                <a:gd name="connsiteX416" fmla="*/ 417154 w 4011346"/>
                <a:gd name="connsiteY416" fmla="*/ 620723 h 1822125"/>
                <a:gd name="connsiteX417" fmla="*/ 407142 w 4011346"/>
                <a:gd name="connsiteY417" fmla="*/ 664107 h 1822125"/>
                <a:gd name="connsiteX418" fmla="*/ 413817 w 4011346"/>
                <a:gd name="connsiteY418" fmla="*/ 700817 h 1822125"/>
                <a:gd name="connsiteX419" fmla="*/ 427165 w 4011346"/>
                <a:gd name="connsiteY419" fmla="*/ 724177 h 1822125"/>
                <a:gd name="connsiteX420" fmla="*/ 413817 w 4011346"/>
                <a:gd name="connsiteY420" fmla="*/ 754212 h 1822125"/>
                <a:gd name="connsiteX421" fmla="*/ 390456 w 4011346"/>
                <a:gd name="connsiteY421" fmla="*/ 730852 h 1822125"/>
                <a:gd name="connsiteX422" fmla="*/ 360421 w 4011346"/>
                <a:gd name="connsiteY422" fmla="*/ 727514 h 1822125"/>
                <a:gd name="connsiteX423" fmla="*/ 333723 w 4011346"/>
                <a:gd name="connsiteY423" fmla="*/ 767561 h 1822125"/>
                <a:gd name="connsiteX424" fmla="*/ 307025 w 4011346"/>
                <a:gd name="connsiteY424" fmla="*/ 787584 h 1822125"/>
                <a:gd name="connsiteX425" fmla="*/ 320374 w 4011346"/>
                <a:gd name="connsiteY425" fmla="*/ 814282 h 1822125"/>
                <a:gd name="connsiteX426" fmla="*/ 303688 w 4011346"/>
                <a:gd name="connsiteY426" fmla="*/ 837643 h 1822125"/>
                <a:gd name="connsiteX427" fmla="*/ 233606 w 4011346"/>
                <a:gd name="connsiteY427" fmla="*/ 800933 h 1822125"/>
                <a:gd name="connsiteX428" fmla="*/ 243618 w 4011346"/>
                <a:gd name="connsiteY428" fmla="*/ 850992 h 1822125"/>
                <a:gd name="connsiteX429" fmla="*/ 263641 w 4011346"/>
                <a:gd name="connsiteY429" fmla="*/ 871015 h 1822125"/>
                <a:gd name="connsiteX430" fmla="*/ 250292 w 4011346"/>
                <a:gd name="connsiteY430" fmla="*/ 884364 h 1822125"/>
                <a:gd name="connsiteX431" fmla="*/ 193560 w 4011346"/>
                <a:gd name="connsiteY431" fmla="*/ 847654 h 1822125"/>
                <a:gd name="connsiteX432" fmla="*/ 170199 w 4011346"/>
                <a:gd name="connsiteY432" fmla="*/ 807608 h 1822125"/>
                <a:gd name="connsiteX433" fmla="*/ 170199 w 4011346"/>
                <a:gd name="connsiteY433" fmla="*/ 760887 h 1822125"/>
                <a:gd name="connsiteX434" fmla="*/ 133490 w 4011346"/>
                <a:gd name="connsiteY434" fmla="*/ 684130 h 1822125"/>
                <a:gd name="connsiteX435" fmla="*/ 196897 w 4011346"/>
                <a:gd name="connsiteY435" fmla="*/ 714165 h 1822125"/>
                <a:gd name="connsiteX436" fmla="*/ 256967 w 4011346"/>
                <a:gd name="connsiteY436" fmla="*/ 744200 h 1822125"/>
                <a:gd name="connsiteX437" fmla="*/ 293676 w 4011346"/>
                <a:gd name="connsiteY437" fmla="*/ 747538 h 1822125"/>
                <a:gd name="connsiteX438" fmla="*/ 327049 w 4011346"/>
                <a:gd name="connsiteY438" fmla="*/ 717503 h 1822125"/>
                <a:gd name="connsiteX439" fmla="*/ 343735 w 4011346"/>
                <a:gd name="connsiteY439" fmla="*/ 680793 h 1822125"/>
                <a:gd name="connsiteX440" fmla="*/ 333723 w 4011346"/>
                <a:gd name="connsiteY440" fmla="*/ 630735 h 1822125"/>
                <a:gd name="connsiteX441" fmla="*/ 290339 w 4011346"/>
                <a:gd name="connsiteY441" fmla="*/ 610711 h 1822125"/>
                <a:gd name="connsiteX442" fmla="*/ 236944 w 4011346"/>
                <a:gd name="connsiteY442" fmla="*/ 563990 h 1822125"/>
                <a:gd name="connsiteX443" fmla="*/ 133490 w 4011346"/>
                <a:gd name="connsiteY443" fmla="*/ 507257 h 1822125"/>
                <a:gd name="connsiteX0" fmla="*/ 133490 w 4011346"/>
                <a:gd name="connsiteY0" fmla="*/ 507257 h 1822125"/>
                <a:gd name="connsiteX1" fmla="*/ 46722 w 4011346"/>
                <a:gd name="connsiteY1" fmla="*/ 537292 h 1822125"/>
                <a:gd name="connsiteX2" fmla="*/ 33373 w 4011346"/>
                <a:gd name="connsiteY2" fmla="*/ 567327 h 1822125"/>
                <a:gd name="connsiteX3" fmla="*/ 43384 w 4011346"/>
                <a:gd name="connsiteY3" fmla="*/ 597363 h 1822125"/>
                <a:gd name="connsiteX4" fmla="*/ 60071 w 4011346"/>
                <a:gd name="connsiteY4" fmla="*/ 624060 h 1822125"/>
                <a:gd name="connsiteX5" fmla="*/ 73419 w 4011346"/>
                <a:gd name="connsiteY5" fmla="*/ 654095 h 1822125"/>
                <a:gd name="connsiteX6" fmla="*/ 56733 w 4011346"/>
                <a:gd name="connsiteY6" fmla="*/ 677456 h 1822125"/>
                <a:gd name="connsiteX7" fmla="*/ 76757 w 4011346"/>
                <a:gd name="connsiteY7" fmla="*/ 757549 h 1822125"/>
                <a:gd name="connsiteX8" fmla="*/ 66745 w 4011346"/>
                <a:gd name="connsiteY8" fmla="*/ 774236 h 1822125"/>
                <a:gd name="connsiteX9" fmla="*/ 70082 w 4011346"/>
                <a:gd name="connsiteY9" fmla="*/ 800933 h 1822125"/>
                <a:gd name="connsiteX10" fmla="*/ 70082 w 4011346"/>
                <a:gd name="connsiteY10" fmla="*/ 840980 h 1822125"/>
                <a:gd name="connsiteX11" fmla="*/ 80094 w 4011346"/>
                <a:gd name="connsiteY11" fmla="*/ 861003 h 1822125"/>
                <a:gd name="connsiteX12" fmla="*/ 76757 w 4011346"/>
                <a:gd name="connsiteY12" fmla="*/ 884364 h 1822125"/>
                <a:gd name="connsiteX13" fmla="*/ 106792 w 4011346"/>
                <a:gd name="connsiteY13" fmla="*/ 917736 h 1822125"/>
                <a:gd name="connsiteX14" fmla="*/ 106792 w 4011346"/>
                <a:gd name="connsiteY14" fmla="*/ 947771 h 1822125"/>
                <a:gd name="connsiteX15" fmla="*/ 13349 w 4011346"/>
                <a:gd name="connsiteY15" fmla="*/ 1037876 h 1822125"/>
                <a:gd name="connsiteX16" fmla="*/ 33373 w 4011346"/>
                <a:gd name="connsiteY16" fmla="*/ 1071249 h 1822125"/>
                <a:gd name="connsiteX17" fmla="*/ 33373 w 4011346"/>
                <a:gd name="connsiteY17" fmla="*/ 1071249 h 1822125"/>
                <a:gd name="connsiteX18" fmla="*/ 16687 w 4011346"/>
                <a:gd name="connsiteY18" fmla="*/ 1101284 h 1822125"/>
                <a:gd name="connsiteX19" fmla="*/ 3338 w 4011346"/>
                <a:gd name="connsiteY19" fmla="*/ 1131319 h 1822125"/>
                <a:gd name="connsiteX20" fmla="*/ 0 w 4011346"/>
                <a:gd name="connsiteY20" fmla="*/ 1191389 h 1822125"/>
                <a:gd name="connsiteX21" fmla="*/ 16687 w 4011346"/>
                <a:gd name="connsiteY21" fmla="*/ 1234773 h 1822125"/>
                <a:gd name="connsiteX22" fmla="*/ 20024 w 4011346"/>
                <a:gd name="connsiteY22" fmla="*/ 1268145 h 1822125"/>
                <a:gd name="connsiteX23" fmla="*/ 56733 w 4011346"/>
                <a:gd name="connsiteY23" fmla="*/ 1278157 h 1822125"/>
                <a:gd name="connsiteX24" fmla="*/ 116803 w 4011346"/>
                <a:gd name="connsiteY24" fmla="*/ 1364925 h 1822125"/>
                <a:gd name="connsiteX25" fmla="*/ 96780 w 4011346"/>
                <a:gd name="connsiteY25" fmla="*/ 1388285 h 1822125"/>
                <a:gd name="connsiteX26" fmla="*/ 93443 w 4011346"/>
                <a:gd name="connsiteY26" fmla="*/ 1418320 h 1822125"/>
                <a:gd name="connsiteX27" fmla="*/ 120141 w 4011346"/>
                <a:gd name="connsiteY27" fmla="*/ 1421657 h 1822125"/>
                <a:gd name="connsiteX28" fmla="*/ 160187 w 4011346"/>
                <a:gd name="connsiteY28" fmla="*/ 1435006 h 1822125"/>
                <a:gd name="connsiteX29" fmla="*/ 186885 w 4011346"/>
                <a:gd name="connsiteY29" fmla="*/ 1448355 h 1822125"/>
                <a:gd name="connsiteX30" fmla="*/ 213583 w 4011346"/>
                <a:gd name="connsiteY30" fmla="*/ 1478390 h 1822125"/>
                <a:gd name="connsiteX31" fmla="*/ 243618 w 4011346"/>
                <a:gd name="connsiteY31" fmla="*/ 1481727 h 1822125"/>
                <a:gd name="connsiteX32" fmla="*/ 287002 w 4011346"/>
                <a:gd name="connsiteY32" fmla="*/ 1511763 h 1822125"/>
                <a:gd name="connsiteX33" fmla="*/ 310363 w 4011346"/>
                <a:gd name="connsiteY33" fmla="*/ 1521774 h 1822125"/>
                <a:gd name="connsiteX34" fmla="*/ 310363 w 4011346"/>
                <a:gd name="connsiteY34" fmla="*/ 1558484 h 1822125"/>
                <a:gd name="connsiteX35" fmla="*/ 270316 w 4011346"/>
                <a:gd name="connsiteY35" fmla="*/ 1598530 h 1822125"/>
                <a:gd name="connsiteX36" fmla="*/ 280327 w 4011346"/>
                <a:gd name="connsiteY36" fmla="*/ 1621891 h 1822125"/>
                <a:gd name="connsiteX37" fmla="*/ 273653 w 4011346"/>
                <a:gd name="connsiteY37" fmla="*/ 1641914 h 1822125"/>
                <a:gd name="connsiteX38" fmla="*/ 266979 w 4011346"/>
                <a:gd name="connsiteY38" fmla="*/ 1658600 h 1822125"/>
                <a:gd name="connsiteX39" fmla="*/ 240281 w 4011346"/>
                <a:gd name="connsiteY39" fmla="*/ 1698647 h 1822125"/>
                <a:gd name="connsiteX40" fmla="*/ 307025 w 4011346"/>
                <a:gd name="connsiteY40" fmla="*/ 1735357 h 1822125"/>
                <a:gd name="connsiteX41" fmla="*/ 337060 w 4011346"/>
                <a:gd name="connsiteY41" fmla="*/ 1742031 h 1822125"/>
                <a:gd name="connsiteX42" fmla="*/ 360421 w 4011346"/>
                <a:gd name="connsiteY42" fmla="*/ 1748706 h 1822125"/>
                <a:gd name="connsiteX43" fmla="*/ 380444 w 4011346"/>
                <a:gd name="connsiteY43" fmla="*/ 1755380 h 1822125"/>
                <a:gd name="connsiteX44" fmla="*/ 407142 w 4011346"/>
                <a:gd name="connsiteY44" fmla="*/ 1775403 h 1822125"/>
                <a:gd name="connsiteX45" fmla="*/ 437177 w 4011346"/>
                <a:gd name="connsiteY45" fmla="*/ 1772066 h 1822125"/>
                <a:gd name="connsiteX46" fmla="*/ 507259 w 4011346"/>
                <a:gd name="connsiteY46" fmla="*/ 1822125 h 1822125"/>
                <a:gd name="connsiteX47" fmla="*/ 517271 w 4011346"/>
                <a:gd name="connsiteY47" fmla="*/ 1808776 h 1822125"/>
                <a:gd name="connsiteX48" fmla="*/ 507259 w 4011346"/>
                <a:gd name="connsiteY48" fmla="*/ 1768729 h 1822125"/>
                <a:gd name="connsiteX49" fmla="*/ 500584 w 4011346"/>
                <a:gd name="connsiteY49" fmla="*/ 1735357 h 1822125"/>
                <a:gd name="connsiteX50" fmla="*/ 483898 w 4011346"/>
                <a:gd name="connsiteY50" fmla="*/ 1691973 h 1822125"/>
                <a:gd name="connsiteX51" fmla="*/ 513933 w 4011346"/>
                <a:gd name="connsiteY51" fmla="*/ 1671949 h 1822125"/>
                <a:gd name="connsiteX52" fmla="*/ 547306 w 4011346"/>
                <a:gd name="connsiteY52" fmla="*/ 1648589 h 1822125"/>
                <a:gd name="connsiteX53" fmla="*/ 527282 w 4011346"/>
                <a:gd name="connsiteY53" fmla="*/ 1631903 h 1822125"/>
                <a:gd name="connsiteX54" fmla="*/ 517271 w 4011346"/>
                <a:gd name="connsiteY54" fmla="*/ 1598530 h 1822125"/>
                <a:gd name="connsiteX55" fmla="*/ 480561 w 4011346"/>
                <a:gd name="connsiteY55" fmla="*/ 1581844 h 1822125"/>
                <a:gd name="connsiteX56" fmla="*/ 470549 w 4011346"/>
                <a:gd name="connsiteY56" fmla="*/ 1561821 h 1822125"/>
                <a:gd name="connsiteX57" fmla="*/ 480561 w 4011346"/>
                <a:gd name="connsiteY57" fmla="*/ 1531786 h 1822125"/>
                <a:gd name="connsiteX58" fmla="*/ 490573 w 4011346"/>
                <a:gd name="connsiteY58" fmla="*/ 1491739 h 1822125"/>
                <a:gd name="connsiteX59" fmla="*/ 513933 w 4011346"/>
                <a:gd name="connsiteY59" fmla="*/ 1511763 h 1822125"/>
                <a:gd name="connsiteX60" fmla="*/ 520608 w 4011346"/>
                <a:gd name="connsiteY60" fmla="*/ 1495076 h 1822125"/>
                <a:gd name="connsiteX61" fmla="*/ 543968 w 4011346"/>
                <a:gd name="connsiteY61" fmla="*/ 1458367 h 1822125"/>
                <a:gd name="connsiteX62" fmla="*/ 574003 w 4011346"/>
                <a:gd name="connsiteY62" fmla="*/ 1441681 h 1822125"/>
                <a:gd name="connsiteX63" fmla="*/ 590690 w 4011346"/>
                <a:gd name="connsiteY63" fmla="*/ 1455030 h 1822125"/>
                <a:gd name="connsiteX64" fmla="*/ 610713 w 4011346"/>
                <a:gd name="connsiteY64" fmla="*/ 1428332 h 1822125"/>
                <a:gd name="connsiteX65" fmla="*/ 630736 w 4011346"/>
                <a:gd name="connsiteY65" fmla="*/ 1455030 h 1822125"/>
                <a:gd name="connsiteX66" fmla="*/ 657434 w 4011346"/>
                <a:gd name="connsiteY66" fmla="*/ 1478390 h 1822125"/>
                <a:gd name="connsiteX67" fmla="*/ 674120 w 4011346"/>
                <a:gd name="connsiteY67" fmla="*/ 1485065 h 1822125"/>
                <a:gd name="connsiteX68" fmla="*/ 697481 w 4011346"/>
                <a:gd name="connsiteY68" fmla="*/ 1485065 h 1822125"/>
                <a:gd name="connsiteX69" fmla="*/ 717504 w 4011346"/>
                <a:gd name="connsiteY69" fmla="*/ 1471716 h 1822125"/>
                <a:gd name="connsiteX70" fmla="*/ 744202 w 4011346"/>
                <a:gd name="connsiteY70" fmla="*/ 1471716 h 1822125"/>
                <a:gd name="connsiteX71" fmla="*/ 760888 w 4011346"/>
                <a:gd name="connsiteY71" fmla="*/ 1468379 h 1822125"/>
                <a:gd name="connsiteX72" fmla="*/ 790923 w 4011346"/>
                <a:gd name="connsiteY72" fmla="*/ 1501751 h 1822125"/>
                <a:gd name="connsiteX73" fmla="*/ 797598 w 4011346"/>
                <a:gd name="connsiteY73" fmla="*/ 1475053 h 1822125"/>
                <a:gd name="connsiteX74" fmla="*/ 817621 w 4011346"/>
                <a:gd name="connsiteY74" fmla="*/ 1491739 h 1822125"/>
                <a:gd name="connsiteX75" fmla="*/ 837644 w 4011346"/>
                <a:gd name="connsiteY75" fmla="*/ 1468379 h 1822125"/>
                <a:gd name="connsiteX76" fmla="*/ 827633 w 4011346"/>
                <a:gd name="connsiteY76" fmla="*/ 1448355 h 1822125"/>
                <a:gd name="connsiteX77" fmla="*/ 810946 w 4011346"/>
                <a:gd name="connsiteY77" fmla="*/ 1435006 h 1822125"/>
                <a:gd name="connsiteX78" fmla="*/ 810946 w 4011346"/>
                <a:gd name="connsiteY78" fmla="*/ 1408309 h 1822125"/>
                <a:gd name="connsiteX79" fmla="*/ 810946 w 4011346"/>
                <a:gd name="connsiteY79" fmla="*/ 1394960 h 1822125"/>
                <a:gd name="connsiteX80" fmla="*/ 830970 w 4011346"/>
                <a:gd name="connsiteY80" fmla="*/ 1391622 h 1822125"/>
                <a:gd name="connsiteX81" fmla="*/ 840981 w 4011346"/>
                <a:gd name="connsiteY81" fmla="*/ 1388285 h 1822125"/>
                <a:gd name="connsiteX82" fmla="*/ 820958 w 4011346"/>
                <a:gd name="connsiteY82" fmla="*/ 1351576 h 1822125"/>
                <a:gd name="connsiteX83" fmla="*/ 854330 w 4011346"/>
                <a:gd name="connsiteY83" fmla="*/ 1344901 h 1822125"/>
                <a:gd name="connsiteX84" fmla="*/ 891040 w 4011346"/>
                <a:gd name="connsiteY84" fmla="*/ 1351576 h 1822125"/>
                <a:gd name="connsiteX85" fmla="*/ 964459 w 4011346"/>
                <a:gd name="connsiteY85" fmla="*/ 1308192 h 1822125"/>
                <a:gd name="connsiteX86" fmla="*/ 1001168 w 4011346"/>
                <a:gd name="connsiteY86" fmla="*/ 1308192 h 1822125"/>
                <a:gd name="connsiteX87" fmla="*/ 1027866 w 4011346"/>
                <a:gd name="connsiteY87" fmla="*/ 1284831 h 1822125"/>
                <a:gd name="connsiteX88" fmla="*/ 1047890 w 4011346"/>
                <a:gd name="connsiteY88" fmla="*/ 1294843 h 1822125"/>
                <a:gd name="connsiteX89" fmla="*/ 1067913 w 4011346"/>
                <a:gd name="connsiteY89" fmla="*/ 1304854 h 1822125"/>
                <a:gd name="connsiteX90" fmla="*/ 1087936 w 4011346"/>
                <a:gd name="connsiteY90" fmla="*/ 1331552 h 1822125"/>
                <a:gd name="connsiteX91" fmla="*/ 1074587 w 4011346"/>
                <a:gd name="connsiteY91" fmla="*/ 1344901 h 1822125"/>
                <a:gd name="connsiteX92" fmla="*/ 1104622 w 4011346"/>
                <a:gd name="connsiteY92" fmla="*/ 1344901 h 1822125"/>
                <a:gd name="connsiteX93" fmla="*/ 1107960 w 4011346"/>
                <a:gd name="connsiteY93" fmla="*/ 1361587 h 1822125"/>
                <a:gd name="connsiteX94" fmla="*/ 1121309 w 4011346"/>
                <a:gd name="connsiteY94" fmla="*/ 1344901 h 1822125"/>
                <a:gd name="connsiteX95" fmla="*/ 1134657 w 4011346"/>
                <a:gd name="connsiteY95" fmla="*/ 1358250 h 1822125"/>
                <a:gd name="connsiteX96" fmla="*/ 1134657 w 4011346"/>
                <a:gd name="connsiteY96" fmla="*/ 1378273 h 1822125"/>
                <a:gd name="connsiteX97" fmla="*/ 1148006 w 4011346"/>
                <a:gd name="connsiteY97" fmla="*/ 1374936 h 1822125"/>
                <a:gd name="connsiteX98" fmla="*/ 1208076 w 4011346"/>
                <a:gd name="connsiteY98" fmla="*/ 1328215 h 1822125"/>
                <a:gd name="connsiteX99" fmla="*/ 1211414 w 4011346"/>
                <a:gd name="connsiteY99" fmla="*/ 1348238 h 1822125"/>
                <a:gd name="connsiteX100" fmla="*/ 1244786 w 4011346"/>
                <a:gd name="connsiteY100" fmla="*/ 1368262 h 1822125"/>
                <a:gd name="connsiteX101" fmla="*/ 1264809 w 4011346"/>
                <a:gd name="connsiteY101" fmla="*/ 1398297 h 1822125"/>
                <a:gd name="connsiteX102" fmla="*/ 1298181 w 4011346"/>
                <a:gd name="connsiteY102" fmla="*/ 1505088 h 1822125"/>
                <a:gd name="connsiteX103" fmla="*/ 1308193 w 4011346"/>
                <a:gd name="connsiteY103" fmla="*/ 1461704 h 1822125"/>
                <a:gd name="connsiteX104" fmla="*/ 1344903 w 4011346"/>
                <a:gd name="connsiteY104" fmla="*/ 1481727 h 1822125"/>
                <a:gd name="connsiteX105" fmla="*/ 1388287 w 4011346"/>
                <a:gd name="connsiteY105" fmla="*/ 1481727 h 1822125"/>
                <a:gd name="connsiteX106" fmla="*/ 1394961 w 4011346"/>
                <a:gd name="connsiteY106" fmla="*/ 1505088 h 1822125"/>
                <a:gd name="connsiteX107" fmla="*/ 1435008 w 4011346"/>
                <a:gd name="connsiteY107" fmla="*/ 1528449 h 1822125"/>
                <a:gd name="connsiteX108" fmla="*/ 1465043 w 4011346"/>
                <a:gd name="connsiteY108" fmla="*/ 1528449 h 1822125"/>
                <a:gd name="connsiteX109" fmla="*/ 1491741 w 4011346"/>
                <a:gd name="connsiteY109" fmla="*/ 1541798 h 1822125"/>
                <a:gd name="connsiteX110" fmla="*/ 1535125 w 4011346"/>
                <a:gd name="connsiteY110" fmla="*/ 1498414 h 1822125"/>
                <a:gd name="connsiteX111" fmla="*/ 1571834 w 4011346"/>
                <a:gd name="connsiteY111" fmla="*/ 1478390 h 1822125"/>
                <a:gd name="connsiteX112" fmla="*/ 1608544 w 4011346"/>
                <a:gd name="connsiteY112" fmla="*/ 1481727 h 1822125"/>
                <a:gd name="connsiteX113" fmla="*/ 1655265 w 4011346"/>
                <a:gd name="connsiteY113" fmla="*/ 1495076 h 1822125"/>
                <a:gd name="connsiteX114" fmla="*/ 1681963 w 4011346"/>
                <a:gd name="connsiteY114" fmla="*/ 1511763 h 1822125"/>
                <a:gd name="connsiteX115" fmla="*/ 1735358 w 4011346"/>
                <a:gd name="connsiteY115" fmla="*/ 1505088 h 1822125"/>
                <a:gd name="connsiteX116" fmla="*/ 1745370 w 4011346"/>
                <a:gd name="connsiteY116" fmla="*/ 1485065 h 1822125"/>
                <a:gd name="connsiteX117" fmla="*/ 1738695 w 4011346"/>
                <a:gd name="connsiteY117" fmla="*/ 1465041 h 1822125"/>
                <a:gd name="connsiteX118" fmla="*/ 1765393 w 4011346"/>
                <a:gd name="connsiteY118" fmla="*/ 1438344 h 1822125"/>
                <a:gd name="connsiteX119" fmla="*/ 1778742 w 4011346"/>
                <a:gd name="connsiteY119" fmla="*/ 1435006 h 1822125"/>
                <a:gd name="connsiteX120" fmla="*/ 1812114 w 4011346"/>
                <a:gd name="connsiteY120" fmla="*/ 1451692 h 1822125"/>
                <a:gd name="connsiteX121" fmla="*/ 1852161 w 4011346"/>
                <a:gd name="connsiteY121" fmla="*/ 1465041 h 1822125"/>
                <a:gd name="connsiteX122" fmla="*/ 1858836 w 4011346"/>
                <a:gd name="connsiteY122" fmla="*/ 1491739 h 1822125"/>
                <a:gd name="connsiteX123" fmla="*/ 1872184 w 4011346"/>
                <a:gd name="connsiteY123" fmla="*/ 1498414 h 1822125"/>
                <a:gd name="connsiteX124" fmla="*/ 1902219 w 4011346"/>
                <a:gd name="connsiteY124" fmla="*/ 1501751 h 1822125"/>
                <a:gd name="connsiteX125" fmla="*/ 1932254 w 4011346"/>
                <a:gd name="connsiteY125" fmla="*/ 1485065 h 1822125"/>
                <a:gd name="connsiteX126" fmla="*/ 1962290 w 4011346"/>
                <a:gd name="connsiteY126" fmla="*/ 1498414 h 1822125"/>
                <a:gd name="connsiteX127" fmla="*/ 1985650 w 4011346"/>
                <a:gd name="connsiteY127" fmla="*/ 1511763 h 1822125"/>
                <a:gd name="connsiteX128" fmla="*/ 1995662 w 4011346"/>
                <a:gd name="connsiteY128" fmla="*/ 1521774 h 1822125"/>
                <a:gd name="connsiteX129" fmla="*/ 2032371 w 4011346"/>
                <a:gd name="connsiteY129" fmla="*/ 1541798 h 1822125"/>
                <a:gd name="connsiteX130" fmla="*/ 2069081 w 4011346"/>
                <a:gd name="connsiteY130" fmla="*/ 1538460 h 1822125"/>
                <a:gd name="connsiteX131" fmla="*/ 2142500 w 4011346"/>
                <a:gd name="connsiteY131" fmla="*/ 1495076 h 1822125"/>
                <a:gd name="connsiteX132" fmla="*/ 2195895 w 4011346"/>
                <a:gd name="connsiteY132" fmla="*/ 1508425 h 1822125"/>
                <a:gd name="connsiteX133" fmla="*/ 2225930 w 4011346"/>
                <a:gd name="connsiteY133" fmla="*/ 1518437 h 1822125"/>
                <a:gd name="connsiteX134" fmla="*/ 2259303 w 4011346"/>
                <a:gd name="connsiteY134" fmla="*/ 1505088 h 1822125"/>
                <a:gd name="connsiteX135" fmla="*/ 2262640 w 4011346"/>
                <a:gd name="connsiteY135" fmla="*/ 1478390 h 1822125"/>
                <a:gd name="connsiteX136" fmla="*/ 2282663 w 4011346"/>
                <a:gd name="connsiteY136" fmla="*/ 1448355 h 1822125"/>
                <a:gd name="connsiteX137" fmla="*/ 2299349 w 4011346"/>
                <a:gd name="connsiteY137" fmla="*/ 1394960 h 1822125"/>
                <a:gd name="connsiteX138" fmla="*/ 2282663 w 4011346"/>
                <a:gd name="connsiteY138" fmla="*/ 1398297 h 1822125"/>
                <a:gd name="connsiteX139" fmla="*/ 2312698 w 4011346"/>
                <a:gd name="connsiteY139" fmla="*/ 1371599 h 1822125"/>
                <a:gd name="connsiteX140" fmla="*/ 2339396 w 4011346"/>
                <a:gd name="connsiteY140" fmla="*/ 1368262 h 1822125"/>
                <a:gd name="connsiteX141" fmla="*/ 2396129 w 4011346"/>
                <a:gd name="connsiteY141" fmla="*/ 1378273 h 1822125"/>
                <a:gd name="connsiteX142" fmla="*/ 2436176 w 4011346"/>
                <a:gd name="connsiteY142" fmla="*/ 1404971 h 1822125"/>
                <a:gd name="connsiteX143" fmla="*/ 2462873 w 4011346"/>
                <a:gd name="connsiteY143" fmla="*/ 1435006 h 1822125"/>
                <a:gd name="connsiteX144" fmla="*/ 2469548 w 4011346"/>
                <a:gd name="connsiteY144" fmla="*/ 1471716 h 1822125"/>
                <a:gd name="connsiteX145" fmla="*/ 2476222 w 4011346"/>
                <a:gd name="connsiteY145" fmla="*/ 1511763 h 1822125"/>
                <a:gd name="connsiteX146" fmla="*/ 2486234 w 4011346"/>
                <a:gd name="connsiteY146" fmla="*/ 1531786 h 1822125"/>
                <a:gd name="connsiteX147" fmla="*/ 2529618 w 4011346"/>
                <a:gd name="connsiteY147" fmla="*/ 1545135 h 1822125"/>
                <a:gd name="connsiteX148" fmla="*/ 2549641 w 4011346"/>
                <a:gd name="connsiteY148" fmla="*/ 1565158 h 1822125"/>
                <a:gd name="connsiteX149" fmla="*/ 2562990 w 4011346"/>
                <a:gd name="connsiteY149" fmla="*/ 1598530 h 1822125"/>
                <a:gd name="connsiteX150" fmla="*/ 2586351 w 4011346"/>
                <a:gd name="connsiteY150" fmla="*/ 1591856 h 1822125"/>
                <a:gd name="connsiteX151" fmla="*/ 2606374 w 4011346"/>
                <a:gd name="connsiteY151" fmla="*/ 1581844 h 1822125"/>
                <a:gd name="connsiteX152" fmla="*/ 2639746 w 4011346"/>
                <a:gd name="connsiteY152" fmla="*/ 1565158 h 1822125"/>
                <a:gd name="connsiteX153" fmla="*/ 2643084 w 4011346"/>
                <a:gd name="connsiteY153" fmla="*/ 1581844 h 1822125"/>
                <a:gd name="connsiteX154" fmla="*/ 2626398 w 4011346"/>
                <a:gd name="connsiteY154" fmla="*/ 1611879 h 1822125"/>
                <a:gd name="connsiteX155" fmla="*/ 2616386 w 4011346"/>
                <a:gd name="connsiteY155" fmla="*/ 1648589 h 1822125"/>
                <a:gd name="connsiteX156" fmla="*/ 2603037 w 4011346"/>
                <a:gd name="connsiteY156" fmla="*/ 1701984 h 1822125"/>
                <a:gd name="connsiteX157" fmla="*/ 2579676 w 4011346"/>
                <a:gd name="connsiteY157" fmla="*/ 1675287 h 1822125"/>
                <a:gd name="connsiteX158" fmla="*/ 2552979 w 4011346"/>
                <a:gd name="connsiteY158" fmla="*/ 1698647 h 1822125"/>
                <a:gd name="connsiteX159" fmla="*/ 2559653 w 4011346"/>
                <a:gd name="connsiteY159" fmla="*/ 1725345 h 1822125"/>
                <a:gd name="connsiteX160" fmla="*/ 2559653 w 4011346"/>
                <a:gd name="connsiteY160" fmla="*/ 1762054 h 1822125"/>
                <a:gd name="connsiteX161" fmla="*/ 2549641 w 4011346"/>
                <a:gd name="connsiteY161" fmla="*/ 1782078 h 1822125"/>
                <a:gd name="connsiteX162" fmla="*/ 2589688 w 4011346"/>
                <a:gd name="connsiteY162" fmla="*/ 1762054 h 1822125"/>
                <a:gd name="connsiteX163" fmla="*/ 2626398 w 4011346"/>
                <a:gd name="connsiteY163" fmla="*/ 1772066 h 1822125"/>
                <a:gd name="connsiteX164" fmla="*/ 2653095 w 4011346"/>
                <a:gd name="connsiteY164" fmla="*/ 1748706 h 1822125"/>
                <a:gd name="connsiteX165" fmla="*/ 2683130 w 4011346"/>
                <a:gd name="connsiteY165" fmla="*/ 1695310 h 1822125"/>
                <a:gd name="connsiteX166" fmla="*/ 2753212 w 4011346"/>
                <a:gd name="connsiteY166" fmla="*/ 1608542 h 1822125"/>
                <a:gd name="connsiteX167" fmla="*/ 2783247 w 4011346"/>
                <a:gd name="connsiteY167" fmla="*/ 1538460 h 1822125"/>
                <a:gd name="connsiteX168" fmla="*/ 2803271 w 4011346"/>
                <a:gd name="connsiteY168" fmla="*/ 1435006 h 1822125"/>
                <a:gd name="connsiteX169" fmla="*/ 2793259 w 4011346"/>
                <a:gd name="connsiteY169" fmla="*/ 1384948 h 1822125"/>
                <a:gd name="connsiteX170" fmla="*/ 2769898 w 4011346"/>
                <a:gd name="connsiteY170" fmla="*/ 1351576 h 1822125"/>
                <a:gd name="connsiteX171" fmla="*/ 2726514 w 4011346"/>
                <a:gd name="connsiteY171" fmla="*/ 1351576 h 1822125"/>
                <a:gd name="connsiteX172" fmla="*/ 2699817 w 4011346"/>
                <a:gd name="connsiteY172" fmla="*/ 1351576 h 1822125"/>
                <a:gd name="connsiteX173" fmla="*/ 2683130 w 4011346"/>
                <a:gd name="connsiteY173" fmla="*/ 1331552 h 1822125"/>
                <a:gd name="connsiteX174" fmla="*/ 2669781 w 4011346"/>
                <a:gd name="connsiteY174" fmla="*/ 1311529 h 1822125"/>
                <a:gd name="connsiteX175" fmla="*/ 2763224 w 4011346"/>
                <a:gd name="connsiteY175" fmla="*/ 1194726 h 1822125"/>
                <a:gd name="connsiteX176" fmla="*/ 2846654 w 4011346"/>
                <a:gd name="connsiteY176" fmla="*/ 1127982 h 1822125"/>
                <a:gd name="connsiteX177" fmla="*/ 2890038 w 4011346"/>
                <a:gd name="connsiteY177" fmla="*/ 1104621 h 1822125"/>
                <a:gd name="connsiteX178" fmla="*/ 2933422 w 4011346"/>
                <a:gd name="connsiteY178" fmla="*/ 1124644 h 1822125"/>
                <a:gd name="connsiteX179" fmla="*/ 2950109 w 4011346"/>
                <a:gd name="connsiteY179" fmla="*/ 1107958 h 1822125"/>
                <a:gd name="connsiteX180" fmla="*/ 2993492 w 4011346"/>
                <a:gd name="connsiteY180" fmla="*/ 1124644 h 1822125"/>
                <a:gd name="connsiteX181" fmla="*/ 3006841 w 4011346"/>
                <a:gd name="connsiteY181" fmla="*/ 1091272 h 1822125"/>
                <a:gd name="connsiteX182" fmla="*/ 3053563 w 4011346"/>
                <a:gd name="connsiteY182" fmla="*/ 1101284 h 1822125"/>
                <a:gd name="connsiteX183" fmla="*/ 3070249 w 4011346"/>
                <a:gd name="connsiteY183" fmla="*/ 1117970 h 1822125"/>
                <a:gd name="connsiteX184" fmla="*/ 3060237 w 4011346"/>
                <a:gd name="connsiteY184" fmla="*/ 1137993 h 1822125"/>
                <a:gd name="connsiteX185" fmla="*/ 3123644 w 4011346"/>
                <a:gd name="connsiteY185" fmla="*/ 1121307 h 1822125"/>
                <a:gd name="connsiteX186" fmla="*/ 3140330 w 4011346"/>
                <a:gd name="connsiteY186" fmla="*/ 1107958 h 1822125"/>
                <a:gd name="connsiteX187" fmla="*/ 3123644 w 4011346"/>
                <a:gd name="connsiteY187" fmla="*/ 1094609 h 1822125"/>
                <a:gd name="connsiteX188" fmla="*/ 3143668 w 4011346"/>
                <a:gd name="connsiteY188" fmla="*/ 1054563 h 1822125"/>
                <a:gd name="connsiteX189" fmla="*/ 3190389 w 4011346"/>
                <a:gd name="connsiteY189" fmla="*/ 984481 h 1822125"/>
                <a:gd name="connsiteX190" fmla="*/ 3233773 w 4011346"/>
                <a:gd name="connsiteY190" fmla="*/ 981144 h 1822125"/>
                <a:gd name="connsiteX191" fmla="*/ 3273819 w 4011346"/>
                <a:gd name="connsiteY191" fmla="*/ 991155 h 1822125"/>
                <a:gd name="connsiteX192" fmla="*/ 3277157 w 4011346"/>
                <a:gd name="connsiteY192" fmla="*/ 1047888 h 1822125"/>
                <a:gd name="connsiteX193" fmla="*/ 3320541 w 4011346"/>
                <a:gd name="connsiteY193" fmla="*/ 1004504 h 1822125"/>
                <a:gd name="connsiteX194" fmla="*/ 3343901 w 4011346"/>
                <a:gd name="connsiteY194" fmla="*/ 987818 h 1822125"/>
                <a:gd name="connsiteX195" fmla="*/ 3350576 w 4011346"/>
                <a:gd name="connsiteY195" fmla="*/ 954446 h 1822125"/>
                <a:gd name="connsiteX196" fmla="*/ 3377273 w 4011346"/>
                <a:gd name="connsiteY196" fmla="*/ 937760 h 1822125"/>
                <a:gd name="connsiteX197" fmla="*/ 3407309 w 4011346"/>
                <a:gd name="connsiteY197" fmla="*/ 947771 h 1822125"/>
                <a:gd name="connsiteX198" fmla="*/ 3373936 w 4011346"/>
                <a:gd name="connsiteY198" fmla="*/ 977806 h 1822125"/>
                <a:gd name="connsiteX199" fmla="*/ 3360587 w 4011346"/>
                <a:gd name="connsiteY199" fmla="*/ 1027865 h 1822125"/>
                <a:gd name="connsiteX200" fmla="*/ 3323878 w 4011346"/>
                <a:gd name="connsiteY200" fmla="*/ 1067911 h 1822125"/>
                <a:gd name="connsiteX201" fmla="*/ 3210412 w 4011346"/>
                <a:gd name="connsiteY201" fmla="*/ 1164691 h 1822125"/>
                <a:gd name="connsiteX202" fmla="*/ 3163691 w 4011346"/>
                <a:gd name="connsiteY202" fmla="*/ 1234773 h 1822125"/>
                <a:gd name="connsiteX203" fmla="*/ 3160354 w 4011346"/>
                <a:gd name="connsiteY203" fmla="*/ 1308192 h 1822125"/>
                <a:gd name="connsiteX204" fmla="*/ 3170365 w 4011346"/>
                <a:gd name="connsiteY204" fmla="*/ 1398297 h 1822125"/>
                <a:gd name="connsiteX205" fmla="*/ 3190389 w 4011346"/>
                <a:gd name="connsiteY205" fmla="*/ 1461704 h 1822125"/>
                <a:gd name="connsiteX206" fmla="*/ 3217087 w 4011346"/>
                <a:gd name="connsiteY206" fmla="*/ 1451692 h 1822125"/>
                <a:gd name="connsiteX207" fmla="*/ 3240447 w 4011346"/>
                <a:gd name="connsiteY207" fmla="*/ 1384948 h 1822125"/>
                <a:gd name="connsiteX208" fmla="*/ 3270482 w 4011346"/>
                <a:gd name="connsiteY208" fmla="*/ 1381611 h 1822125"/>
                <a:gd name="connsiteX209" fmla="*/ 3287168 w 4011346"/>
                <a:gd name="connsiteY209" fmla="*/ 1321541 h 1822125"/>
                <a:gd name="connsiteX210" fmla="*/ 3313866 w 4011346"/>
                <a:gd name="connsiteY210" fmla="*/ 1311529 h 1822125"/>
                <a:gd name="connsiteX211" fmla="*/ 3313866 w 4011346"/>
                <a:gd name="connsiteY211" fmla="*/ 1281494 h 1822125"/>
                <a:gd name="connsiteX212" fmla="*/ 3337227 w 4011346"/>
                <a:gd name="connsiteY212" fmla="*/ 1244784 h 1822125"/>
                <a:gd name="connsiteX213" fmla="*/ 3330552 w 4011346"/>
                <a:gd name="connsiteY213" fmla="*/ 1201400 h 1822125"/>
                <a:gd name="connsiteX214" fmla="*/ 3333890 w 4011346"/>
                <a:gd name="connsiteY214" fmla="*/ 1171365 h 1822125"/>
                <a:gd name="connsiteX215" fmla="*/ 3323878 w 4011346"/>
                <a:gd name="connsiteY215" fmla="*/ 1161354 h 1822125"/>
                <a:gd name="connsiteX216" fmla="*/ 3363925 w 4011346"/>
                <a:gd name="connsiteY216" fmla="*/ 1074586 h 1822125"/>
                <a:gd name="connsiteX217" fmla="*/ 3383948 w 4011346"/>
                <a:gd name="connsiteY217" fmla="*/ 1084598 h 1822125"/>
                <a:gd name="connsiteX218" fmla="*/ 3410646 w 4011346"/>
                <a:gd name="connsiteY218" fmla="*/ 1057900 h 1822125"/>
                <a:gd name="connsiteX219" fmla="*/ 3420657 w 4011346"/>
                <a:gd name="connsiteY219" fmla="*/ 1084598 h 1822125"/>
                <a:gd name="connsiteX220" fmla="*/ 3447355 w 4011346"/>
                <a:gd name="connsiteY220" fmla="*/ 1067911 h 1822125"/>
                <a:gd name="connsiteX221" fmla="*/ 3477390 w 4011346"/>
                <a:gd name="connsiteY221" fmla="*/ 1057900 h 1822125"/>
                <a:gd name="connsiteX222" fmla="*/ 3514100 w 4011346"/>
                <a:gd name="connsiteY222" fmla="*/ 1084598 h 1822125"/>
                <a:gd name="connsiteX223" fmla="*/ 3574170 w 4011346"/>
                <a:gd name="connsiteY223" fmla="*/ 1017853 h 1822125"/>
                <a:gd name="connsiteX224" fmla="*/ 3637577 w 4011346"/>
                <a:gd name="connsiteY224" fmla="*/ 971132 h 1822125"/>
                <a:gd name="connsiteX225" fmla="*/ 3690973 w 4011346"/>
                <a:gd name="connsiteY225" fmla="*/ 934422 h 1822125"/>
                <a:gd name="connsiteX226" fmla="*/ 3741031 w 4011346"/>
                <a:gd name="connsiteY226" fmla="*/ 961120 h 1822125"/>
                <a:gd name="connsiteX227" fmla="*/ 3751043 w 4011346"/>
                <a:gd name="connsiteY227" fmla="*/ 934422 h 1822125"/>
                <a:gd name="connsiteX228" fmla="*/ 3727682 w 4011346"/>
                <a:gd name="connsiteY228" fmla="*/ 867678 h 1822125"/>
                <a:gd name="connsiteX229" fmla="*/ 3700984 w 4011346"/>
                <a:gd name="connsiteY229" fmla="*/ 850992 h 1822125"/>
                <a:gd name="connsiteX230" fmla="*/ 3697647 w 4011346"/>
                <a:gd name="connsiteY230" fmla="*/ 820957 h 1822125"/>
                <a:gd name="connsiteX231" fmla="*/ 3751043 w 4011346"/>
                <a:gd name="connsiteY231" fmla="*/ 827631 h 1822125"/>
                <a:gd name="connsiteX232" fmla="*/ 3774403 w 4011346"/>
                <a:gd name="connsiteY232" fmla="*/ 784247 h 1822125"/>
                <a:gd name="connsiteX233" fmla="*/ 3767729 w 4011346"/>
                <a:gd name="connsiteY233" fmla="*/ 757549 h 1822125"/>
                <a:gd name="connsiteX234" fmla="*/ 3794427 w 4011346"/>
                <a:gd name="connsiteY234" fmla="*/ 724177 h 1822125"/>
                <a:gd name="connsiteX235" fmla="*/ 3804438 w 4011346"/>
                <a:gd name="connsiteY235" fmla="*/ 767561 h 1822125"/>
                <a:gd name="connsiteX236" fmla="*/ 3827799 w 4011346"/>
                <a:gd name="connsiteY236" fmla="*/ 784247 h 1822125"/>
                <a:gd name="connsiteX237" fmla="*/ 3874520 w 4011346"/>
                <a:gd name="connsiteY237" fmla="*/ 804271 h 1822125"/>
                <a:gd name="connsiteX238" fmla="*/ 3894544 w 4011346"/>
                <a:gd name="connsiteY238" fmla="*/ 830968 h 1822125"/>
                <a:gd name="connsiteX239" fmla="*/ 3941265 w 4011346"/>
                <a:gd name="connsiteY239" fmla="*/ 854329 h 1822125"/>
                <a:gd name="connsiteX240" fmla="*/ 3947939 w 4011346"/>
                <a:gd name="connsiteY240" fmla="*/ 840980 h 1822125"/>
                <a:gd name="connsiteX241" fmla="*/ 3957951 w 4011346"/>
                <a:gd name="connsiteY241" fmla="*/ 777573 h 1822125"/>
                <a:gd name="connsiteX242" fmla="*/ 4004672 w 4011346"/>
                <a:gd name="connsiteY242" fmla="*/ 770898 h 1822125"/>
                <a:gd name="connsiteX243" fmla="*/ 4011346 w 4011346"/>
                <a:gd name="connsiteY243" fmla="*/ 737526 h 1822125"/>
                <a:gd name="connsiteX244" fmla="*/ 3967963 w 4011346"/>
                <a:gd name="connsiteY244" fmla="*/ 700817 h 1822125"/>
                <a:gd name="connsiteX245" fmla="*/ 3921241 w 4011346"/>
                <a:gd name="connsiteY245" fmla="*/ 684130 h 1822125"/>
                <a:gd name="connsiteX246" fmla="*/ 3907892 w 4011346"/>
                <a:gd name="connsiteY246" fmla="*/ 687468 h 1822125"/>
                <a:gd name="connsiteX247" fmla="*/ 3907892 w 4011346"/>
                <a:gd name="connsiteY247" fmla="*/ 720840 h 1822125"/>
                <a:gd name="connsiteX248" fmla="*/ 3887869 w 4011346"/>
                <a:gd name="connsiteY248" fmla="*/ 714165 h 1822125"/>
                <a:gd name="connsiteX249" fmla="*/ 3874520 w 4011346"/>
                <a:gd name="connsiteY249" fmla="*/ 660770 h 1822125"/>
                <a:gd name="connsiteX250" fmla="*/ 3817787 w 4011346"/>
                <a:gd name="connsiteY250" fmla="*/ 597363 h 1822125"/>
                <a:gd name="connsiteX251" fmla="*/ 3717671 w 4011346"/>
                <a:gd name="connsiteY251" fmla="*/ 520606 h 1822125"/>
                <a:gd name="connsiteX252" fmla="*/ 3664275 w 4011346"/>
                <a:gd name="connsiteY252" fmla="*/ 500583 h 1822125"/>
                <a:gd name="connsiteX253" fmla="*/ 3584181 w 4011346"/>
                <a:gd name="connsiteY253" fmla="*/ 493909 h 1822125"/>
                <a:gd name="connsiteX254" fmla="*/ 3520774 w 4011346"/>
                <a:gd name="connsiteY254" fmla="*/ 477222 h 1822125"/>
                <a:gd name="connsiteX255" fmla="*/ 3530786 w 4011346"/>
                <a:gd name="connsiteY255" fmla="*/ 517269 h 1822125"/>
                <a:gd name="connsiteX256" fmla="*/ 3537460 w 4011346"/>
                <a:gd name="connsiteY256" fmla="*/ 543967 h 1822125"/>
                <a:gd name="connsiteX257" fmla="*/ 3507425 w 4011346"/>
                <a:gd name="connsiteY257" fmla="*/ 567327 h 1822125"/>
                <a:gd name="connsiteX258" fmla="*/ 3477390 w 4011346"/>
                <a:gd name="connsiteY258" fmla="*/ 540630 h 1822125"/>
                <a:gd name="connsiteX259" fmla="*/ 3477390 w 4011346"/>
                <a:gd name="connsiteY259" fmla="*/ 520606 h 1822125"/>
                <a:gd name="connsiteX260" fmla="*/ 3504088 w 4011346"/>
                <a:gd name="connsiteY260" fmla="*/ 500583 h 1822125"/>
                <a:gd name="connsiteX261" fmla="*/ 3467379 w 4011346"/>
                <a:gd name="connsiteY261" fmla="*/ 487234 h 1822125"/>
                <a:gd name="connsiteX262" fmla="*/ 3450692 w 4011346"/>
                <a:gd name="connsiteY262" fmla="*/ 513932 h 1822125"/>
                <a:gd name="connsiteX263" fmla="*/ 3440681 w 4011346"/>
                <a:gd name="connsiteY263" fmla="*/ 527281 h 1822125"/>
                <a:gd name="connsiteX264" fmla="*/ 3357250 w 4011346"/>
                <a:gd name="connsiteY264" fmla="*/ 513932 h 1822125"/>
                <a:gd name="connsiteX265" fmla="*/ 3297180 w 4011346"/>
                <a:gd name="connsiteY265" fmla="*/ 520606 h 1822125"/>
                <a:gd name="connsiteX266" fmla="*/ 3267145 w 4011346"/>
                <a:gd name="connsiteY266" fmla="*/ 497246 h 1822125"/>
                <a:gd name="connsiteX267" fmla="*/ 3267145 w 4011346"/>
                <a:gd name="connsiteY267" fmla="*/ 460536 h 1822125"/>
                <a:gd name="connsiteX268" fmla="*/ 3203738 w 4011346"/>
                <a:gd name="connsiteY268" fmla="*/ 403803 h 1822125"/>
                <a:gd name="connsiteX269" fmla="*/ 3076923 w 4011346"/>
                <a:gd name="connsiteY269" fmla="*/ 410478 h 1822125"/>
                <a:gd name="connsiteX270" fmla="*/ 3043551 w 4011346"/>
                <a:gd name="connsiteY270" fmla="*/ 387117 h 1822125"/>
                <a:gd name="connsiteX271" fmla="*/ 3000167 w 4011346"/>
                <a:gd name="connsiteY271" fmla="*/ 340396 h 1822125"/>
                <a:gd name="connsiteX272" fmla="*/ 3013516 w 4011346"/>
                <a:gd name="connsiteY272" fmla="*/ 333722 h 1822125"/>
                <a:gd name="connsiteX273" fmla="*/ 3000167 w 4011346"/>
                <a:gd name="connsiteY273" fmla="*/ 313698 h 1822125"/>
                <a:gd name="connsiteX274" fmla="*/ 2970132 w 4011346"/>
                <a:gd name="connsiteY274" fmla="*/ 310361 h 1822125"/>
                <a:gd name="connsiteX275" fmla="*/ 2920073 w 4011346"/>
                <a:gd name="connsiteY275" fmla="*/ 357082 h 1822125"/>
                <a:gd name="connsiteX276" fmla="*/ 2920073 w 4011346"/>
                <a:gd name="connsiteY276" fmla="*/ 357082 h 1822125"/>
                <a:gd name="connsiteX277" fmla="*/ 2916736 w 4011346"/>
                <a:gd name="connsiteY277" fmla="*/ 307024 h 1822125"/>
                <a:gd name="connsiteX278" fmla="*/ 2936760 w 4011346"/>
                <a:gd name="connsiteY278" fmla="*/ 303687 h 1822125"/>
                <a:gd name="connsiteX279" fmla="*/ 2866678 w 4011346"/>
                <a:gd name="connsiteY279" fmla="*/ 273652 h 1822125"/>
                <a:gd name="connsiteX280" fmla="*/ 2813282 w 4011346"/>
                <a:gd name="connsiteY280" fmla="*/ 270314 h 1822125"/>
                <a:gd name="connsiteX281" fmla="*/ 2793259 w 4011346"/>
                <a:gd name="connsiteY281" fmla="*/ 293675 h 1822125"/>
                <a:gd name="connsiteX282" fmla="*/ 2743200 w 4011346"/>
                <a:gd name="connsiteY282" fmla="*/ 303687 h 1822125"/>
                <a:gd name="connsiteX283" fmla="*/ 2786584 w 4011346"/>
                <a:gd name="connsiteY283" fmla="*/ 313698 h 1822125"/>
                <a:gd name="connsiteX284" fmla="*/ 2763224 w 4011346"/>
                <a:gd name="connsiteY284" fmla="*/ 333722 h 1822125"/>
                <a:gd name="connsiteX285" fmla="*/ 2769898 w 4011346"/>
                <a:gd name="connsiteY285" fmla="*/ 383780 h 1822125"/>
                <a:gd name="connsiteX286" fmla="*/ 2749875 w 4011346"/>
                <a:gd name="connsiteY286" fmla="*/ 367094 h 1822125"/>
                <a:gd name="connsiteX287" fmla="*/ 2733189 w 4011346"/>
                <a:gd name="connsiteY287" fmla="*/ 380443 h 1822125"/>
                <a:gd name="connsiteX288" fmla="*/ 2666444 w 4011346"/>
                <a:gd name="connsiteY288" fmla="*/ 370431 h 1822125"/>
                <a:gd name="connsiteX289" fmla="*/ 2636409 w 4011346"/>
                <a:gd name="connsiteY289" fmla="*/ 380443 h 1822125"/>
                <a:gd name="connsiteX290" fmla="*/ 2603037 w 4011346"/>
                <a:gd name="connsiteY290" fmla="*/ 340396 h 1822125"/>
                <a:gd name="connsiteX291" fmla="*/ 2569665 w 4011346"/>
                <a:gd name="connsiteY291" fmla="*/ 423827 h 1822125"/>
                <a:gd name="connsiteX292" fmla="*/ 2552979 w 4011346"/>
                <a:gd name="connsiteY292" fmla="*/ 443850 h 1822125"/>
                <a:gd name="connsiteX293" fmla="*/ 2469548 w 4011346"/>
                <a:gd name="connsiteY293" fmla="*/ 307024 h 1822125"/>
                <a:gd name="connsiteX294" fmla="*/ 2446187 w 4011346"/>
                <a:gd name="connsiteY294" fmla="*/ 323710 h 1822125"/>
                <a:gd name="connsiteX295" fmla="*/ 2442850 w 4011346"/>
                <a:gd name="connsiteY295" fmla="*/ 290338 h 1822125"/>
                <a:gd name="connsiteX296" fmla="*/ 2449525 w 4011346"/>
                <a:gd name="connsiteY296" fmla="*/ 220256 h 1822125"/>
                <a:gd name="connsiteX297" fmla="*/ 2386117 w 4011346"/>
                <a:gd name="connsiteY297" fmla="*/ 193558 h 1822125"/>
                <a:gd name="connsiteX298" fmla="*/ 2369431 w 4011346"/>
                <a:gd name="connsiteY298" fmla="*/ 233605 h 1822125"/>
                <a:gd name="connsiteX299" fmla="*/ 2379443 w 4011346"/>
                <a:gd name="connsiteY299" fmla="*/ 256965 h 1822125"/>
                <a:gd name="connsiteX300" fmla="*/ 2376106 w 4011346"/>
                <a:gd name="connsiteY300" fmla="*/ 276989 h 1822125"/>
                <a:gd name="connsiteX301" fmla="*/ 2352745 w 4011346"/>
                <a:gd name="connsiteY301" fmla="*/ 253628 h 1822125"/>
                <a:gd name="connsiteX302" fmla="*/ 2316036 w 4011346"/>
                <a:gd name="connsiteY302" fmla="*/ 260303 h 1822125"/>
                <a:gd name="connsiteX303" fmla="*/ 2272652 w 4011346"/>
                <a:gd name="connsiteY303" fmla="*/ 246954 h 1822125"/>
                <a:gd name="connsiteX304" fmla="*/ 2245954 w 4011346"/>
                <a:gd name="connsiteY304" fmla="*/ 206907 h 1822125"/>
                <a:gd name="connsiteX305" fmla="*/ 2209244 w 4011346"/>
                <a:gd name="connsiteY305" fmla="*/ 203570 h 1822125"/>
                <a:gd name="connsiteX306" fmla="*/ 2159186 w 4011346"/>
                <a:gd name="connsiteY306" fmla="*/ 193558 h 1822125"/>
                <a:gd name="connsiteX307" fmla="*/ 2132488 w 4011346"/>
                <a:gd name="connsiteY307" fmla="*/ 210244 h 1822125"/>
                <a:gd name="connsiteX308" fmla="*/ 2115802 w 4011346"/>
                <a:gd name="connsiteY308" fmla="*/ 223593 h 1822125"/>
                <a:gd name="connsiteX309" fmla="*/ 2115802 w 4011346"/>
                <a:gd name="connsiteY309" fmla="*/ 193558 h 1822125"/>
                <a:gd name="connsiteX310" fmla="*/ 2082430 w 4011346"/>
                <a:gd name="connsiteY310" fmla="*/ 190221 h 1822125"/>
                <a:gd name="connsiteX311" fmla="*/ 2045720 w 4011346"/>
                <a:gd name="connsiteY311" fmla="*/ 163523 h 1822125"/>
                <a:gd name="connsiteX312" fmla="*/ 2025697 w 4011346"/>
                <a:gd name="connsiteY312" fmla="*/ 193558 h 1822125"/>
                <a:gd name="connsiteX313" fmla="*/ 2055732 w 4011346"/>
                <a:gd name="connsiteY313" fmla="*/ 190221 h 1822125"/>
                <a:gd name="connsiteX314" fmla="*/ 2045720 w 4011346"/>
                <a:gd name="connsiteY314" fmla="*/ 216919 h 1822125"/>
                <a:gd name="connsiteX315" fmla="*/ 1988987 w 4011346"/>
                <a:gd name="connsiteY315" fmla="*/ 236942 h 1822125"/>
                <a:gd name="connsiteX316" fmla="*/ 1935592 w 4011346"/>
                <a:gd name="connsiteY316" fmla="*/ 246954 h 1822125"/>
                <a:gd name="connsiteX317" fmla="*/ 1995662 w 4011346"/>
                <a:gd name="connsiteY317" fmla="*/ 190221 h 1822125"/>
                <a:gd name="connsiteX318" fmla="*/ 2055732 w 4011346"/>
                <a:gd name="connsiteY318" fmla="*/ 120139 h 1822125"/>
                <a:gd name="connsiteX319" fmla="*/ 2055732 w 4011346"/>
                <a:gd name="connsiteY319" fmla="*/ 120139 h 1822125"/>
                <a:gd name="connsiteX320" fmla="*/ 1705323 w 4011346"/>
                <a:gd name="connsiteY320" fmla="*/ 20023 h 1822125"/>
                <a:gd name="connsiteX321" fmla="*/ 1638579 w 4011346"/>
                <a:gd name="connsiteY321" fmla="*/ 0 h 1822125"/>
                <a:gd name="connsiteX322" fmla="*/ 1528449 w 4011346"/>
                <a:gd name="connsiteY322" fmla="*/ 26696 h 1822125"/>
                <a:gd name="connsiteX323" fmla="*/ 1465043 w 4011346"/>
                <a:gd name="connsiteY323" fmla="*/ 110127 h 1822125"/>
                <a:gd name="connsiteX324" fmla="*/ 1448357 w 4011346"/>
                <a:gd name="connsiteY324" fmla="*/ 136825 h 1822125"/>
                <a:gd name="connsiteX325" fmla="*/ 1481729 w 4011346"/>
                <a:gd name="connsiteY325" fmla="*/ 170198 h 1822125"/>
                <a:gd name="connsiteX326" fmla="*/ 1481729 w 4011346"/>
                <a:gd name="connsiteY326" fmla="*/ 200233 h 1822125"/>
                <a:gd name="connsiteX327" fmla="*/ 1458368 w 4011346"/>
                <a:gd name="connsiteY327" fmla="*/ 203570 h 1822125"/>
                <a:gd name="connsiteX328" fmla="*/ 1458368 w 4011346"/>
                <a:gd name="connsiteY328" fmla="*/ 183546 h 1822125"/>
                <a:gd name="connsiteX329" fmla="*/ 1418322 w 4011346"/>
                <a:gd name="connsiteY329" fmla="*/ 193558 h 1822125"/>
                <a:gd name="connsiteX330" fmla="*/ 1368263 w 4011346"/>
                <a:gd name="connsiteY330" fmla="*/ 200233 h 1822125"/>
                <a:gd name="connsiteX331" fmla="*/ 1321542 w 4011346"/>
                <a:gd name="connsiteY331" fmla="*/ 206907 h 1822125"/>
                <a:gd name="connsiteX332" fmla="*/ 1318205 w 4011346"/>
                <a:gd name="connsiteY332" fmla="*/ 293675 h 1822125"/>
                <a:gd name="connsiteX333" fmla="*/ 1358252 w 4011346"/>
                <a:gd name="connsiteY333" fmla="*/ 317036 h 1822125"/>
                <a:gd name="connsiteX334" fmla="*/ 1374938 w 4011346"/>
                <a:gd name="connsiteY334" fmla="*/ 347071 h 1822125"/>
                <a:gd name="connsiteX335" fmla="*/ 1384949 w 4011346"/>
                <a:gd name="connsiteY335" fmla="*/ 370431 h 1822125"/>
                <a:gd name="connsiteX336" fmla="*/ 1394961 w 4011346"/>
                <a:gd name="connsiteY336" fmla="*/ 420490 h 1822125"/>
                <a:gd name="connsiteX337" fmla="*/ 1384949 w 4011346"/>
                <a:gd name="connsiteY337" fmla="*/ 450525 h 1822125"/>
                <a:gd name="connsiteX338" fmla="*/ 1358252 w 4011346"/>
                <a:gd name="connsiteY338" fmla="*/ 417152 h 1822125"/>
                <a:gd name="connsiteX339" fmla="*/ 1361589 w 4011346"/>
                <a:gd name="connsiteY339" fmla="*/ 387117 h 1822125"/>
                <a:gd name="connsiteX340" fmla="*/ 1351577 w 4011346"/>
                <a:gd name="connsiteY340" fmla="*/ 347071 h 1822125"/>
                <a:gd name="connsiteX341" fmla="*/ 1328217 w 4011346"/>
                <a:gd name="connsiteY341" fmla="*/ 353745 h 1822125"/>
                <a:gd name="connsiteX342" fmla="*/ 1281495 w 4011346"/>
                <a:gd name="connsiteY342" fmla="*/ 317036 h 1822125"/>
                <a:gd name="connsiteX343" fmla="*/ 1241449 w 4011346"/>
                <a:gd name="connsiteY343" fmla="*/ 313698 h 1822125"/>
                <a:gd name="connsiteX344" fmla="*/ 1241449 w 4011346"/>
                <a:gd name="connsiteY344" fmla="*/ 360419 h 1822125"/>
                <a:gd name="connsiteX345" fmla="*/ 1201402 w 4011346"/>
                <a:gd name="connsiteY345" fmla="*/ 340396 h 1822125"/>
                <a:gd name="connsiteX346" fmla="*/ 1228100 w 4011346"/>
                <a:gd name="connsiteY346" fmla="*/ 390454 h 1822125"/>
                <a:gd name="connsiteX347" fmla="*/ 1258135 w 4011346"/>
                <a:gd name="connsiteY347" fmla="*/ 400466 h 1822125"/>
                <a:gd name="connsiteX348" fmla="*/ 1258135 w 4011346"/>
                <a:gd name="connsiteY348" fmla="*/ 420490 h 1822125"/>
                <a:gd name="connsiteX349" fmla="*/ 1198065 w 4011346"/>
                <a:gd name="connsiteY349" fmla="*/ 397129 h 1822125"/>
                <a:gd name="connsiteX350" fmla="*/ 1181379 w 4011346"/>
                <a:gd name="connsiteY350" fmla="*/ 397129 h 1822125"/>
                <a:gd name="connsiteX351" fmla="*/ 1178041 w 4011346"/>
                <a:gd name="connsiteY351" fmla="*/ 353745 h 1822125"/>
                <a:gd name="connsiteX352" fmla="*/ 1171367 w 4011346"/>
                <a:gd name="connsiteY352" fmla="*/ 266977 h 1822125"/>
                <a:gd name="connsiteX353" fmla="*/ 1161355 w 4011346"/>
                <a:gd name="connsiteY353" fmla="*/ 337059 h 1822125"/>
                <a:gd name="connsiteX354" fmla="*/ 1137995 w 4011346"/>
                <a:gd name="connsiteY354" fmla="*/ 367094 h 1822125"/>
                <a:gd name="connsiteX355" fmla="*/ 1158018 w 4011346"/>
                <a:gd name="connsiteY355" fmla="*/ 413815 h 1822125"/>
                <a:gd name="connsiteX356" fmla="*/ 1158018 w 4011346"/>
                <a:gd name="connsiteY356" fmla="*/ 447187 h 1822125"/>
                <a:gd name="connsiteX357" fmla="*/ 1141332 w 4011346"/>
                <a:gd name="connsiteY357" fmla="*/ 497246 h 1822125"/>
                <a:gd name="connsiteX358" fmla="*/ 1154681 w 4011346"/>
                <a:gd name="connsiteY358" fmla="*/ 530618 h 1822125"/>
                <a:gd name="connsiteX359" fmla="*/ 1184716 w 4011346"/>
                <a:gd name="connsiteY359" fmla="*/ 537292 h 1822125"/>
                <a:gd name="connsiteX360" fmla="*/ 1221425 w 4011346"/>
                <a:gd name="connsiteY360" fmla="*/ 543967 h 1822125"/>
                <a:gd name="connsiteX361" fmla="*/ 1241449 w 4011346"/>
                <a:gd name="connsiteY361" fmla="*/ 567327 h 1822125"/>
                <a:gd name="connsiteX362" fmla="*/ 1258135 w 4011346"/>
                <a:gd name="connsiteY362" fmla="*/ 610711 h 1822125"/>
                <a:gd name="connsiteX363" fmla="*/ 1258135 w 4011346"/>
                <a:gd name="connsiteY363" fmla="*/ 610711 h 1822125"/>
                <a:gd name="connsiteX364" fmla="*/ 1254798 w 4011346"/>
                <a:gd name="connsiteY364" fmla="*/ 644084 h 1822125"/>
                <a:gd name="connsiteX365" fmla="*/ 1274821 w 4011346"/>
                <a:gd name="connsiteY365" fmla="*/ 664107 h 1822125"/>
                <a:gd name="connsiteX366" fmla="*/ 1244786 w 4011346"/>
                <a:gd name="connsiteY366" fmla="*/ 670782 h 1822125"/>
                <a:gd name="connsiteX367" fmla="*/ 1224763 w 4011346"/>
                <a:gd name="connsiteY367" fmla="*/ 630735 h 1822125"/>
                <a:gd name="connsiteX368" fmla="*/ 1224763 w 4011346"/>
                <a:gd name="connsiteY368" fmla="*/ 590688 h 1822125"/>
                <a:gd name="connsiteX369" fmla="*/ 1194727 w 4011346"/>
                <a:gd name="connsiteY369" fmla="*/ 553979 h 1822125"/>
                <a:gd name="connsiteX370" fmla="*/ 1164692 w 4011346"/>
                <a:gd name="connsiteY370" fmla="*/ 597363 h 1822125"/>
                <a:gd name="connsiteX371" fmla="*/ 1178041 w 4011346"/>
                <a:gd name="connsiteY371" fmla="*/ 640746 h 1822125"/>
                <a:gd name="connsiteX372" fmla="*/ 1137995 w 4011346"/>
                <a:gd name="connsiteY372" fmla="*/ 697479 h 1822125"/>
                <a:gd name="connsiteX373" fmla="*/ 1097948 w 4011346"/>
                <a:gd name="connsiteY373" fmla="*/ 754212 h 1822125"/>
                <a:gd name="connsiteX374" fmla="*/ 1007843 w 4011346"/>
                <a:gd name="connsiteY374" fmla="*/ 717503 h 1822125"/>
                <a:gd name="connsiteX375" fmla="*/ 1074587 w 4011346"/>
                <a:gd name="connsiteY375" fmla="*/ 714165 h 1822125"/>
                <a:gd name="connsiteX376" fmla="*/ 1107960 w 4011346"/>
                <a:gd name="connsiteY376" fmla="*/ 650758 h 1822125"/>
                <a:gd name="connsiteX377" fmla="*/ 1121309 w 4011346"/>
                <a:gd name="connsiteY377" fmla="*/ 607374 h 1822125"/>
                <a:gd name="connsiteX378" fmla="*/ 1127983 w 4011346"/>
                <a:gd name="connsiteY378" fmla="*/ 574002 h 1822125"/>
                <a:gd name="connsiteX379" fmla="*/ 1117971 w 4011346"/>
                <a:gd name="connsiteY379" fmla="*/ 557316 h 1822125"/>
                <a:gd name="connsiteX380" fmla="*/ 1114634 w 4011346"/>
                <a:gd name="connsiteY380" fmla="*/ 507257 h 1822125"/>
                <a:gd name="connsiteX381" fmla="*/ 1104622 w 4011346"/>
                <a:gd name="connsiteY381" fmla="*/ 427164 h 1822125"/>
                <a:gd name="connsiteX382" fmla="*/ 1101285 w 4011346"/>
                <a:gd name="connsiteY382" fmla="*/ 367094 h 1822125"/>
                <a:gd name="connsiteX383" fmla="*/ 1124646 w 4011346"/>
                <a:gd name="connsiteY383" fmla="*/ 273652 h 1822125"/>
                <a:gd name="connsiteX384" fmla="*/ 1031203 w 4011346"/>
                <a:gd name="connsiteY384" fmla="*/ 263640 h 1822125"/>
                <a:gd name="connsiteX385" fmla="*/ 1014517 w 4011346"/>
                <a:gd name="connsiteY385" fmla="*/ 320373 h 1822125"/>
                <a:gd name="connsiteX386" fmla="*/ 1024529 w 4011346"/>
                <a:gd name="connsiteY386" fmla="*/ 367094 h 1822125"/>
                <a:gd name="connsiteX387" fmla="*/ 981145 w 4011346"/>
                <a:gd name="connsiteY387" fmla="*/ 420490 h 1822125"/>
                <a:gd name="connsiteX388" fmla="*/ 991157 w 4011346"/>
                <a:gd name="connsiteY388" fmla="*/ 457199 h 1822125"/>
                <a:gd name="connsiteX389" fmla="*/ 981145 w 4011346"/>
                <a:gd name="connsiteY389" fmla="*/ 503920 h 1822125"/>
                <a:gd name="connsiteX390" fmla="*/ 1001168 w 4011346"/>
                <a:gd name="connsiteY390" fmla="*/ 527281 h 1822125"/>
                <a:gd name="connsiteX391" fmla="*/ 1017854 w 4011346"/>
                <a:gd name="connsiteY391" fmla="*/ 574002 h 1822125"/>
                <a:gd name="connsiteX392" fmla="*/ 1047890 w 4011346"/>
                <a:gd name="connsiteY392" fmla="*/ 560653 h 1822125"/>
                <a:gd name="connsiteX393" fmla="*/ 1014517 w 4011346"/>
                <a:gd name="connsiteY393" fmla="*/ 614049 h 1822125"/>
                <a:gd name="connsiteX394" fmla="*/ 957784 w 4011346"/>
                <a:gd name="connsiteY394" fmla="*/ 560653 h 1822125"/>
                <a:gd name="connsiteX395" fmla="*/ 884365 w 4011346"/>
                <a:gd name="connsiteY395" fmla="*/ 523944 h 1822125"/>
                <a:gd name="connsiteX396" fmla="*/ 824295 w 4011346"/>
                <a:gd name="connsiteY396" fmla="*/ 500583 h 1822125"/>
                <a:gd name="connsiteX397" fmla="*/ 810946 w 4011346"/>
                <a:gd name="connsiteY397" fmla="*/ 537292 h 1822125"/>
                <a:gd name="connsiteX398" fmla="*/ 827633 w 4011346"/>
                <a:gd name="connsiteY398" fmla="*/ 574002 h 1822125"/>
                <a:gd name="connsiteX399" fmla="*/ 814284 w 4011346"/>
                <a:gd name="connsiteY399" fmla="*/ 597363 h 1822125"/>
                <a:gd name="connsiteX400" fmla="*/ 800935 w 4011346"/>
                <a:gd name="connsiteY400" fmla="*/ 614049 h 1822125"/>
                <a:gd name="connsiteX401" fmla="*/ 770900 w 4011346"/>
                <a:gd name="connsiteY401" fmla="*/ 557316 h 1822125"/>
                <a:gd name="connsiteX402" fmla="*/ 744202 w 4011346"/>
                <a:gd name="connsiteY402" fmla="*/ 594025 h 1822125"/>
                <a:gd name="connsiteX403" fmla="*/ 707492 w 4011346"/>
                <a:gd name="connsiteY403" fmla="*/ 587351 h 1822125"/>
                <a:gd name="connsiteX404" fmla="*/ 654097 w 4011346"/>
                <a:gd name="connsiteY404" fmla="*/ 624060 h 1822125"/>
                <a:gd name="connsiteX405" fmla="*/ 644085 w 4011346"/>
                <a:gd name="connsiteY405" fmla="*/ 600700 h 1822125"/>
                <a:gd name="connsiteX406" fmla="*/ 654097 w 4011346"/>
                <a:gd name="connsiteY406" fmla="*/ 563990 h 1822125"/>
                <a:gd name="connsiteX407" fmla="*/ 614050 w 4011346"/>
                <a:gd name="connsiteY407" fmla="*/ 600700 h 1822125"/>
                <a:gd name="connsiteX408" fmla="*/ 594027 w 4011346"/>
                <a:gd name="connsiteY408" fmla="*/ 600700 h 1822125"/>
                <a:gd name="connsiteX409" fmla="*/ 533957 w 4011346"/>
                <a:gd name="connsiteY409" fmla="*/ 634072 h 1822125"/>
                <a:gd name="connsiteX410" fmla="*/ 510596 w 4011346"/>
                <a:gd name="connsiteY410" fmla="*/ 657433 h 1822125"/>
                <a:gd name="connsiteX411" fmla="*/ 500584 w 4011346"/>
                <a:gd name="connsiteY411" fmla="*/ 704154 h 1822125"/>
                <a:gd name="connsiteX412" fmla="*/ 450526 w 4011346"/>
                <a:gd name="connsiteY412" fmla="*/ 690805 h 1822125"/>
                <a:gd name="connsiteX413" fmla="*/ 433840 w 4011346"/>
                <a:gd name="connsiteY413" fmla="*/ 654095 h 1822125"/>
                <a:gd name="connsiteX414" fmla="*/ 467212 w 4011346"/>
                <a:gd name="connsiteY414" fmla="*/ 624060 h 1822125"/>
                <a:gd name="connsiteX415" fmla="*/ 453863 w 4011346"/>
                <a:gd name="connsiteY415" fmla="*/ 600700 h 1822125"/>
                <a:gd name="connsiteX416" fmla="*/ 390456 w 4011346"/>
                <a:gd name="connsiteY416" fmla="*/ 570665 h 1822125"/>
                <a:gd name="connsiteX417" fmla="*/ 417154 w 4011346"/>
                <a:gd name="connsiteY417" fmla="*/ 620723 h 1822125"/>
                <a:gd name="connsiteX418" fmla="*/ 407142 w 4011346"/>
                <a:gd name="connsiteY418" fmla="*/ 664107 h 1822125"/>
                <a:gd name="connsiteX419" fmla="*/ 413817 w 4011346"/>
                <a:gd name="connsiteY419" fmla="*/ 700817 h 1822125"/>
                <a:gd name="connsiteX420" fmla="*/ 427165 w 4011346"/>
                <a:gd name="connsiteY420" fmla="*/ 724177 h 1822125"/>
                <a:gd name="connsiteX421" fmla="*/ 413817 w 4011346"/>
                <a:gd name="connsiteY421" fmla="*/ 754212 h 1822125"/>
                <a:gd name="connsiteX422" fmla="*/ 390456 w 4011346"/>
                <a:gd name="connsiteY422" fmla="*/ 730852 h 1822125"/>
                <a:gd name="connsiteX423" fmla="*/ 360421 w 4011346"/>
                <a:gd name="connsiteY423" fmla="*/ 727514 h 1822125"/>
                <a:gd name="connsiteX424" fmla="*/ 333723 w 4011346"/>
                <a:gd name="connsiteY424" fmla="*/ 767561 h 1822125"/>
                <a:gd name="connsiteX425" fmla="*/ 307025 w 4011346"/>
                <a:gd name="connsiteY425" fmla="*/ 787584 h 1822125"/>
                <a:gd name="connsiteX426" fmla="*/ 320374 w 4011346"/>
                <a:gd name="connsiteY426" fmla="*/ 814282 h 1822125"/>
                <a:gd name="connsiteX427" fmla="*/ 303688 w 4011346"/>
                <a:gd name="connsiteY427" fmla="*/ 837643 h 1822125"/>
                <a:gd name="connsiteX428" fmla="*/ 233606 w 4011346"/>
                <a:gd name="connsiteY428" fmla="*/ 800933 h 1822125"/>
                <a:gd name="connsiteX429" fmla="*/ 243618 w 4011346"/>
                <a:gd name="connsiteY429" fmla="*/ 850992 h 1822125"/>
                <a:gd name="connsiteX430" fmla="*/ 263641 w 4011346"/>
                <a:gd name="connsiteY430" fmla="*/ 871015 h 1822125"/>
                <a:gd name="connsiteX431" fmla="*/ 250292 w 4011346"/>
                <a:gd name="connsiteY431" fmla="*/ 884364 h 1822125"/>
                <a:gd name="connsiteX432" fmla="*/ 193560 w 4011346"/>
                <a:gd name="connsiteY432" fmla="*/ 847654 h 1822125"/>
                <a:gd name="connsiteX433" fmla="*/ 170199 w 4011346"/>
                <a:gd name="connsiteY433" fmla="*/ 807608 h 1822125"/>
                <a:gd name="connsiteX434" fmla="*/ 170199 w 4011346"/>
                <a:gd name="connsiteY434" fmla="*/ 760887 h 1822125"/>
                <a:gd name="connsiteX435" fmla="*/ 133490 w 4011346"/>
                <a:gd name="connsiteY435" fmla="*/ 684130 h 1822125"/>
                <a:gd name="connsiteX436" fmla="*/ 196897 w 4011346"/>
                <a:gd name="connsiteY436" fmla="*/ 714165 h 1822125"/>
                <a:gd name="connsiteX437" fmla="*/ 256967 w 4011346"/>
                <a:gd name="connsiteY437" fmla="*/ 744200 h 1822125"/>
                <a:gd name="connsiteX438" fmla="*/ 293676 w 4011346"/>
                <a:gd name="connsiteY438" fmla="*/ 747538 h 1822125"/>
                <a:gd name="connsiteX439" fmla="*/ 327049 w 4011346"/>
                <a:gd name="connsiteY439" fmla="*/ 717503 h 1822125"/>
                <a:gd name="connsiteX440" fmla="*/ 343735 w 4011346"/>
                <a:gd name="connsiteY440" fmla="*/ 680793 h 1822125"/>
                <a:gd name="connsiteX441" fmla="*/ 333723 w 4011346"/>
                <a:gd name="connsiteY441" fmla="*/ 630735 h 1822125"/>
                <a:gd name="connsiteX442" fmla="*/ 290339 w 4011346"/>
                <a:gd name="connsiteY442" fmla="*/ 610711 h 1822125"/>
                <a:gd name="connsiteX443" fmla="*/ 236944 w 4011346"/>
                <a:gd name="connsiteY443" fmla="*/ 563990 h 1822125"/>
                <a:gd name="connsiteX444" fmla="*/ 133490 w 4011346"/>
                <a:gd name="connsiteY444" fmla="*/ 507257 h 1822125"/>
                <a:gd name="connsiteX0" fmla="*/ 133490 w 4011346"/>
                <a:gd name="connsiteY0" fmla="*/ 537292 h 1852160"/>
                <a:gd name="connsiteX1" fmla="*/ 46722 w 4011346"/>
                <a:gd name="connsiteY1" fmla="*/ 567327 h 1852160"/>
                <a:gd name="connsiteX2" fmla="*/ 33373 w 4011346"/>
                <a:gd name="connsiteY2" fmla="*/ 597362 h 1852160"/>
                <a:gd name="connsiteX3" fmla="*/ 43384 w 4011346"/>
                <a:gd name="connsiteY3" fmla="*/ 627398 h 1852160"/>
                <a:gd name="connsiteX4" fmla="*/ 60071 w 4011346"/>
                <a:gd name="connsiteY4" fmla="*/ 654095 h 1852160"/>
                <a:gd name="connsiteX5" fmla="*/ 73419 w 4011346"/>
                <a:gd name="connsiteY5" fmla="*/ 684130 h 1852160"/>
                <a:gd name="connsiteX6" fmla="*/ 56733 w 4011346"/>
                <a:gd name="connsiteY6" fmla="*/ 707491 h 1852160"/>
                <a:gd name="connsiteX7" fmla="*/ 76757 w 4011346"/>
                <a:gd name="connsiteY7" fmla="*/ 787584 h 1852160"/>
                <a:gd name="connsiteX8" fmla="*/ 66745 w 4011346"/>
                <a:gd name="connsiteY8" fmla="*/ 804271 h 1852160"/>
                <a:gd name="connsiteX9" fmla="*/ 70082 w 4011346"/>
                <a:gd name="connsiteY9" fmla="*/ 830968 h 1852160"/>
                <a:gd name="connsiteX10" fmla="*/ 70082 w 4011346"/>
                <a:gd name="connsiteY10" fmla="*/ 871015 h 1852160"/>
                <a:gd name="connsiteX11" fmla="*/ 80094 w 4011346"/>
                <a:gd name="connsiteY11" fmla="*/ 891038 h 1852160"/>
                <a:gd name="connsiteX12" fmla="*/ 76757 w 4011346"/>
                <a:gd name="connsiteY12" fmla="*/ 914399 h 1852160"/>
                <a:gd name="connsiteX13" fmla="*/ 106792 w 4011346"/>
                <a:gd name="connsiteY13" fmla="*/ 947771 h 1852160"/>
                <a:gd name="connsiteX14" fmla="*/ 106792 w 4011346"/>
                <a:gd name="connsiteY14" fmla="*/ 977806 h 1852160"/>
                <a:gd name="connsiteX15" fmla="*/ 13349 w 4011346"/>
                <a:gd name="connsiteY15" fmla="*/ 1067911 h 1852160"/>
                <a:gd name="connsiteX16" fmla="*/ 33373 w 4011346"/>
                <a:gd name="connsiteY16" fmla="*/ 1101284 h 1852160"/>
                <a:gd name="connsiteX17" fmla="*/ 33373 w 4011346"/>
                <a:gd name="connsiteY17" fmla="*/ 1101284 h 1852160"/>
                <a:gd name="connsiteX18" fmla="*/ 16687 w 4011346"/>
                <a:gd name="connsiteY18" fmla="*/ 1131319 h 1852160"/>
                <a:gd name="connsiteX19" fmla="*/ 3338 w 4011346"/>
                <a:gd name="connsiteY19" fmla="*/ 1161354 h 1852160"/>
                <a:gd name="connsiteX20" fmla="*/ 0 w 4011346"/>
                <a:gd name="connsiteY20" fmla="*/ 1221424 h 1852160"/>
                <a:gd name="connsiteX21" fmla="*/ 16687 w 4011346"/>
                <a:gd name="connsiteY21" fmla="*/ 1264808 h 1852160"/>
                <a:gd name="connsiteX22" fmla="*/ 20024 w 4011346"/>
                <a:gd name="connsiteY22" fmla="*/ 1298180 h 1852160"/>
                <a:gd name="connsiteX23" fmla="*/ 56733 w 4011346"/>
                <a:gd name="connsiteY23" fmla="*/ 1308192 h 1852160"/>
                <a:gd name="connsiteX24" fmla="*/ 116803 w 4011346"/>
                <a:gd name="connsiteY24" fmla="*/ 1394960 h 1852160"/>
                <a:gd name="connsiteX25" fmla="*/ 96780 w 4011346"/>
                <a:gd name="connsiteY25" fmla="*/ 1418320 h 1852160"/>
                <a:gd name="connsiteX26" fmla="*/ 93443 w 4011346"/>
                <a:gd name="connsiteY26" fmla="*/ 1448355 h 1852160"/>
                <a:gd name="connsiteX27" fmla="*/ 120141 w 4011346"/>
                <a:gd name="connsiteY27" fmla="*/ 1451692 h 1852160"/>
                <a:gd name="connsiteX28" fmla="*/ 160187 w 4011346"/>
                <a:gd name="connsiteY28" fmla="*/ 1465041 h 1852160"/>
                <a:gd name="connsiteX29" fmla="*/ 186885 w 4011346"/>
                <a:gd name="connsiteY29" fmla="*/ 1478390 h 1852160"/>
                <a:gd name="connsiteX30" fmla="*/ 213583 w 4011346"/>
                <a:gd name="connsiteY30" fmla="*/ 1508425 h 1852160"/>
                <a:gd name="connsiteX31" fmla="*/ 243618 w 4011346"/>
                <a:gd name="connsiteY31" fmla="*/ 1511762 h 1852160"/>
                <a:gd name="connsiteX32" fmla="*/ 287002 w 4011346"/>
                <a:gd name="connsiteY32" fmla="*/ 1541798 h 1852160"/>
                <a:gd name="connsiteX33" fmla="*/ 310363 w 4011346"/>
                <a:gd name="connsiteY33" fmla="*/ 1551809 h 1852160"/>
                <a:gd name="connsiteX34" fmla="*/ 310363 w 4011346"/>
                <a:gd name="connsiteY34" fmla="*/ 1588519 h 1852160"/>
                <a:gd name="connsiteX35" fmla="*/ 270316 w 4011346"/>
                <a:gd name="connsiteY35" fmla="*/ 1628565 h 1852160"/>
                <a:gd name="connsiteX36" fmla="*/ 280327 w 4011346"/>
                <a:gd name="connsiteY36" fmla="*/ 1651926 h 1852160"/>
                <a:gd name="connsiteX37" fmla="*/ 273653 w 4011346"/>
                <a:gd name="connsiteY37" fmla="*/ 1671949 h 1852160"/>
                <a:gd name="connsiteX38" fmla="*/ 266979 w 4011346"/>
                <a:gd name="connsiteY38" fmla="*/ 1688635 h 1852160"/>
                <a:gd name="connsiteX39" fmla="*/ 240281 w 4011346"/>
                <a:gd name="connsiteY39" fmla="*/ 1728682 h 1852160"/>
                <a:gd name="connsiteX40" fmla="*/ 307025 w 4011346"/>
                <a:gd name="connsiteY40" fmla="*/ 1765392 h 1852160"/>
                <a:gd name="connsiteX41" fmla="*/ 337060 w 4011346"/>
                <a:gd name="connsiteY41" fmla="*/ 1772066 h 1852160"/>
                <a:gd name="connsiteX42" fmla="*/ 360421 w 4011346"/>
                <a:gd name="connsiteY42" fmla="*/ 1778741 h 1852160"/>
                <a:gd name="connsiteX43" fmla="*/ 380444 w 4011346"/>
                <a:gd name="connsiteY43" fmla="*/ 1785415 h 1852160"/>
                <a:gd name="connsiteX44" fmla="*/ 407142 w 4011346"/>
                <a:gd name="connsiteY44" fmla="*/ 1805438 h 1852160"/>
                <a:gd name="connsiteX45" fmla="*/ 437177 w 4011346"/>
                <a:gd name="connsiteY45" fmla="*/ 1802101 h 1852160"/>
                <a:gd name="connsiteX46" fmla="*/ 507259 w 4011346"/>
                <a:gd name="connsiteY46" fmla="*/ 1852160 h 1852160"/>
                <a:gd name="connsiteX47" fmla="*/ 517271 w 4011346"/>
                <a:gd name="connsiteY47" fmla="*/ 1838811 h 1852160"/>
                <a:gd name="connsiteX48" fmla="*/ 507259 w 4011346"/>
                <a:gd name="connsiteY48" fmla="*/ 1798764 h 1852160"/>
                <a:gd name="connsiteX49" fmla="*/ 500584 w 4011346"/>
                <a:gd name="connsiteY49" fmla="*/ 1765392 h 1852160"/>
                <a:gd name="connsiteX50" fmla="*/ 483898 w 4011346"/>
                <a:gd name="connsiteY50" fmla="*/ 1722008 h 1852160"/>
                <a:gd name="connsiteX51" fmla="*/ 513933 w 4011346"/>
                <a:gd name="connsiteY51" fmla="*/ 1701984 h 1852160"/>
                <a:gd name="connsiteX52" fmla="*/ 547306 w 4011346"/>
                <a:gd name="connsiteY52" fmla="*/ 1678624 h 1852160"/>
                <a:gd name="connsiteX53" fmla="*/ 527282 w 4011346"/>
                <a:gd name="connsiteY53" fmla="*/ 1661938 h 1852160"/>
                <a:gd name="connsiteX54" fmla="*/ 517271 w 4011346"/>
                <a:gd name="connsiteY54" fmla="*/ 1628565 h 1852160"/>
                <a:gd name="connsiteX55" fmla="*/ 480561 w 4011346"/>
                <a:gd name="connsiteY55" fmla="*/ 1611879 h 1852160"/>
                <a:gd name="connsiteX56" fmla="*/ 470549 w 4011346"/>
                <a:gd name="connsiteY56" fmla="*/ 1591856 h 1852160"/>
                <a:gd name="connsiteX57" fmla="*/ 480561 w 4011346"/>
                <a:gd name="connsiteY57" fmla="*/ 1561821 h 1852160"/>
                <a:gd name="connsiteX58" fmla="*/ 490573 w 4011346"/>
                <a:gd name="connsiteY58" fmla="*/ 1521774 h 1852160"/>
                <a:gd name="connsiteX59" fmla="*/ 513933 w 4011346"/>
                <a:gd name="connsiteY59" fmla="*/ 1541798 h 1852160"/>
                <a:gd name="connsiteX60" fmla="*/ 520608 w 4011346"/>
                <a:gd name="connsiteY60" fmla="*/ 1525111 h 1852160"/>
                <a:gd name="connsiteX61" fmla="*/ 543968 w 4011346"/>
                <a:gd name="connsiteY61" fmla="*/ 1488402 h 1852160"/>
                <a:gd name="connsiteX62" fmla="*/ 574003 w 4011346"/>
                <a:gd name="connsiteY62" fmla="*/ 1471716 h 1852160"/>
                <a:gd name="connsiteX63" fmla="*/ 590690 w 4011346"/>
                <a:gd name="connsiteY63" fmla="*/ 1485065 h 1852160"/>
                <a:gd name="connsiteX64" fmla="*/ 610713 w 4011346"/>
                <a:gd name="connsiteY64" fmla="*/ 1458367 h 1852160"/>
                <a:gd name="connsiteX65" fmla="*/ 630736 w 4011346"/>
                <a:gd name="connsiteY65" fmla="*/ 1485065 h 1852160"/>
                <a:gd name="connsiteX66" fmla="*/ 657434 w 4011346"/>
                <a:gd name="connsiteY66" fmla="*/ 1508425 h 1852160"/>
                <a:gd name="connsiteX67" fmla="*/ 674120 w 4011346"/>
                <a:gd name="connsiteY67" fmla="*/ 1515100 h 1852160"/>
                <a:gd name="connsiteX68" fmla="*/ 697481 w 4011346"/>
                <a:gd name="connsiteY68" fmla="*/ 1515100 h 1852160"/>
                <a:gd name="connsiteX69" fmla="*/ 717504 w 4011346"/>
                <a:gd name="connsiteY69" fmla="*/ 1501751 h 1852160"/>
                <a:gd name="connsiteX70" fmla="*/ 744202 w 4011346"/>
                <a:gd name="connsiteY70" fmla="*/ 1501751 h 1852160"/>
                <a:gd name="connsiteX71" fmla="*/ 760888 w 4011346"/>
                <a:gd name="connsiteY71" fmla="*/ 1498414 h 1852160"/>
                <a:gd name="connsiteX72" fmla="*/ 790923 w 4011346"/>
                <a:gd name="connsiteY72" fmla="*/ 1531786 h 1852160"/>
                <a:gd name="connsiteX73" fmla="*/ 797598 w 4011346"/>
                <a:gd name="connsiteY73" fmla="*/ 1505088 h 1852160"/>
                <a:gd name="connsiteX74" fmla="*/ 817621 w 4011346"/>
                <a:gd name="connsiteY74" fmla="*/ 1521774 h 1852160"/>
                <a:gd name="connsiteX75" fmla="*/ 837644 w 4011346"/>
                <a:gd name="connsiteY75" fmla="*/ 1498414 h 1852160"/>
                <a:gd name="connsiteX76" fmla="*/ 827633 w 4011346"/>
                <a:gd name="connsiteY76" fmla="*/ 1478390 h 1852160"/>
                <a:gd name="connsiteX77" fmla="*/ 810946 w 4011346"/>
                <a:gd name="connsiteY77" fmla="*/ 1465041 h 1852160"/>
                <a:gd name="connsiteX78" fmla="*/ 810946 w 4011346"/>
                <a:gd name="connsiteY78" fmla="*/ 1438344 h 1852160"/>
                <a:gd name="connsiteX79" fmla="*/ 810946 w 4011346"/>
                <a:gd name="connsiteY79" fmla="*/ 1424995 h 1852160"/>
                <a:gd name="connsiteX80" fmla="*/ 830970 w 4011346"/>
                <a:gd name="connsiteY80" fmla="*/ 1421657 h 1852160"/>
                <a:gd name="connsiteX81" fmla="*/ 840981 w 4011346"/>
                <a:gd name="connsiteY81" fmla="*/ 1418320 h 1852160"/>
                <a:gd name="connsiteX82" fmla="*/ 820958 w 4011346"/>
                <a:gd name="connsiteY82" fmla="*/ 1381611 h 1852160"/>
                <a:gd name="connsiteX83" fmla="*/ 854330 w 4011346"/>
                <a:gd name="connsiteY83" fmla="*/ 1374936 h 1852160"/>
                <a:gd name="connsiteX84" fmla="*/ 891040 w 4011346"/>
                <a:gd name="connsiteY84" fmla="*/ 1381611 h 1852160"/>
                <a:gd name="connsiteX85" fmla="*/ 964459 w 4011346"/>
                <a:gd name="connsiteY85" fmla="*/ 1338227 h 1852160"/>
                <a:gd name="connsiteX86" fmla="*/ 1001168 w 4011346"/>
                <a:gd name="connsiteY86" fmla="*/ 1338227 h 1852160"/>
                <a:gd name="connsiteX87" fmla="*/ 1027866 w 4011346"/>
                <a:gd name="connsiteY87" fmla="*/ 1314866 h 1852160"/>
                <a:gd name="connsiteX88" fmla="*/ 1047890 w 4011346"/>
                <a:gd name="connsiteY88" fmla="*/ 1324878 h 1852160"/>
                <a:gd name="connsiteX89" fmla="*/ 1067913 w 4011346"/>
                <a:gd name="connsiteY89" fmla="*/ 1334889 h 1852160"/>
                <a:gd name="connsiteX90" fmla="*/ 1087936 w 4011346"/>
                <a:gd name="connsiteY90" fmla="*/ 1361587 h 1852160"/>
                <a:gd name="connsiteX91" fmla="*/ 1074587 w 4011346"/>
                <a:gd name="connsiteY91" fmla="*/ 1374936 h 1852160"/>
                <a:gd name="connsiteX92" fmla="*/ 1104622 w 4011346"/>
                <a:gd name="connsiteY92" fmla="*/ 1374936 h 1852160"/>
                <a:gd name="connsiteX93" fmla="*/ 1107960 w 4011346"/>
                <a:gd name="connsiteY93" fmla="*/ 1391622 h 1852160"/>
                <a:gd name="connsiteX94" fmla="*/ 1121309 w 4011346"/>
                <a:gd name="connsiteY94" fmla="*/ 1374936 h 1852160"/>
                <a:gd name="connsiteX95" fmla="*/ 1134657 w 4011346"/>
                <a:gd name="connsiteY95" fmla="*/ 1388285 h 1852160"/>
                <a:gd name="connsiteX96" fmla="*/ 1134657 w 4011346"/>
                <a:gd name="connsiteY96" fmla="*/ 1408308 h 1852160"/>
                <a:gd name="connsiteX97" fmla="*/ 1148006 w 4011346"/>
                <a:gd name="connsiteY97" fmla="*/ 1404971 h 1852160"/>
                <a:gd name="connsiteX98" fmla="*/ 1208076 w 4011346"/>
                <a:gd name="connsiteY98" fmla="*/ 1358250 h 1852160"/>
                <a:gd name="connsiteX99" fmla="*/ 1211414 w 4011346"/>
                <a:gd name="connsiteY99" fmla="*/ 1378273 h 1852160"/>
                <a:gd name="connsiteX100" fmla="*/ 1244786 w 4011346"/>
                <a:gd name="connsiteY100" fmla="*/ 1398297 h 1852160"/>
                <a:gd name="connsiteX101" fmla="*/ 1264809 w 4011346"/>
                <a:gd name="connsiteY101" fmla="*/ 1428332 h 1852160"/>
                <a:gd name="connsiteX102" fmla="*/ 1298181 w 4011346"/>
                <a:gd name="connsiteY102" fmla="*/ 1535123 h 1852160"/>
                <a:gd name="connsiteX103" fmla="*/ 1308193 w 4011346"/>
                <a:gd name="connsiteY103" fmla="*/ 1491739 h 1852160"/>
                <a:gd name="connsiteX104" fmla="*/ 1344903 w 4011346"/>
                <a:gd name="connsiteY104" fmla="*/ 1511762 h 1852160"/>
                <a:gd name="connsiteX105" fmla="*/ 1388287 w 4011346"/>
                <a:gd name="connsiteY105" fmla="*/ 1511762 h 1852160"/>
                <a:gd name="connsiteX106" fmla="*/ 1394961 w 4011346"/>
                <a:gd name="connsiteY106" fmla="*/ 1535123 h 1852160"/>
                <a:gd name="connsiteX107" fmla="*/ 1435008 w 4011346"/>
                <a:gd name="connsiteY107" fmla="*/ 1558484 h 1852160"/>
                <a:gd name="connsiteX108" fmla="*/ 1465043 w 4011346"/>
                <a:gd name="connsiteY108" fmla="*/ 1558484 h 1852160"/>
                <a:gd name="connsiteX109" fmla="*/ 1491741 w 4011346"/>
                <a:gd name="connsiteY109" fmla="*/ 1571833 h 1852160"/>
                <a:gd name="connsiteX110" fmla="*/ 1535125 w 4011346"/>
                <a:gd name="connsiteY110" fmla="*/ 1528449 h 1852160"/>
                <a:gd name="connsiteX111" fmla="*/ 1571834 w 4011346"/>
                <a:gd name="connsiteY111" fmla="*/ 1508425 h 1852160"/>
                <a:gd name="connsiteX112" fmla="*/ 1608544 w 4011346"/>
                <a:gd name="connsiteY112" fmla="*/ 1511762 h 1852160"/>
                <a:gd name="connsiteX113" fmla="*/ 1655265 w 4011346"/>
                <a:gd name="connsiteY113" fmla="*/ 1525111 h 1852160"/>
                <a:gd name="connsiteX114" fmla="*/ 1681963 w 4011346"/>
                <a:gd name="connsiteY114" fmla="*/ 1541798 h 1852160"/>
                <a:gd name="connsiteX115" fmla="*/ 1735358 w 4011346"/>
                <a:gd name="connsiteY115" fmla="*/ 1535123 h 1852160"/>
                <a:gd name="connsiteX116" fmla="*/ 1745370 w 4011346"/>
                <a:gd name="connsiteY116" fmla="*/ 1515100 h 1852160"/>
                <a:gd name="connsiteX117" fmla="*/ 1738695 w 4011346"/>
                <a:gd name="connsiteY117" fmla="*/ 1495076 h 1852160"/>
                <a:gd name="connsiteX118" fmla="*/ 1765393 w 4011346"/>
                <a:gd name="connsiteY118" fmla="*/ 1468379 h 1852160"/>
                <a:gd name="connsiteX119" fmla="*/ 1778742 w 4011346"/>
                <a:gd name="connsiteY119" fmla="*/ 1465041 h 1852160"/>
                <a:gd name="connsiteX120" fmla="*/ 1812114 w 4011346"/>
                <a:gd name="connsiteY120" fmla="*/ 1481727 h 1852160"/>
                <a:gd name="connsiteX121" fmla="*/ 1852161 w 4011346"/>
                <a:gd name="connsiteY121" fmla="*/ 1495076 h 1852160"/>
                <a:gd name="connsiteX122" fmla="*/ 1858836 w 4011346"/>
                <a:gd name="connsiteY122" fmla="*/ 1521774 h 1852160"/>
                <a:gd name="connsiteX123" fmla="*/ 1872184 w 4011346"/>
                <a:gd name="connsiteY123" fmla="*/ 1528449 h 1852160"/>
                <a:gd name="connsiteX124" fmla="*/ 1902219 w 4011346"/>
                <a:gd name="connsiteY124" fmla="*/ 1531786 h 1852160"/>
                <a:gd name="connsiteX125" fmla="*/ 1932254 w 4011346"/>
                <a:gd name="connsiteY125" fmla="*/ 1515100 h 1852160"/>
                <a:gd name="connsiteX126" fmla="*/ 1962290 w 4011346"/>
                <a:gd name="connsiteY126" fmla="*/ 1528449 h 1852160"/>
                <a:gd name="connsiteX127" fmla="*/ 1985650 w 4011346"/>
                <a:gd name="connsiteY127" fmla="*/ 1541798 h 1852160"/>
                <a:gd name="connsiteX128" fmla="*/ 1995662 w 4011346"/>
                <a:gd name="connsiteY128" fmla="*/ 1551809 h 1852160"/>
                <a:gd name="connsiteX129" fmla="*/ 2032371 w 4011346"/>
                <a:gd name="connsiteY129" fmla="*/ 1571833 h 1852160"/>
                <a:gd name="connsiteX130" fmla="*/ 2069081 w 4011346"/>
                <a:gd name="connsiteY130" fmla="*/ 1568495 h 1852160"/>
                <a:gd name="connsiteX131" fmla="*/ 2142500 w 4011346"/>
                <a:gd name="connsiteY131" fmla="*/ 1525111 h 1852160"/>
                <a:gd name="connsiteX132" fmla="*/ 2195895 w 4011346"/>
                <a:gd name="connsiteY132" fmla="*/ 1538460 h 1852160"/>
                <a:gd name="connsiteX133" fmla="*/ 2225930 w 4011346"/>
                <a:gd name="connsiteY133" fmla="*/ 1548472 h 1852160"/>
                <a:gd name="connsiteX134" fmla="*/ 2259303 w 4011346"/>
                <a:gd name="connsiteY134" fmla="*/ 1535123 h 1852160"/>
                <a:gd name="connsiteX135" fmla="*/ 2262640 w 4011346"/>
                <a:gd name="connsiteY135" fmla="*/ 1508425 h 1852160"/>
                <a:gd name="connsiteX136" fmla="*/ 2282663 w 4011346"/>
                <a:gd name="connsiteY136" fmla="*/ 1478390 h 1852160"/>
                <a:gd name="connsiteX137" fmla="*/ 2299349 w 4011346"/>
                <a:gd name="connsiteY137" fmla="*/ 1424995 h 1852160"/>
                <a:gd name="connsiteX138" fmla="*/ 2282663 w 4011346"/>
                <a:gd name="connsiteY138" fmla="*/ 1428332 h 1852160"/>
                <a:gd name="connsiteX139" fmla="*/ 2312698 w 4011346"/>
                <a:gd name="connsiteY139" fmla="*/ 1401634 h 1852160"/>
                <a:gd name="connsiteX140" fmla="*/ 2339396 w 4011346"/>
                <a:gd name="connsiteY140" fmla="*/ 1398297 h 1852160"/>
                <a:gd name="connsiteX141" fmla="*/ 2396129 w 4011346"/>
                <a:gd name="connsiteY141" fmla="*/ 1408308 h 1852160"/>
                <a:gd name="connsiteX142" fmla="*/ 2436176 w 4011346"/>
                <a:gd name="connsiteY142" fmla="*/ 1435006 h 1852160"/>
                <a:gd name="connsiteX143" fmla="*/ 2462873 w 4011346"/>
                <a:gd name="connsiteY143" fmla="*/ 1465041 h 1852160"/>
                <a:gd name="connsiteX144" fmla="*/ 2469548 w 4011346"/>
                <a:gd name="connsiteY144" fmla="*/ 1501751 h 1852160"/>
                <a:gd name="connsiteX145" fmla="*/ 2476222 w 4011346"/>
                <a:gd name="connsiteY145" fmla="*/ 1541798 h 1852160"/>
                <a:gd name="connsiteX146" fmla="*/ 2486234 w 4011346"/>
                <a:gd name="connsiteY146" fmla="*/ 1561821 h 1852160"/>
                <a:gd name="connsiteX147" fmla="*/ 2529618 w 4011346"/>
                <a:gd name="connsiteY147" fmla="*/ 1575170 h 1852160"/>
                <a:gd name="connsiteX148" fmla="*/ 2549641 w 4011346"/>
                <a:gd name="connsiteY148" fmla="*/ 1595193 h 1852160"/>
                <a:gd name="connsiteX149" fmla="*/ 2562990 w 4011346"/>
                <a:gd name="connsiteY149" fmla="*/ 1628565 h 1852160"/>
                <a:gd name="connsiteX150" fmla="*/ 2586351 w 4011346"/>
                <a:gd name="connsiteY150" fmla="*/ 1621891 h 1852160"/>
                <a:gd name="connsiteX151" fmla="*/ 2606374 w 4011346"/>
                <a:gd name="connsiteY151" fmla="*/ 1611879 h 1852160"/>
                <a:gd name="connsiteX152" fmla="*/ 2639746 w 4011346"/>
                <a:gd name="connsiteY152" fmla="*/ 1595193 h 1852160"/>
                <a:gd name="connsiteX153" fmla="*/ 2643084 w 4011346"/>
                <a:gd name="connsiteY153" fmla="*/ 1611879 h 1852160"/>
                <a:gd name="connsiteX154" fmla="*/ 2626398 w 4011346"/>
                <a:gd name="connsiteY154" fmla="*/ 1641914 h 1852160"/>
                <a:gd name="connsiteX155" fmla="*/ 2616386 w 4011346"/>
                <a:gd name="connsiteY155" fmla="*/ 1678624 h 1852160"/>
                <a:gd name="connsiteX156" fmla="*/ 2603037 w 4011346"/>
                <a:gd name="connsiteY156" fmla="*/ 1732019 h 1852160"/>
                <a:gd name="connsiteX157" fmla="*/ 2579676 w 4011346"/>
                <a:gd name="connsiteY157" fmla="*/ 1705322 h 1852160"/>
                <a:gd name="connsiteX158" fmla="*/ 2552979 w 4011346"/>
                <a:gd name="connsiteY158" fmla="*/ 1728682 h 1852160"/>
                <a:gd name="connsiteX159" fmla="*/ 2559653 w 4011346"/>
                <a:gd name="connsiteY159" fmla="*/ 1755380 h 1852160"/>
                <a:gd name="connsiteX160" fmla="*/ 2559653 w 4011346"/>
                <a:gd name="connsiteY160" fmla="*/ 1792089 h 1852160"/>
                <a:gd name="connsiteX161" fmla="*/ 2549641 w 4011346"/>
                <a:gd name="connsiteY161" fmla="*/ 1812113 h 1852160"/>
                <a:gd name="connsiteX162" fmla="*/ 2589688 w 4011346"/>
                <a:gd name="connsiteY162" fmla="*/ 1792089 h 1852160"/>
                <a:gd name="connsiteX163" fmla="*/ 2626398 w 4011346"/>
                <a:gd name="connsiteY163" fmla="*/ 1802101 h 1852160"/>
                <a:gd name="connsiteX164" fmla="*/ 2653095 w 4011346"/>
                <a:gd name="connsiteY164" fmla="*/ 1778741 h 1852160"/>
                <a:gd name="connsiteX165" fmla="*/ 2683130 w 4011346"/>
                <a:gd name="connsiteY165" fmla="*/ 1725345 h 1852160"/>
                <a:gd name="connsiteX166" fmla="*/ 2753212 w 4011346"/>
                <a:gd name="connsiteY166" fmla="*/ 1638577 h 1852160"/>
                <a:gd name="connsiteX167" fmla="*/ 2783247 w 4011346"/>
                <a:gd name="connsiteY167" fmla="*/ 1568495 h 1852160"/>
                <a:gd name="connsiteX168" fmla="*/ 2803271 w 4011346"/>
                <a:gd name="connsiteY168" fmla="*/ 1465041 h 1852160"/>
                <a:gd name="connsiteX169" fmla="*/ 2793259 w 4011346"/>
                <a:gd name="connsiteY169" fmla="*/ 1414983 h 1852160"/>
                <a:gd name="connsiteX170" fmla="*/ 2769898 w 4011346"/>
                <a:gd name="connsiteY170" fmla="*/ 1381611 h 1852160"/>
                <a:gd name="connsiteX171" fmla="*/ 2726514 w 4011346"/>
                <a:gd name="connsiteY171" fmla="*/ 1381611 h 1852160"/>
                <a:gd name="connsiteX172" fmla="*/ 2699817 w 4011346"/>
                <a:gd name="connsiteY172" fmla="*/ 1381611 h 1852160"/>
                <a:gd name="connsiteX173" fmla="*/ 2683130 w 4011346"/>
                <a:gd name="connsiteY173" fmla="*/ 1361587 h 1852160"/>
                <a:gd name="connsiteX174" fmla="*/ 2669781 w 4011346"/>
                <a:gd name="connsiteY174" fmla="*/ 1341564 h 1852160"/>
                <a:gd name="connsiteX175" fmla="*/ 2763224 w 4011346"/>
                <a:gd name="connsiteY175" fmla="*/ 1224761 h 1852160"/>
                <a:gd name="connsiteX176" fmla="*/ 2846654 w 4011346"/>
                <a:gd name="connsiteY176" fmla="*/ 1158017 h 1852160"/>
                <a:gd name="connsiteX177" fmla="*/ 2890038 w 4011346"/>
                <a:gd name="connsiteY177" fmla="*/ 1134656 h 1852160"/>
                <a:gd name="connsiteX178" fmla="*/ 2933422 w 4011346"/>
                <a:gd name="connsiteY178" fmla="*/ 1154679 h 1852160"/>
                <a:gd name="connsiteX179" fmla="*/ 2950109 w 4011346"/>
                <a:gd name="connsiteY179" fmla="*/ 1137993 h 1852160"/>
                <a:gd name="connsiteX180" fmla="*/ 2993492 w 4011346"/>
                <a:gd name="connsiteY180" fmla="*/ 1154679 h 1852160"/>
                <a:gd name="connsiteX181" fmla="*/ 3006841 w 4011346"/>
                <a:gd name="connsiteY181" fmla="*/ 1121307 h 1852160"/>
                <a:gd name="connsiteX182" fmla="*/ 3053563 w 4011346"/>
                <a:gd name="connsiteY182" fmla="*/ 1131319 h 1852160"/>
                <a:gd name="connsiteX183" fmla="*/ 3070249 w 4011346"/>
                <a:gd name="connsiteY183" fmla="*/ 1148005 h 1852160"/>
                <a:gd name="connsiteX184" fmla="*/ 3060237 w 4011346"/>
                <a:gd name="connsiteY184" fmla="*/ 1168028 h 1852160"/>
                <a:gd name="connsiteX185" fmla="*/ 3123644 w 4011346"/>
                <a:gd name="connsiteY185" fmla="*/ 1151342 h 1852160"/>
                <a:gd name="connsiteX186" fmla="*/ 3140330 w 4011346"/>
                <a:gd name="connsiteY186" fmla="*/ 1137993 h 1852160"/>
                <a:gd name="connsiteX187" fmla="*/ 3123644 w 4011346"/>
                <a:gd name="connsiteY187" fmla="*/ 1124644 h 1852160"/>
                <a:gd name="connsiteX188" fmla="*/ 3143668 w 4011346"/>
                <a:gd name="connsiteY188" fmla="*/ 1084598 h 1852160"/>
                <a:gd name="connsiteX189" fmla="*/ 3190389 w 4011346"/>
                <a:gd name="connsiteY189" fmla="*/ 1014516 h 1852160"/>
                <a:gd name="connsiteX190" fmla="*/ 3233773 w 4011346"/>
                <a:gd name="connsiteY190" fmla="*/ 1011179 h 1852160"/>
                <a:gd name="connsiteX191" fmla="*/ 3273819 w 4011346"/>
                <a:gd name="connsiteY191" fmla="*/ 1021190 h 1852160"/>
                <a:gd name="connsiteX192" fmla="*/ 3277157 w 4011346"/>
                <a:gd name="connsiteY192" fmla="*/ 1077923 h 1852160"/>
                <a:gd name="connsiteX193" fmla="*/ 3320541 w 4011346"/>
                <a:gd name="connsiteY193" fmla="*/ 1034539 h 1852160"/>
                <a:gd name="connsiteX194" fmla="*/ 3343901 w 4011346"/>
                <a:gd name="connsiteY194" fmla="*/ 1017853 h 1852160"/>
                <a:gd name="connsiteX195" fmla="*/ 3350576 w 4011346"/>
                <a:gd name="connsiteY195" fmla="*/ 984481 h 1852160"/>
                <a:gd name="connsiteX196" fmla="*/ 3377273 w 4011346"/>
                <a:gd name="connsiteY196" fmla="*/ 967795 h 1852160"/>
                <a:gd name="connsiteX197" fmla="*/ 3407309 w 4011346"/>
                <a:gd name="connsiteY197" fmla="*/ 977806 h 1852160"/>
                <a:gd name="connsiteX198" fmla="*/ 3373936 w 4011346"/>
                <a:gd name="connsiteY198" fmla="*/ 1007841 h 1852160"/>
                <a:gd name="connsiteX199" fmla="*/ 3360587 w 4011346"/>
                <a:gd name="connsiteY199" fmla="*/ 1057900 h 1852160"/>
                <a:gd name="connsiteX200" fmla="*/ 3323878 w 4011346"/>
                <a:gd name="connsiteY200" fmla="*/ 1097946 h 1852160"/>
                <a:gd name="connsiteX201" fmla="*/ 3210412 w 4011346"/>
                <a:gd name="connsiteY201" fmla="*/ 1194726 h 1852160"/>
                <a:gd name="connsiteX202" fmla="*/ 3163691 w 4011346"/>
                <a:gd name="connsiteY202" fmla="*/ 1264808 h 1852160"/>
                <a:gd name="connsiteX203" fmla="*/ 3160354 w 4011346"/>
                <a:gd name="connsiteY203" fmla="*/ 1338227 h 1852160"/>
                <a:gd name="connsiteX204" fmla="*/ 3170365 w 4011346"/>
                <a:gd name="connsiteY204" fmla="*/ 1428332 h 1852160"/>
                <a:gd name="connsiteX205" fmla="*/ 3190389 w 4011346"/>
                <a:gd name="connsiteY205" fmla="*/ 1491739 h 1852160"/>
                <a:gd name="connsiteX206" fmla="*/ 3217087 w 4011346"/>
                <a:gd name="connsiteY206" fmla="*/ 1481727 h 1852160"/>
                <a:gd name="connsiteX207" fmla="*/ 3240447 w 4011346"/>
                <a:gd name="connsiteY207" fmla="*/ 1414983 h 1852160"/>
                <a:gd name="connsiteX208" fmla="*/ 3270482 w 4011346"/>
                <a:gd name="connsiteY208" fmla="*/ 1411646 h 1852160"/>
                <a:gd name="connsiteX209" fmla="*/ 3287168 w 4011346"/>
                <a:gd name="connsiteY209" fmla="*/ 1351576 h 1852160"/>
                <a:gd name="connsiteX210" fmla="*/ 3313866 w 4011346"/>
                <a:gd name="connsiteY210" fmla="*/ 1341564 h 1852160"/>
                <a:gd name="connsiteX211" fmla="*/ 3313866 w 4011346"/>
                <a:gd name="connsiteY211" fmla="*/ 1311529 h 1852160"/>
                <a:gd name="connsiteX212" fmla="*/ 3337227 w 4011346"/>
                <a:gd name="connsiteY212" fmla="*/ 1274819 h 1852160"/>
                <a:gd name="connsiteX213" fmla="*/ 3330552 w 4011346"/>
                <a:gd name="connsiteY213" fmla="*/ 1231435 h 1852160"/>
                <a:gd name="connsiteX214" fmla="*/ 3333890 w 4011346"/>
                <a:gd name="connsiteY214" fmla="*/ 1201400 h 1852160"/>
                <a:gd name="connsiteX215" fmla="*/ 3323878 w 4011346"/>
                <a:gd name="connsiteY215" fmla="*/ 1191389 h 1852160"/>
                <a:gd name="connsiteX216" fmla="*/ 3363925 w 4011346"/>
                <a:gd name="connsiteY216" fmla="*/ 1104621 h 1852160"/>
                <a:gd name="connsiteX217" fmla="*/ 3383948 w 4011346"/>
                <a:gd name="connsiteY217" fmla="*/ 1114633 h 1852160"/>
                <a:gd name="connsiteX218" fmla="*/ 3410646 w 4011346"/>
                <a:gd name="connsiteY218" fmla="*/ 1087935 h 1852160"/>
                <a:gd name="connsiteX219" fmla="*/ 3420657 w 4011346"/>
                <a:gd name="connsiteY219" fmla="*/ 1114633 h 1852160"/>
                <a:gd name="connsiteX220" fmla="*/ 3447355 w 4011346"/>
                <a:gd name="connsiteY220" fmla="*/ 1097946 h 1852160"/>
                <a:gd name="connsiteX221" fmla="*/ 3477390 w 4011346"/>
                <a:gd name="connsiteY221" fmla="*/ 1087935 h 1852160"/>
                <a:gd name="connsiteX222" fmla="*/ 3514100 w 4011346"/>
                <a:gd name="connsiteY222" fmla="*/ 1114633 h 1852160"/>
                <a:gd name="connsiteX223" fmla="*/ 3574170 w 4011346"/>
                <a:gd name="connsiteY223" fmla="*/ 1047888 h 1852160"/>
                <a:gd name="connsiteX224" fmla="*/ 3637577 w 4011346"/>
                <a:gd name="connsiteY224" fmla="*/ 1001167 h 1852160"/>
                <a:gd name="connsiteX225" fmla="*/ 3690973 w 4011346"/>
                <a:gd name="connsiteY225" fmla="*/ 964457 h 1852160"/>
                <a:gd name="connsiteX226" fmla="*/ 3741031 w 4011346"/>
                <a:gd name="connsiteY226" fmla="*/ 991155 h 1852160"/>
                <a:gd name="connsiteX227" fmla="*/ 3751043 w 4011346"/>
                <a:gd name="connsiteY227" fmla="*/ 964457 h 1852160"/>
                <a:gd name="connsiteX228" fmla="*/ 3727682 w 4011346"/>
                <a:gd name="connsiteY228" fmla="*/ 897713 h 1852160"/>
                <a:gd name="connsiteX229" fmla="*/ 3700984 w 4011346"/>
                <a:gd name="connsiteY229" fmla="*/ 881027 h 1852160"/>
                <a:gd name="connsiteX230" fmla="*/ 3697647 w 4011346"/>
                <a:gd name="connsiteY230" fmla="*/ 850992 h 1852160"/>
                <a:gd name="connsiteX231" fmla="*/ 3751043 w 4011346"/>
                <a:gd name="connsiteY231" fmla="*/ 857666 h 1852160"/>
                <a:gd name="connsiteX232" fmla="*/ 3774403 w 4011346"/>
                <a:gd name="connsiteY232" fmla="*/ 814282 h 1852160"/>
                <a:gd name="connsiteX233" fmla="*/ 3767729 w 4011346"/>
                <a:gd name="connsiteY233" fmla="*/ 787584 h 1852160"/>
                <a:gd name="connsiteX234" fmla="*/ 3794427 w 4011346"/>
                <a:gd name="connsiteY234" fmla="*/ 754212 h 1852160"/>
                <a:gd name="connsiteX235" fmla="*/ 3804438 w 4011346"/>
                <a:gd name="connsiteY235" fmla="*/ 797596 h 1852160"/>
                <a:gd name="connsiteX236" fmla="*/ 3827799 w 4011346"/>
                <a:gd name="connsiteY236" fmla="*/ 814282 h 1852160"/>
                <a:gd name="connsiteX237" fmla="*/ 3874520 w 4011346"/>
                <a:gd name="connsiteY237" fmla="*/ 834306 h 1852160"/>
                <a:gd name="connsiteX238" fmla="*/ 3894544 w 4011346"/>
                <a:gd name="connsiteY238" fmla="*/ 861003 h 1852160"/>
                <a:gd name="connsiteX239" fmla="*/ 3941265 w 4011346"/>
                <a:gd name="connsiteY239" fmla="*/ 884364 h 1852160"/>
                <a:gd name="connsiteX240" fmla="*/ 3947939 w 4011346"/>
                <a:gd name="connsiteY240" fmla="*/ 871015 h 1852160"/>
                <a:gd name="connsiteX241" fmla="*/ 3957951 w 4011346"/>
                <a:gd name="connsiteY241" fmla="*/ 807608 h 1852160"/>
                <a:gd name="connsiteX242" fmla="*/ 4004672 w 4011346"/>
                <a:gd name="connsiteY242" fmla="*/ 800933 h 1852160"/>
                <a:gd name="connsiteX243" fmla="*/ 4011346 w 4011346"/>
                <a:gd name="connsiteY243" fmla="*/ 767561 h 1852160"/>
                <a:gd name="connsiteX244" fmla="*/ 3967963 w 4011346"/>
                <a:gd name="connsiteY244" fmla="*/ 730852 h 1852160"/>
                <a:gd name="connsiteX245" fmla="*/ 3921241 w 4011346"/>
                <a:gd name="connsiteY245" fmla="*/ 714165 h 1852160"/>
                <a:gd name="connsiteX246" fmla="*/ 3907892 w 4011346"/>
                <a:gd name="connsiteY246" fmla="*/ 717503 h 1852160"/>
                <a:gd name="connsiteX247" fmla="*/ 3907892 w 4011346"/>
                <a:gd name="connsiteY247" fmla="*/ 750875 h 1852160"/>
                <a:gd name="connsiteX248" fmla="*/ 3887869 w 4011346"/>
                <a:gd name="connsiteY248" fmla="*/ 744200 h 1852160"/>
                <a:gd name="connsiteX249" fmla="*/ 3874520 w 4011346"/>
                <a:gd name="connsiteY249" fmla="*/ 690805 h 1852160"/>
                <a:gd name="connsiteX250" fmla="*/ 3817787 w 4011346"/>
                <a:gd name="connsiteY250" fmla="*/ 627398 h 1852160"/>
                <a:gd name="connsiteX251" fmla="*/ 3717671 w 4011346"/>
                <a:gd name="connsiteY251" fmla="*/ 550641 h 1852160"/>
                <a:gd name="connsiteX252" fmla="*/ 3664275 w 4011346"/>
                <a:gd name="connsiteY252" fmla="*/ 530618 h 1852160"/>
                <a:gd name="connsiteX253" fmla="*/ 3584181 w 4011346"/>
                <a:gd name="connsiteY253" fmla="*/ 523944 h 1852160"/>
                <a:gd name="connsiteX254" fmla="*/ 3520774 w 4011346"/>
                <a:gd name="connsiteY254" fmla="*/ 507257 h 1852160"/>
                <a:gd name="connsiteX255" fmla="*/ 3530786 w 4011346"/>
                <a:gd name="connsiteY255" fmla="*/ 547304 h 1852160"/>
                <a:gd name="connsiteX256" fmla="*/ 3537460 w 4011346"/>
                <a:gd name="connsiteY256" fmla="*/ 574002 h 1852160"/>
                <a:gd name="connsiteX257" fmla="*/ 3507425 w 4011346"/>
                <a:gd name="connsiteY257" fmla="*/ 597362 h 1852160"/>
                <a:gd name="connsiteX258" fmla="*/ 3477390 w 4011346"/>
                <a:gd name="connsiteY258" fmla="*/ 570665 h 1852160"/>
                <a:gd name="connsiteX259" fmla="*/ 3477390 w 4011346"/>
                <a:gd name="connsiteY259" fmla="*/ 550641 h 1852160"/>
                <a:gd name="connsiteX260" fmla="*/ 3504088 w 4011346"/>
                <a:gd name="connsiteY260" fmla="*/ 530618 h 1852160"/>
                <a:gd name="connsiteX261" fmla="*/ 3467379 w 4011346"/>
                <a:gd name="connsiteY261" fmla="*/ 517269 h 1852160"/>
                <a:gd name="connsiteX262" fmla="*/ 3450692 w 4011346"/>
                <a:gd name="connsiteY262" fmla="*/ 543967 h 1852160"/>
                <a:gd name="connsiteX263" fmla="*/ 3440681 w 4011346"/>
                <a:gd name="connsiteY263" fmla="*/ 557316 h 1852160"/>
                <a:gd name="connsiteX264" fmla="*/ 3357250 w 4011346"/>
                <a:gd name="connsiteY264" fmla="*/ 543967 h 1852160"/>
                <a:gd name="connsiteX265" fmla="*/ 3297180 w 4011346"/>
                <a:gd name="connsiteY265" fmla="*/ 550641 h 1852160"/>
                <a:gd name="connsiteX266" fmla="*/ 3267145 w 4011346"/>
                <a:gd name="connsiteY266" fmla="*/ 527281 h 1852160"/>
                <a:gd name="connsiteX267" fmla="*/ 3267145 w 4011346"/>
                <a:gd name="connsiteY267" fmla="*/ 490571 h 1852160"/>
                <a:gd name="connsiteX268" fmla="*/ 3203738 w 4011346"/>
                <a:gd name="connsiteY268" fmla="*/ 433838 h 1852160"/>
                <a:gd name="connsiteX269" fmla="*/ 3076923 w 4011346"/>
                <a:gd name="connsiteY269" fmla="*/ 440513 h 1852160"/>
                <a:gd name="connsiteX270" fmla="*/ 3043551 w 4011346"/>
                <a:gd name="connsiteY270" fmla="*/ 417152 h 1852160"/>
                <a:gd name="connsiteX271" fmla="*/ 3000167 w 4011346"/>
                <a:gd name="connsiteY271" fmla="*/ 370431 h 1852160"/>
                <a:gd name="connsiteX272" fmla="*/ 3013516 w 4011346"/>
                <a:gd name="connsiteY272" fmla="*/ 363757 h 1852160"/>
                <a:gd name="connsiteX273" fmla="*/ 3000167 w 4011346"/>
                <a:gd name="connsiteY273" fmla="*/ 343733 h 1852160"/>
                <a:gd name="connsiteX274" fmla="*/ 2970132 w 4011346"/>
                <a:gd name="connsiteY274" fmla="*/ 340396 h 1852160"/>
                <a:gd name="connsiteX275" fmla="*/ 2920073 w 4011346"/>
                <a:gd name="connsiteY275" fmla="*/ 387117 h 1852160"/>
                <a:gd name="connsiteX276" fmla="*/ 2920073 w 4011346"/>
                <a:gd name="connsiteY276" fmla="*/ 387117 h 1852160"/>
                <a:gd name="connsiteX277" fmla="*/ 2916736 w 4011346"/>
                <a:gd name="connsiteY277" fmla="*/ 337059 h 1852160"/>
                <a:gd name="connsiteX278" fmla="*/ 2936760 w 4011346"/>
                <a:gd name="connsiteY278" fmla="*/ 333722 h 1852160"/>
                <a:gd name="connsiteX279" fmla="*/ 2866678 w 4011346"/>
                <a:gd name="connsiteY279" fmla="*/ 303687 h 1852160"/>
                <a:gd name="connsiteX280" fmla="*/ 2813282 w 4011346"/>
                <a:gd name="connsiteY280" fmla="*/ 300349 h 1852160"/>
                <a:gd name="connsiteX281" fmla="*/ 2793259 w 4011346"/>
                <a:gd name="connsiteY281" fmla="*/ 323710 h 1852160"/>
                <a:gd name="connsiteX282" fmla="*/ 2743200 w 4011346"/>
                <a:gd name="connsiteY282" fmla="*/ 333722 h 1852160"/>
                <a:gd name="connsiteX283" fmla="*/ 2786584 w 4011346"/>
                <a:gd name="connsiteY283" fmla="*/ 343733 h 1852160"/>
                <a:gd name="connsiteX284" fmla="*/ 2763224 w 4011346"/>
                <a:gd name="connsiteY284" fmla="*/ 363757 h 1852160"/>
                <a:gd name="connsiteX285" fmla="*/ 2769898 w 4011346"/>
                <a:gd name="connsiteY285" fmla="*/ 413815 h 1852160"/>
                <a:gd name="connsiteX286" fmla="*/ 2749875 w 4011346"/>
                <a:gd name="connsiteY286" fmla="*/ 397129 h 1852160"/>
                <a:gd name="connsiteX287" fmla="*/ 2733189 w 4011346"/>
                <a:gd name="connsiteY287" fmla="*/ 410478 h 1852160"/>
                <a:gd name="connsiteX288" fmla="*/ 2666444 w 4011346"/>
                <a:gd name="connsiteY288" fmla="*/ 400466 h 1852160"/>
                <a:gd name="connsiteX289" fmla="*/ 2636409 w 4011346"/>
                <a:gd name="connsiteY289" fmla="*/ 410478 h 1852160"/>
                <a:gd name="connsiteX290" fmla="*/ 2603037 w 4011346"/>
                <a:gd name="connsiteY290" fmla="*/ 370431 h 1852160"/>
                <a:gd name="connsiteX291" fmla="*/ 2569665 w 4011346"/>
                <a:gd name="connsiteY291" fmla="*/ 453862 h 1852160"/>
                <a:gd name="connsiteX292" fmla="*/ 2552979 w 4011346"/>
                <a:gd name="connsiteY292" fmla="*/ 473885 h 1852160"/>
                <a:gd name="connsiteX293" fmla="*/ 2469548 w 4011346"/>
                <a:gd name="connsiteY293" fmla="*/ 337059 h 1852160"/>
                <a:gd name="connsiteX294" fmla="*/ 2446187 w 4011346"/>
                <a:gd name="connsiteY294" fmla="*/ 353745 h 1852160"/>
                <a:gd name="connsiteX295" fmla="*/ 2442850 w 4011346"/>
                <a:gd name="connsiteY295" fmla="*/ 320373 h 1852160"/>
                <a:gd name="connsiteX296" fmla="*/ 2449525 w 4011346"/>
                <a:gd name="connsiteY296" fmla="*/ 250291 h 1852160"/>
                <a:gd name="connsiteX297" fmla="*/ 2386117 w 4011346"/>
                <a:gd name="connsiteY297" fmla="*/ 223593 h 1852160"/>
                <a:gd name="connsiteX298" fmla="*/ 2369431 w 4011346"/>
                <a:gd name="connsiteY298" fmla="*/ 263640 h 1852160"/>
                <a:gd name="connsiteX299" fmla="*/ 2379443 w 4011346"/>
                <a:gd name="connsiteY299" fmla="*/ 287000 h 1852160"/>
                <a:gd name="connsiteX300" fmla="*/ 2376106 w 4011346"/>
                <a:gd name="connsiteY300" fmla="*/ 307024 h 1852160"/>
                <a:gd name="connsiteX301" fmla="*/ 2352745 w 4011346"/>
                <a:gd name="connsiteY301" fmla="*/ 283663 h 1852160"/>
                <a:gd name="connsiteX302" fmla="*/ 2316036 w 4011346"/>
                <a:gd name="connsiteY302" fmla="*/ 290338 h 1852160"/>
                <a:gd name="connsiteX303" fmla="*/ 2272652 w 4011346"/>
                <a:gd name="connsiteY303" fmla="*/ 276989 h 1852160"/>
                <a:gd name="connsiteX304" fmla="*/ 2245954 w 4011346"/>
                <a:gd name="connsiteY304" fmla="*/ 236942 h 1852160"/>
                <a:gd name="connsiteX305" fmla="*/ 2209244 w 4011346"/>
                <a:gd name="connsiteY305" fmla="*/ 233605 h 1852160"/>
                <a:gd name="connsiteX306" fmla="*/ 2159186 w 4011346"/>
                <a:gd name="connsiteY306" fmla="*/ 223593 h 1852160"/>
                <a:gd name="connsiteX307" fmla="*/ 2132488 w 4011346"/>
                <a:gd name="connsiteY307" fmla="*/ 240279 h 1852160"/>
                <a:gd name="connsiteX308" fmla="*/ 2115802 w 4011346"/>
                <a:gd name="connsiteY308" fmla="*/ 253628 h 1852160"/>
                <a:gd name="connsiteX309" fmla="*/ 2115802 w 4011346"/>
                <a:gd name="connsiteY309" fmla="*/ 223593 h 1852160"/>
                <a:gd name="connsiteX310" fmla="*/ 2082430 w 4011346"/>
                <a:gd name="connsiteY310" fmla="*/ 220256 h 1852160"/>
                <a:gd name="connsiteX311" fmla="*/ 2045720 w 4011346"/>
                <a:gd name="connsiteY311" fmla="*/ 193558 h 1852160"/>
                <a:gd name="connsiteX312" fmla="*/ 2025697 w 4011346"/>
                <a:gd name="connsiteY312" fmla="*/ 223593 h 1852160"/>
                <a:gd name="connsiteX313" fmla="*/ 2055732 w 4011346"/>
                <a:gd name="connsiteY313" fmla="*/ 220256 h 1852160"/>
                <a:gd name="connsiteX314" fmla="*/ 2045720 w 4011346"/>
                <a:gd name="connsiteY314" fmla="*/ 246954 h 1852160"/>
                <a:gd name="connsiteX315" fmla="*/ 1988987 w 4011346"/>
                <a:gd name="connsiteY315" fmla="*/ 266977 h 1852160"/>
                <a:gd name="connsiteX316" fmla="*/ 1935592 w 4011346"/>
                <a:gd name="connsiteY316" fmla="*/ 276989 h 1852160"/>
                <a:gd name="connsiteX317" fmla="*/ 1995662 w 4011346"/>
                <a:gd name="connsiteY317" fmla="*/ 220256 h 1852160"/>
                <a:gd name="connsiteX318" fmla="*/ 2055732 w 4011346"/>
                <a:gd name="connsiteY318" fmla="*/ 150174 h 1852160"/>
                <a:gd name="connsiteX319" fmla="*/ 2055732 w 4011346"/>
                <a:gd name="connsiteY319" fmla="*/ 150174 h 1852160"/>
                <a:gd name="connsiteX320" fmla="*/ 1615218 w 4011346"/>
                <a:gd name="connsiteY320" fmla="*/ 0 h 1852160"/>
                <a:gd name="connsiteX321" fmla="*/ 1638579 w 4011346"/>
                <a:gd name="connsiteY321" fmla="*/ 30035 h 1852160"/>
                <a:gd name="connsiteX322" fmla="*/ 1528449 w 4011346"/>
                <a:gd name="connsiteY322" fmla="*/ 56731 h 1852160"/>
                <a:gd name="connsiteX323" fmla="*/ 1465043 w 4011346"/>
                <a:gd name="connsiteY323" fmla="*/ 140162 h 1852160"/>
                <a:gd name="connsiteX324" fmla="*/ 1448357 w 4011346"/>
                <a:gd name="connsiteY324" fmla="*/ 166860 h 1852160"/>
                <a:gd name="connsiteX325" fmla="*/ 1481729 w 4011346"/>
                <a:gd name="connsiteY325" fmla="*/ 200233 h 1852160"/>
                <a:gd name="connsiteX326" fmla="*/ 1481729 w 4011346"/>
                <a:gd name="connsiteY326" fmla="*/ 230268 h 1852160"/>
                <a:gd name="connsiteX327" fmla="*/ 1458368 w 4011346"/>
                <a:gd name="connsiteY327" fmla="*/ 233605 h 1852160"/>
                <a:gd name="connsiteX328" fmla="*/ 1458368 w 4011346"/>
                <a:gd name="connsiteY328" fmla="*/ 213581 h 1852160"/>
                <a:gd name="connsiteX329" fmla="*/ 1418322 w 4011346"/>
                <a:gd name="connsiteY329" fmla="*/ 223593 h 1852160"/>
                <a:gd name="connsiteX330" fmla="*/ 1368263 w 4011346"/>
                <a:gd name="connsiteY330" fmla="*/ 230268 h 1852160"/>
                <a:gd name="connsiteX331" fmla="*/ 1321542 w 4011346"/>
                <a:gd name="connsiteY331" fmla="*/ 236942 h 1852160"/>
                <a:gd name="connsiteX332" fmla="*/ 1318205 w 4011346"/>
                <a:gd name="connsiteY332" fmla="*/ 323710 h 1852160"/>
                <a:gd name="connsiteX333" fmla="*/ 1358252 w 4011346"/>
                <a:gd name="connsiteY333" fmla="*/ 347071 h 1852160"/>
                <a:gd name="connsiteX334" fmla="*/ 1374938 w 4011346"/>
                <a:gd name="connsiteY334" fmla="*/ 377106 h 1852160"/>
                <a:gd name="connsiteX335" fmla="*/ 1384949 w 4011346"/>
                <a:gd name="connsiteY335" fmla="*/ 400466 h 1852160"/>
                <a:gd name="connsiteX336" fmla="*/ 1394961 w 4011346"/>
                <a:gd name="connsiteY336" fmla="*/ 450525 h 1852160"/>
                <a:gd name="connsiteX337" fmla="*/ 1384949 w 4011346"/>
                <a:gd name="connsiteY337" fmla="*/ 480560 h 1852160"/>
                <a:gd name="connsiteX338" fmla="*/ 1358252 w 4011346"/>
                <a:gd name="connsiteY338" fmla="*/ 447187 h 1852160"/>
                <a:gd name="connsiteX339" fmla="*/ 1361589 w 4011346"/>
                <a:gd name="connsiteY339" fmla="*/ 417152 h 1852160"/>
                <a:gd name="connsiteX340" fmla="*/ 1351577 w 4011346"/>
                <a:gd name="connsiteY340" fmla="*/ 377106 h 1852160"/>
                <a:gd name="connsiteX341" fmla="*/ 1328217 w 4011346"/>
                <a:gd name="connsiteY341" fmla="*/ 383780 h 1852160"/>
                <a:gd name="connsiteX342" fmla="*/ 1281495 w 4011346"/>
                <a:gd name="connsiteY342" fmla="*/ 347071 h 1852160"/>
                <a:gd name="connsiteX343" fmla="*/ 1241449 w 4011346"/>
                <a:gd name="connsiteY343" fmla="*/ 343733 h 1852160"/>
                <a:gd name="connsiteX344" fmla="*/ 1241449 w 4011346"/>
                <a:gd name="connsiteY344" fmla="*/ 390454 h 1852160"/>
                <a:gd name="connsiteX345" fmla="*/ 1201402 w 4011346"/>
                <a:gd name="connsiteY345" fmla="*/ 370431 h 1852160"/>
                <a:gd name="connsiteX346" fmla="*/ 1228100 w 4011346"/>
                <a:gd name="connsiteY346" fmla="*/ 420489 h 1852160"/>
                <a:gd name="connsiteX347" fmla="*/ 1258135 w 4011346"/>
                <a:gd name="connsiteY347" fmla="*/ 430501 h 1852160"/>
                <a:gd name="connsiteX348" fmla="*/ 1258135 w 4011346"/>
                <a:gd name="connsiteY348" fmla="*/ 450525 h 1852160"/>
                <a:gd name="connsiteX349" fmla="*/ 1198065 w 4011346"/>
                <a:gd name="connsiteY349" fmla="*/ 427164 h 1852160"/>
                <a:gd name="connsiteX350" fmla="*/ 1181379 w 4011346"/>
                <a:gd name="connsiteY350" fmla="*/ 427164 h 1852160"/>
                <a:gd name="connsiteX351" fmla="*/ 1178041 w 4011346"/>
                <a:gd name="connsiteY351" fmla="*/ 383780 h 1852160"/>
                <a:gd name="connsiteX352" fmla="*/ 1171367 w 4011346"/>
                <a:gd name="connsiteY352" fmla="*/ 297012 h 1852160"/>
                <a:gd name="connsiteX353" fmla="*/ 1161355 w 4011346"/>
                <a:gd name="connsiteY353" fmla="*/ 367094 h 1852160"/>
                <a:gd name="connsiteX354" fmla="*/ 1137995 w 4011346"/>
                <a:gd name="connsiteY354" fmla="*/ 397129 h 1852160"/>
                <a:gd name="connsiteX355" fmla="*/ 1158018 w 4011346"/>
                <a:gd name="connsiteY355" fmla="*/ 443850 h 1852160"/>
                <a:gd name="connsiteX356" fmla="*/ 1158018 w 4011346"/>
                <a:gd name="connsiteY356" fmla="*/ 477222 h 1852160"/>
                <a:gd name="connsiteX357" fmla="*/ 1141332 w 4011346"/>
                <a:gd name="connsiteY357" fmla="*/ 527281 h 1852160"/>
                <a:gd name="connsiteX358" fmla="*/ 1154681 w 4011346"/>
                <a:gd name="connsiteY358" fmla="*/ 560653 h 1852160"/>
                <a:gd name="connsiteX359" fmla="*/ 1184716 w 4011346"/>
                <a:gd name="connsiteY359" fmla="*/ 567327 h 1852160"/>
                <a:gd name="connsiteX360" fmla="*/ 1221425 w 4011346"/>
                <a:gd name="connsiteY360" fmla="*/ 574002 h 1852160"/>
                <a:gd name="connsiteX361" fmla="*/ 1241449 w 4011346"/>
                <a:gd name="connsiteY361" fmla="*/ 597362 h 1852160"/>
                <a:gd name="connsiteX362" fmla="*/ 1258135 w 4011346"/>
                <a:gd name="connsiteY362" fmla="*/ 640746 h 1852160"/>
                <a:gd name="connsiteX363" fmla="*/ 1258135 w 4011346"/>
                <a:gd name="connsiteY363" fmla="*/ 640746 h 1852160"/>
                <a:gd name="connsiteX364" fmla="*/ 1254798 w 4011346"/>
                <a:gd name="connsiteY364" fmla="*/ 674119 h 1852160"/>
                <a:gd name="connsiteX365" fmla="*/ 1274821 w 4011346"/>
                <a:gd name="connsiteY365" fmla="*/ 694142 h 1852160"/>
                <a:gd name="connsiteX366" fmla="*/ 1244786 w 4011346"/>
                <a:gd name="connsiteY366" fmla="*/ 700817 h 1852160"/>
                <a:gd name="connsiteX367" fmla="*/ 1224763 w 4011346"/>
                <a:gd name="connsiteY367" fmla="*/ 660770 h 1852160"/>
                <a:gd name="connsiteX368" fmla="*/ 1224763 w 4011346"/>
                <a:gd name="connsiteY368" fmla="*/ 620723 h 1852160"/>
                <a:gd name="connsiteX369" fmla="*/ 1194727 w 4011346"/>
                <a:gd name="connsiteY369" fmla="*/ 584014 h 1852160"/>
                <a:gd name="connsiteX370" fmla="*/ 1164692 w 4011346"/>
                <a:gd name="connsiteY370" fmla="*/ 627398 h 1852160"/>
                <a:gd name="connsiteX371" fmla="*/ 1178041 w 4011346"/>
                <a:gd name="connsiteY371" fmla="*/ 670781 h 1852160"/>
                <a:gd name="connsiteX372" fmla="*/ 1137995 w 4011346"/>
                <a:gd name="connsiteY372" fmla="*/ 727514 h 1852160"/>
                <a:gd name="connsiteX373" fmla="*/ 1097948 w 4011346"/>
                <a:gd name="connsiteY373" fmla="*/ 784247 h 1852160"/>
                <a:gd name="connsiteX374" fmla="*/ 1007843 w 4011346"/>
                <a:gd name="connsiteY374" fmla="*/ 747538 h 1852160"/>
                <a:gd name="connsiteX375" fmla="*/ 1074587 w 4011346"/>
                <a:gd name="connsiteY375" fmla="*/ 744200 h 1852160"/>
                <a:gd name="connsiteX376" fmla="*/ 1107960 w 4011346"/>
                <a:gd name="connsiteY376" fmla="*/ 680793 h 1852160"/>
                <a:gd name="connsiteX377" fmla="*/ 1121309 w 4011346"/>
                <a:gd name="connsiteY377" fmla="*/ 637409 h 1852160"/>
                <a:gd name="connsiteX378" fmla="*/ 1127983 w 4011346"/>
                <a:gd name="connsiteY378" fmla="*/ 604037 h 1852160"/>
                <a:gd name="connsiteX379" fmla="*/ 1117971 w 4011346"/>
                <a:gd name="connsiteY379" fmla="*/ 587351 h 1852160"/>
                <a:gd name="connsiteX380" fmla="*/ 1114634 w 4011346"/>
                <a:gd name="connsiteY380" fmla="*/ 537292 h 1852160"/>
                <a:gd name="connsiteX381" fmla="*/ 1104622 w 4011346"/>
                <a:gd name="connsiteY381" fmla="*/ 457199 h 1852160"/>
                <a:gd name="connsiteX382" fmla="*/ 1101285 w 4011346"/>
                <a:gd name="connsiteY382" fmla="*/ 397129 h 1852160"/>
                <a:gd name="connsiteX383" fmla="*/ 1124646 w 4011346"/>
                <a:gd name="connsiteY383" fmla="*/ 303687 h 1852160"/>
                <a:gd name="connsiteX384" fmla="*/ 1031203 w 4011346"/>
                <a:gd name="connsiteY384" fmla="*/ 293675 h 1852160"/>
                <a:gd name="connsiteX385" fmla="*/ 1014517 w 4011346"/>
                <a:gd name="connsiteY385" fmla="*/ 350408 h 1852160"/>
                <a:gd name="connsiteX386" fmla="*/ 1024529 w 4011346"/>
                <a:gd name="connsiteY386" fmla="*/ 397129 h 1852160"/>
                <a:gd name="connsiteX387" fmla="*/ 981145 w 4011346"/>
                <a:gd name="connsiteY387" fmla="*/ 450525 h 1852160"/>
                <a:gd name="connsiteX388" fmla="*/ 991157 w 4011346"/>
                <a:gd name="connsiteY388" fmla="*/ 487234 h 1852160"/>
                <a:gd name="connsiteX389" fmla="*/ 981145 w 4011346"/>
                <a:gd name="connsiteY389" fmla="*/ 533955 h 1852160"/>
                <a:gd name="connsiteX390" fmla="*/ 1001168 w 4011346"/>
                <a:gd name="connsiteY390" fmla="*/ 557316 h 1852160"/>
                <a:gd name="connsiteX391" fmla="*/ 1017854 w 4011346"/>
                <a:gd name="connsiteY391" fmla="*/ 604037 h 1852160"/>
                <a:gd name="connsiteX392" fmla="*/ 1047890 w 4011346"/>
                <a:gd name="connsiteY392" fmla="*/ 590688 h 1852160"/>
                <a:gd name="connsiteX393" fmla="*/ 1014517 w 4011346"/>
                <a:gd name="connsiteY393" fmla="*/ 644084 h 1852160"/>
                <a:gd name="connsiteX394" fmla="*/ 957784 w 4011346"/>
                <a:gd name="connsiteY394" fmla="*/ 590688 h 1852160"/>
                <a:gd name="connsiteX395" fmla="*/ 884365 w 4011346"/>
                <a:gd name="connsiteY395" fmla="*/ 553979 h 1852160"/>
                <a:gd name="connsiteX396" fmla="*/ 824295 w 4011346"/>
                <a:gd name="connsiteY396" fmla="*/ 530618 h 1852160"/>
                <a:gd name="connsiteX397" fmla="*/ 810946 w 4011346"/>
                <a:gd name="connsiteY397" fmla="*/ 567327 h 1852160"/>
                <a:gd name="connsiteX398" fmla="*/ 827633 w 4011346"/>
                <a:gd name="connsiteY398" fmla="*/ 604037 h 1852160"/>
                <a:gd name="connsiteX399" fmla="*/ 814284 w 4011346"/>
                <a:gd name="connsiteY399" fmla="*/ 627398 h 1852160"/>
                <a:gd name="connsiteX400" fmla="*/ 800935 w 4011346"/>
                <a:gd name="connsiteY400" fmla="*/ 644084 h 1852160"/>
                <a:gd name="connsiteX401" fmla="*/ 770900 w 4011346"/>
                <a:gd name="connsiteY401" fmla="*/ 587351 h 1852160"/>
                <a:gd name="connsiteX402" fmla="*/ 744202 w 4011346"/>
                <a:gd name="connsiteY402" fmla="*/ 624060 h 1852160"/>
                <a:gd name="connsiteX403" fmla="*/ 707492 w 4011346"/>
                <a:gd name="connsiteY403" fmla="*/ 617386 h 1852160"/>
                <a:gd name="connsiteX404" fmla="*/ 654097 w 4011346"/>
                <a:gd name="connsiteY404" fmla="*/ 654095 h 1852160"/>
                <a:gd name="connsiteX405" fmla="*/ 644085 w 4011346"/>
                <a:gd name="connsiteY405" fmla="*/ 630735 h 1852160"/>
                <a:gd name="connsiteX406" fmla="*/ 654097 w 4011346"/>
                <a:gd name="connsiteY406" fmla="*/ 594025 h 1852160"/>
                <a:gd name="connsiteX407" fmla="*/ 614050 w 4011346"/>
                <a:gd name="connsiteY407" fmla="*/ 630735 h 1852160"/>
                <a:gd name="connsiteX408" fmla="*/ 594027 w 4011346"/>
                <a:gd name="connsiteY408" fmla="*/ 630735 h 1852160"/>
                <a:gd name="connsiteX409" fmla="*/ 533957 w 4011346"/>
                <a:gd name="connsiteY409" fmla="*/ 664107 h 1852160"/>
                <a:gd name="connsiteX410" fmla="*/ 510596 w 4011346"/>
                <a:gd name="connsiteY410" fmla="*/ 687468 h 1852160"/>
                <a:gd name="connsiteX411" fmla="*/ 500584 w 4011346"/>
                <a:gd name="connsiteY411" fmla="*/ 734189 h 1852160"/>
                <a:gd name="connsiteX412" fmla="*/ 450526 w 4011346"/>
                <a:gd name="connsiteY412" fmla="*/ 720840 h 1852160"/>
                <a:gd name="connsiteX413" fmla="*/ 433840 w 4011346"/>
                <a:gd name="connsiteY413" fmla="*/ 684130 h 1852160"/>
                <a:gd name="connsiteX414" fmla="*/ 467212 w 4011346"/>
                <a:gd name="connsiteY414" fmla="*/ 654095 h 1852160"/>
                <a:gd name="connsiteX415" fmla="*/ 453863 w 4011346"/>
                <a:gd name="connsiteY415" fmla="*/ 630735 h 1852160"/>
                <a:gd name="connsiteX416" fmla="*/ 390456 w 4011346"/>
                <a:gd name="connsiteY416" fmla="*/ 600700 h 1852160"/>
                <a:gd name="connsiteX417" fmla="*/ 417154 w 4011346"/>
                <a:gd name="connsiteY417" fmla="*/ 650758 h 1852160"/>
                <a:gd name="connsiteX418" fmla="*/ 407142 w 4011346"/>
                <a:gd name="connsiteY418" fmla="*/ 694142 h 1852160"/>
                <a:gd name="connsiteX419" fmla="*/ 413817 w 4011346"/>
                <a:gd name="connsiteY419" fmla="*/ 730852 h 1852160"/>
                <a:gd name="connsiteX420" fmla="*/ 427165 w 4011346"/>
                <a:gd name="connsiteY420" fmla="*/ 754212 h 1852160"/>
                <a:gd name="connsiteX421" fmla="*/ 413817 w 4011346"/>
                <a:gd name="connsiteY421" fmla="*/ 784247 h 1852160"/>
                <a:gd name="connsiteX422" fmla="*/ 390456 w 4011346"/>
                <a:gd name="connsiteY422" fmla="*/ 760887 h 1852160"/>
                <a:gd name="connsiteX423" fmla="*/ 360421 w 4011346"/>
                <a:gd name="connsiteY423" fmla="*/ 757549 h 1852160"/>
                <a:gd name="connsiteX424" fmla="*/ 333723 w 4011346"/>
                <a:gd name="connsiteY424" fmla="*/ 797596 h 1852160"/>
                <a:gd name="connsiteX425" fmla="*/ 307025 w 4011346"/>
                <a:gd name="connsiteY425" fmla="*/ 817619 h 1852160"/>
                <a:gd name="connsiteX426" fmla="*/ 320374 w 4011346"/>
                <a:gd name="connsiteY426" fmla="*/ 844317 h 1852160"/>
                <a:gd name="connsiteX427" fmla="*/ 303688 w 4011346"/>
                <a:gd name="connsiteY427" fmla="*/ 867678 h 1852160"/>
                <a:gd name="connsiteX428" fmla="*/ 233606 w 4011346"/>
                <a:gd name="connsiteY428" fmla="*/ 830968 h 1852160"/>
                <a:gd name="connsiteX429" fmla="*/ 243618 w 4011346"/>
                <a:gd name="connsiteY429" fmla="*/ 881027 h 1852160"/>
                <a:gd name="connsiteX430" fmla="*/ 263641 w 4011346"/>
                <a:gd name="connsiteY430" fmla="*/ 901050 h 1852160"/>
                <a:gd name="connsiteX431" fmla="*/ 250292 w 4011346"/>
                <a:gd name="connsiteY431" fmla="*/ 914399 h 1852160"/>
                <a:gd name="connsiteX432" fmla="*/ 193560 w 4011346"/>
                <a:gd name="connsiteY432" fmla="*/ 877689 h 1852160"/>
                <a:gd name="connsiteX433" fmla="*/ 170199 w 4011346"/>
                <a:gd name="connsiteY433" fmla="*/ 837643 h 1852160"/>
                <a:gd name="connsiteX434" fmla="*/ 170199 w 4011346"/>
                <a:gd name="connsiteY434" fmla="*/ 790922 h 1852160"/>
                <a:gd name="connsiteX435" fmla="*/ 133490 w 4011346"/>
                <a:gd name="connsiteY435" fmla="*/ 714165 h 1852160"/>
                <a:gd name="connsiteX436" fmla="*/ 196897 w 4011346"/>
                <a:gd name="connsiteY436" fmla="*/ 744200 h 1852160"/>
                <a:gd name="connsiteX437" fmla="*/ 256967 w 4011346"/>
                <a:gd name="connsiteY437" fmla="*/ 774235 h 1852160"/>
                <a:gd name="connsiteX438" fmla="*/ 293676 w 4011346"/>
                <a:gd name="connsiteY438" fmla="*/ 777573 h 1852160"/>
                <a:gd name="connsiteX439" fmla="*/ 327049 w 4011346"/>
                <a:gd name="connsiteY439" fmla="*/ 747538 h 1852160"/>
                <a:gd name="connsiteX440" fmla="*/ 343735 w 4011346"/>
                <a:gd name="connsiteY440" fmla="*/ 710828 h 1852160"/>
                <a:gd name="connsiteX441" fmla="*/ 333723 w 4011346"/>
                <a:gd name="connsiteY441" fmla="*/ 660770 h 1852160"/>
                <a:gd name="connsiteX442" fmla="*/ 290339 w 4011346"/>
                <a:gd name="connsiteY442" fmla="*/ 640746 h 1852160"/>
                <a:gd name="connsiteX443" fmla="*/ 236944 w 4011346"/>
                <a:gd name="connsiteY443" fmla="*/ 594025 h 1852160"/>
                <a:gd name="connsiteX444" fmla="*/ 133490 w 4011346"/>
                <a:gd name="connsiteY444" fmla="*/ 537292 h 1852160"/>
                <a:gd name="connsiteX0" fmla="*/ 133490 w 4011346"/>
                <a:gd name="connsiteY0" fmla="*/ 537292 h 1852160"/>
                <a:gd name="connsiteX1" fmla="*/ 46722 w 4011346"/>
                <a:gd name="connsiteY1" fmla="*/ 567327 h 1852160"/>
                <a:gd name="connsiteX2" fmla="*/ 33373 w 4011346"/>
                <a:gd name="connsiteY2" fmla="*/ 597362 h 1852160"/>
                <a:gd name="connsiteX3" fmla="*/ 43384 w 4011346"/>
                <a:gd name="connsiteY3" fmla="*/ 627398 h 1852160"/>
                <a:gd name="connsiteX4" fmla="*/ 60071 w 4011346"/>
                <a:gd name="connsiteY4" fmla="*/ 654095 h 1852160"/>
                <a:gd name="connsiteX5" fmla="*/ 73419 w 4011346"/>
                <a:gd name="connsiteY5" fmla="*/ 684130 h 1852160"/>
                <a:gd name="connsiteX6" fmla="*/ 56733 w 4011346"/>
                <a:gd name="connsiteY6" fmla="*/ 707491 h 1852160"/>
                <a:gd name="connsiteX7" fmla="*/ 76757 w 4011346"/>
                <a:gd name="connsiteY7" fmla="*/ 787584 h 1852160"/>
                <a:gd name="connsiteX8" fmla="*/ 66745 w 4011346"/>
                <a:gd name="connsiteY8" fmla="*/ 804271 h 1852160"/>
                <a:gd name="connsiteX9" fmla="*/ 70082 w 4011346"/>
                <a:gd name="connsiteY9" fmla="*/ 830968 h 1852160"/>
                <a:gd name="connsiteX10" fmla="*/ 70082 w 4011346"/>
                <a:gd name="connsiteY10" fmla="*/ 871015 h 1852160"/>
                <a:gd name="connsiteX11" fmla="*/ 80094 w 4011346"/>
                <a:gd name="connsiteY11" fmla="*/ 891038 h 1852160"/>
                <a:gd name="connsiteX12" fmla="*/ 76757 w 4011346"/>
                <a:gd name="connsiteY12" fmla="*/ 914399 h 1852160"/>
                <a:gd name="connsiteX13" fmla="*/ 106792 w 4011346"/>
                <a:gd name="connsiteY13" fmla="*/ 947771 h 1852160"/>
                <a:gd name="connsiteX14" fmla="*/ 106792 w 4011346"/>
                <a:gd name="connsiteY14" fmla="*/ 977806 h 1852160"/>
                <a:gd name="connsiteX15" fmla="*/ 13349 w 4011346"/>
                <a:gd name="connsiteY15" fmla="*/ 1067911 h 1852160"/>
                <a:gd name="connsiteX16" fmla="*/ 33373 w 4011346"/>
                <a:gd name="connsiteY16" fmla="*/ 1101284 h 1852160"/>
                <a:gd name="connsiteX17" fmla="*/ 33373 w 4011346"/>
                <a:gd name="connsiteY17" fmla="*/ 1101284 h 1852160"/>
                <a:gd name="connsiteX18" fmla="*/ 16687 w 4011346"/>
                <a:gd name="connsiteY18" fmla="*/ 1131319 h 1852160"/>
                <a:gd name="connsiteX19" fmla="*/ 3338 w 4011346"/>
                <a:gd name="connsiteY19" fmla="*/ 1161354 h 1852160"/>
                <a:gd name="connsiteX20" fmla="*/ 0 w 4011346"/>
                <a:gd name="connsiteY20" fmla="*/ 1221424 h 1852160"/>
                <a:gd name="connsiteX21" fmla="*/ 16687 w 4011346"/>
                <a:gd name="connsiteY21" fmla="*/ 1264808 h 1852160"/>
                <a:gd name="connsiteX22" fmla="*/ 20024 w 4011346"/>
                <a:gd name="connsiteY22" fmla="*/ 1298180 h 1852160"/>
                <a:gd name="connsiteX23" fmla="*/ 56733 w 4011346"/>
                <a:gd name="connsiteY23" fmla="*/ 1308192 h 1852160"/>
                <a:gd name="connsiteX24" fmla="*/ 116803 w 4011346"/>
                <a:gd name="connsiteY24" fmla="*/ 1394960 h 1852160"/>
                <a:gd name="connsiteX25" fmla="*/ 96780 w 4011346"/>
                <a:gd name="connsiteY25" fmla="*/ 1418320 h 1852160"/>
                <a:gd name="connsiteX26" fmla="*/ 93443 w 4011346"/>
                <a:gd name="connsiteY26" fmla="*/ 1448355 h 1852160"/>
                <a:gd name="connsiteX27" fmla="*/ 120141 w 4011346"/>
                <a:gd name="connsiteY27" fmla="*/ 1451692 h 1852160"/>
                <a:gd name="connsiteX28" fmla="*/ 160187 w 4011346"/>
                <a:gd name="connsiteY28" fmla="*/ 1465041 h 1852160"/>
                <a:gd name="connsiteX29" fmla="*/ 186885 w 4011346"/>
                <a:gd name="connsiteY29" fmla="*/ 1478390 h 1852160"/>
                <a:gd name="connsiteX30" fmla="*/ 213583 w 4011346"/>
                <a:gd name="connsiteY30" fmla="*/ 1508425 h 1852160"/>
                <a:gd name="connsiteX31" fmla="*/ 243618 w 4011346"/>
                <a:gd name="connsiteY31" fmla="*/ 1511762 h 1852160"/>
                <a:gd name="connsiteX32" fmla="*/ 287002 w 4011346"/>
                <a:gd name="connsiteY32" fmla="*/ 1541798 h 1852160"/>
                <a:gd name="connsiteX33" fmla="*/ 310363 w 4011346"/>
                <a:gd name="connsiteY33" fmla="*/ 1551809 h 1852160"/>
                <a:gd name="connsiteX34" fmla="*/ 310363 w 4011346"/>
                <a:gd name="connsiteY34" fmla="*/ 1588519 h 1852160"/>
                <a:gd name="connsiteX35" fmla="*/ 270316 w 4011346"/>
                <a:gd name="connsiteY35" fmla="*/ 1628565 h 1852160"/>
                <a:gd name="connsiteX36" fmla="*/ 280327 w 4011346"/>
                <a:gd name="connsiteY36" fmla="*/ 1651926 h 1852160"/>
                <a:gd name="connsiteX37" fmla="*/ 273653 w 4011346"/>
                <a:gd name="connsiteY37" fmla="*/ 1671949 h 1852160"/>
                <a:gd name="connsiteX38" fmla="*/ 266979 w 4011346"/>
                <a:gd name="connsiteY38" fmla="*/ 1688635 h 1852160"/>
                <a:gd name="connsiteX39" fmla="*/ 240281 w 4011346"/>
                <a:gd name="connsiteY39" fmla="*/ 1728682 h 1852160"/>
                <a:gd name="connsiteX40" fmla="*/ 307025 w 4011346"/>
                <a:gd name="connsiteY40" fmla="*/ 1765392 h 1852160"/>
                <a:gd name="connsiteX41" fmla="*/ 337060 w 4011346"/>
                <a:gd name="connsiteY41" fmla="*/ 1772066 h 1852160"/>
                <a:gd name="connsiteX42" fmla="*/ 360421 w 4011346"/>
                <a:gd name="connsiteY42" fmla="*/ 1778741 h 1852160"/>
                <a:gd name="connsiteX43" fmla="*/ 380444 w 4011346"/>
                <a:gd name="connsiteY43" fmla="*/ 1785415 h 1852160"/>
                <a:gd name="connsiteX44" fmla="*/ 407142 w 4011346"/>
                <a:gd name="connsiteY44" fmla="*/ 1805438 h 1852160"/>
                <a:gd name="connsiteX45" fmla="*/ 437177 w 4011346"/>
                <a:gd name="connsiteY45" fmla="*/ 1802101 h 1852160"/>
                <a:gd name="connsiteX46" fmla="*/ 507259 w 4011346"/>
                <a:gd name="connsiteY46" fmla="*/ 1852160 h 1852160"/>
                <a:gd name="connsiteX47" fmla="*/ 517271 w 4011346"/>
                <a:gd name="connsiteY47" fmla="*/ 1838811 h 1852160"/>
                <a:gd name="connsiteX48" fmla="*/ 507259 w 4011346"/>
                <a:gd name="connsiteY48" fmla="*/ 1798764 h 1852160"/>
                <a:gd name="connsiteX49" fmla="*/ 500584 w 4011346"/>
                <a:gd name="connsiteY49" fmla="*/ 1765392 h 1852160"/>
                <a:gd name="connsiteX50" fmla="*/ 483898 w 4011346"/>
                <a:gd name="connsiteY50" fmla="*/ 1722008 h 1852160"/>
                <a:gd name="connsiteX51" fmla="*/ 513933 w 4011346"/>
                <a:gd name="connsiteY51" fmla="*/ 1701984 h 1852160"/>
                <a:gd name="connsiteX52" fmla="*/ 547306 w 4011346"/>
                <a:gd name="connsiteY52" fmla="*/ 1678624 h 1852160"/>
                <a:gd name="connsiteX53" fmla="*/ 527282 w 4011346"/>
                <a:gd name="connsiteY53" fmla="*/ 1661938 h 1852160"/>
                <a:gd name="connsiteX54" fmla="*/ 517271 w 4011346"/>
                <a:gd name="connsiteY54" fmla="*/ 1628565 h 1852160"/>
                <a:gd name="connsiteX55" fmla="*/ 480561 w 4011346"/>
                <a:gd name="connsiteY55" fmla="*/ 1611879 h 1852160"/>
                <a:gd name="connsiteX56" fmla="*/ 470549 w 4011346"/>
                <a:gd name="connsiteY56" fmla="*/ 1591856 h 1852160"/>
                <a:gd name="connsiteX57" fmla="*/ 480561 w 4011346"/>
                <a:gd name="connsiteY57" fmla="*/ 1561821 h 1852160"/>
                <a:gd name="connsiteX58" fmla="*/ 490573 w 4011346"/>
                <a:gd name="connsiteY58" fmla="*/ 1521774 h 1852160"/>
                <a:gd name="connsiteX59" fmla="*/ 513933 w 4011346"/>
                <a:gd name="connsiteY59" fmla="*/ 1541798 h 1852160"/>
                <a:gd name="connsiteX60" fmla="*/ 520608 w 4011346"/>
                <a:gd name="connsiteY60" fmla="*/ 1525111 h 1852160"/>
                <a:gd name="connsiteX61" fmla="*/ 543968 w 4011346"/>
                <a:gd name="connsiteY61" fmla="*/ 1488402 h 1852160"/>
                <a:gd name="connsiteX62" fmla="*/ 574003 w 4011346"/>
                <a:gd name="connsiteY62" fmla="*/ 1471716 h 1852160"/>
                <a:gd name="connsiteX63" fmla="*/ 590690 w 4011346"/>
                <a:gd name="connsiteY63" fmla="*/ 1485065 h 1852160"/>
                <a:gd name="connsiteX64" fmla="*/ 610713 w 4011346"/>
                <a:gd name="connsiteY64" fmla="*/ 1458367 h 1852160"/>
                <a:gd name="connsiteX65" fmla="*/ 630736 w 4011346"/>
                <a:gd name="connsiteY65" fmla="*/ 1485065 h 1852160"/>
                <a:gd name="connsiteX66" fmla="*/ 657434 w 4011346"/>
                <a:gd name="connsiteY66" fmla="*/ 1508425 h 1852160"/>
                <a:gd name="connsiteX67" fmla="*/ 674120 w 4011346"/>
                <a:gd name="connsiteY67" fmla="*/ 1515100 h 1852160"/>
                <a:gd name="connsiteX68" fmla="*/ 697481 w 4011346"/>
                <a:gd name="connsiteY68" fmla="*/ 1515100 h 1852160"/>
                <a:gd name="connsiteX69" fmla="*/ 717504 w 4011346"/>
                <a:gd name="connsiteY69" fmla="*/ 1501751 h 1852160"/>
                <a:gd name="connsiteX70" fmla="*/ 744202 w 4011346"/>
                <a:gd name="connsiteY70" fmla="*/ 1501751 h 1852160"/>
                <a:gd name="connsiteX71" fmla="*/ 760888 w 4011346"/>
                <a:gd name="connsiteY71" fmla="*/ 1498414 h 1852160"/>
                <a:gd name="connsiteX72" fmla="*/ 790923 w 4011346"/>
                <a:gd name="connsiteY72" fmla="*/ 1531786 h 1852160"/>
                <a:gd name="connsiteX73" fmla="*/ 797598 w 4011346"/>
                <a:gd name="connsiteY73" fmla="*/ 1505088 h 1852160"/>
                <a:gd name="connsiteX74" fmla="*/ 817621 w 4011346"/>
                <a:gd name="connsiteY74" fmla="*/ 1521774 h 1852160"/>
                <a:gd name="connsiteX75" fmla="*/ 837644 w 4011346"/>
                <a:gd name="connsiteY75" fmla="*/ 1498414 h 1852160"/>
                <a:gd name="connsiteX76" fmla="*/ 827633 w 4011346"/>
                <a:gd name="connsiteY76" fmla="*/ 1478390 h 1852160"/>
                <a:gd name="connsiteX77" fmla="*/ 810946 w 4011346"/>
                <a:gd name="connsiteY77" fmla="*/ 1465041 h 1852160"/>
                <a:gd name="connsiteX78" fmla="*/ 810946 w 4011346"/>
                <a:gd name="connsiteY78" fmla="*/ 1438344 h 1852160"/>
                <a:gd name="connsiteX79" fmla="*/ 810946 w 4011346"/>
                <a:gd name="connsiteY79" fmla="*/ 1424995 h 1852160"/>
                <a:gd name="connsiteX80" fmla="*/ 830970 w 4011346"/>
                <a:gd name="connsiteY80" fmla="*/ 1421657 h 1852160"/>
                <a:gd name="connsiteX81" fmla="*/ 840981 w 4011346"/>
                <a:gd name="connsiteY81" fmla="*/ 1418320 h 1852160"/>
                <a:gd name="connsiteX82" fmla="*/ 820958 w 4011346"/>
                <a:gd name="connsiteY82" fmla="*/ 1381611 h 1852160"/>
                <a:gd name="connsiteX83" fmla="*/ 854330 w 4011346"/>
                <a:gd name="connsiteY83" fmla="*/ 1374936 h 1852160"/>
                <a:gd name="connsiteX84" fmla="*/ 891040 w 4011346"/>
                <a:gd name="connsiteY84" fmla="*/ 1381611 h 1852160"/>
                <a:gd name="connsiteX85" fmla="*/ 964459 w 4011346"/>
                <a:gd name="connsiteY85" fmla="*/ 1338227 h 1852160"/>
                <a:gd name="connsiteX86" fmla="*/ 1001168 w 4011346"/>
                <a:gd name="connsiteY86" fmla="*/ 1338227 h 1852160"/>
                <a:gd name="connsiteX87" fmla="*/ 1027866 w 4011346"/>
                <a:gd name="connsiteY87" fmla="*/ 1314866 h 1852160"/>
                <a:gd name="connsiteX88" fmla="*/ 1047890 w 4011346"/>
                <a:gd name="connsiteY88" fmla="*/ 1324878 h 1852160"/>
                <a:gd name="connsiteX89" fmla="*/ 1067913 w 4011346"/>
                <a:gd name="connsiteY89" fmla="*/ 1334889 h 1852160"/>
                <a:gd name="connsiteX90" fmla="*/ 1087936 w 4011346"/>
                <a:gd name="connsiteY90" fmla="*/ 1361587 h 1852160"/>
                <a:gd name="connsiteX91" fmla="*/ 1074587 w 4011346"/>
                <a:gd name="connsiteY91" fmla="*/ 1374936 h 1852160"/>
                <a:gd name="connsiteX92" fmla="*/ 1104622 w 4011346"/>
                <a:gd name="connsiteY92" fmla="*/ 1374936 h 1852160"/>
                <a:gd name="connsiteX93" fmla="*/ 1107960 w 4011346"/>
                <a:gd name="connsiteY93" fmla="*/ 1391622 h 1852160"/>
                <a:gd name="connsiteX94" fmla="*/ 1121309 w 4011346"/>
                <a:gd name="connsiteY94" fmla="*/ 1374936 h 1852160"/>
                <a:gd name="connsiteX95" fmla="*/ 1134657 w 4011346"/>
                <a:gd name="connsiteY95" fmla="*/ 1388285 h 1852160"/>
                <a:gd name="connsiteX96" fmla="*/ 1134657 w 4011346"/>
                <a:gd name="connsiteY96" fmla="*/ 1408308 h 1852160"/>
                <a:gd name="connsiteX97" fmla="*/ 1148006 w 4011346"/>
                <a:gd name="connsiteY97" fmla="*/ 1404971 h 1852160"/>
                <a:gd name="connsiteX98" fmla="*/ 1208076 w 4011346"/>
                <a:gd name="connsiteY98" fmla="*/ 1358250 h 1852160"/>
                <a:gd name="connsiteX99" fmla="*/ 1211414 w 4011346"/>
                <a:gd name="connsiteY99" fmla="*/ 1378273 h 1852160"/>
                <a:gd name="connsiteX100" fmla="*/ 1244786 w 4011346"/>
                <a:gd name="connsiteY100" fmla="*/ 1398297 h 1852160"/>
                <a:gd name="connsiteX101" fmla="*/ 1264809 w 4011346"/>
                <a:gd name="connsiteY101" fmla="*/ 1428332 h 1852160"/>
                <a:gd name="connsiteX102" fmla="*/ 1298181 w 4011346"/>
                <a:gd name="connsiteY102" fmla="*/ 1535123 h 1852160"/>
                <a:gd name="connsiteX103" fmla="*/ 1308193 w 4011346"/>
                <a:gd name="connsiteY103" fmla="*/ 1491739 h 1852160"/>
                <a:gd name="connsiteX104" fmla="*/ 1344903 w 4011346"/>
                <a:gd name="connsiteY104" fmla="*/ 1511762 h 1852160"/>
                <a:gd name="connsiteX105" fmla="*/ 1388287 w 4011346"/>
                <a:gd name="connsiteY105" fmla="*/ 1511762 h 1852160"/>
                <a:gd name="connsiteX106" fmla="*/ 1394961 w 4011346"/>
                <a:gd name="connsiteY106" fmla="*/ 1535123 h 1852160"/>
                <a:gd name="connsiteX107" fmla="*/ 1435008 w 4011346"/>
                <a:gd name="connsiteY107" fmla="*/ 1558484 h 1852160"/>
                <a:gd name="connsiteX108" fmla="*/ 1465043 w 4011346"/>
                <a:gd name="connsiteY108" fmla="*/ 1558484 h 1852160"/>
                <a:gd name="connsiteX109" fmla="*/ 1491741 w 4011346"/>
                <a:gd name="connsiteY109" fmla="*/ 1571833 h 1852160"/>
                <a:gd name="connsiteX110" fmla="*/ 1535125 w 4011346"/>
                <a:gd name="connsiteY110" fmla="*/ 1528449 h 1852160"/>
                <a:gd name="connsiteX111" fmla="*/ 1571834 w 4011346"/>
                <a:gd name="connsiteY111" fmla="*/ 1508425 h 1852160"/>
                <a:gd name="connsiteX112" fmla="*/ 1608544 w 4011346"/>
                <a:gd name="connsiteY112" fmla="*/ 1511762 h 1852160"/>
                <a:gd name="connsiteX113" fmla="*/ 1655265 w 4011346"/>
                <a:gd name="connsiteY113" fmla="*/ 1525111 h 1852160"/>
                <a:gd name="connsiteX114" fmla="*/ 1681963 w 4011346"/>
                <a:gd name="connsiteY114" fmla="*/ 1541798 h 1852160"/>
                <a:gd name="connsiteX115" fmla="*/ 1735358 w 4011346"/>
                <a:gd name="connsiteY115" fmla="*/ 1535123 h 1852160"/>
                <a:gd name="connsiteX116" fmla="*/ 1745370 w 4011346"/>
                <a:gd name="connsiteY116" fmla="*/ 1515100 h 1852160"/>
                <a:gd name="connsiteX117" fmla="*/ 1738695 w 4011346"/>
                <a:gd name="connsiteY117" fmla="*/ 1495076 h 1852160"/>
                <a:gd name="connsiteX118" fmla="*/ 1765393 w 4011346"/>
                <a:gd name="connsiteY118" fmla="*/ 1468379 h 1852160"/>
                <a:gd name="connsiteX119" fmla="*/ 1778742 w 4011346"/>
                <a:gd name="connsiteY119" fmla="*/ 1465041 h 1852160"/>
                <a:gd name="connsiteX120" fmla="*/ 1812114 w 4011346"/>
                <a:gd name="connsiteY120" fmla="*/ 1481727 h 1852160"/>
                <a:gd name="connsiteX121" fmla="*/ 1852161 w 4011346"/>
                <a:gd name="connsiteY121" fmla="*/ 1495076 h 1852160"/>
                <a:gd name="connsiteX122" fmla="*/ 1858836 w 4011346"/>
                <a:gd name="connsiteY122" fmla="*/ 1521774 h 1852160"/>
                <a:gd name="connsiteX123" fmla="*/ 1872184 w 4011346"/>
                <a:gd name="connsiteY123" fmla="*/ 1528449 h 1852160"/>
                <a:gd name="connsiteX124" fmla="*/ 1902219 w 4011346"/>
                <a:gd name="connsiteY124" fmla="*/ 1531786 h 1852160"/>
                <a:gd name="connsiteX125" fmla="*/ 1932254 w 4011346"/>
                <a:gd name="connsiteY125" fmla="*/ 1515100 h 1852160"/>
                <a:gd name="connsiteX126" fmla="*/ 1962290 w 4011346"/>
                <a:gd name="connsiteY126" fmla="*/ 1528449 h 1852160"/>
                <a:gd name="connsiteX127" fmla="*/ 1985650 w 4011346"/>
                <a:gd name="connsiteY127" fmla="*/ 1541798 h 1852160"/>
                <a:gd name="connsiteX128" fmla="*/ 1995662 w 4011346"/>
                <a:gd name="connsiteY128" fmla="*/ 1551809 h 1852160"/>
                <a:gd name="connsiteX129" fmla="*/ 2032371 w 4011346"/>
                <a:gd name="connsiteY129" fmla="*/ 1571833 h 1852160"/>
                <a:gd name="connsiteX130" fmla="*/ 2069081 w 4011346"/>
                <a:gd name="connsiteY130" fmla="*/ 1568495 h 1852160"/>
                <a:gd name="connsiteX131" fmla="*/ 2142500 w 4011346"/>
                <a:gd name="connsiteY131" fmla="*/ 1525111 h 1852160"/>
                <a:gd name="connsiteX132" fmla="*/ 2195895 w 4011346"/>
                <a:gd name="connsiteY132" fmla="*/ 1538460 h 1852160"/>
                <a:gd name="connsiteX133" fmla="*/ 2225930 w 4011346"/>
                <a:gd name="connsiteY133" fmla="*/ 1548472 h 1852160"/>
                <a:gd name="connsiteX134" fmla="*/ 2259303 w 4011346"/>
                <a:gd name="connsiteY134" fmla="*/ 1535123 h 1852160"/>
                <a:gd name="connsiteX135" fmla="*/ 2262640 w 4011346"/>
                <a:gd name="connsiteY135" fmla="*/ 1508425 h 1852160"/>
                <a:gd name="connsiteX136" fmla="*/ 2282663 w 4011346"/>
                <a:gd name="connsiteY136" fmla="*/ 1478390 h 1852160"/>
                <a:gd name="connsiteX137" fmla="*/ 2299349 w 4011346"/>
                <a:gd name="connsiteY137" fmla="*/ 1424995 h 1852160"/>
                <a:gd name="connsiteX138" fmla="*/ 2282663 w 4011346"/>
                <a:gd name="connsiteY138" fmla="*/ 1428332 h 1852160"/>
                <a:gd name="connsiteX139" fmla="*/ 2312698 w 4011346"/>
                <a:gd name="connsiteY139" fmla="*/ 1401634 h 1852160"/>
                <a:gd name="connsiteX140" fmla="*/ 2339396 w 4011346"/>
                <a:gd name="connsiteY140" fmla="*/ 1398297 h 1852160"/>
                <a:gd name="connsiteX141" fmla="*/ 2396129 w 4011346"/>
                <a:gd name="connsiteY141" fmla="*/ 1408308 h 1852160"/>
                <a:gd name="connsiteX142" fmla="*/ 2436176 w 4011346"/>
                <a:gd name="connsiteY142" fmla="*/ 1435006 h 1852160"/>
                <a:gd name="connsiteX143" fmla="*/ 2462873 w 4011346"/>
                <a:gd name="connsiteY143" fmla="*/ 1465041 h 1852160"/>
                <a:gd name="connsiteX144" fmla="*/ 2469548 w 4011346"/>
                <a:gd name="connsiteY144" fmla="*/ 1501751 h 1852160"/>
                <a:gd name="connsiteX145" fmla="*/ 2476222 w 4011346"/>
                <a:gd name="connsiteY145" fmla="*/ 1541798 h 1852160"/>
                <a:gd name="connsiteX146" fmla="*/ 2486234 w 4011346"/>
                <a:gd name="connsiteY146" fmla="*/ 1561821 h 1852160"/>
                <a:gd name="connsiteX147" fmla="*/ 2529618 w 4011346"/>
                <a:gd name="connsiteY147" fmla="*/ 1575170 h 1852160"/>
                <a:gd name="connsiteX148" fmla="*/ 2549641 w 4011346"/>
                <a:gd name="connsiteY148" fmla="*/ 1595193 h 1852160"/>
                <a:gd name="connsiteX149" fmla="*/ 2562990 w 4011346"/>
                <a:gd name="connsiteY149" fmla="*/ 1628565 h 1852160"/>
                <a:gd name="connsiteX150" fmla="*/ 2586351 w 4011346"/>
                <a:gd name="connsiteY150" fmla="*/ 1621891 h 1852160"/>
                <a:gd name="connsiteX151" fmla="*/ 2606374 w 4011346"/>
                <a:gd name="connsiteY151" fmla="*/ 1611879 h 1852160"/>
                <a:gd name="connsiteX152" fmla="*/ 2639746 w 4011346"/>
                <a:gd name="connsiteY152" fmla="*/ 1595193 h 1852160"/>
                <a:gd name="connsiteX153" fmla="*/ 2643084 w 4011346"/>
                <a:gd name="connsiteY153" fmla="*/ 1611879 h 1852160"/>
                <a:gd name="connsiteX154" fmla="*/ 2626398 w 4011346"/>
                <a:gd name="connsiteY154" fmla="*/ 1641914 h 1852160"/>
                <a:gd name="connsiteX155" fmla="*/ 2616386 w 4011346"/>
                <a:gd name="connsiteY155" fmla="*/ 1678624 h 1852160"/>
                <a:gd name="connsiteX156" fmla="*/ 2603037 w 4011346"/>
                <a:gd name="connsiteY156" fmla="*/ 1732019 h 1852160"/>
                <a:gd name="connsiteX157" fmla="*/ 2579676 w 4011346"/>
                <a:gd name="connsiteY157" fmla="*/ 1705322 h 1852160"/>
                <a:gd name="connsiteX158" fmla="*/ 2552979 w 4011346"/>
                <a:gd name="connsiteY158" fmla="*/ 1728682 h 1852160"/>
                <a:gd name="connsiteX159" fmla="*/ 2559653 w 4011346"/>
                <a:gd name="connsiteY159" fmla="*/ 1755380 h 1852160"/>
                <a:gd name="connsiteX160" fmla="*/ 2559653 w 4011346"/>
                <a:gd name="connsiteY160" fmla="*/ 1792089 h 1852160"/>
                <a:gd name="connsiteX161" fmla="*/ 2549641 w 4011346"/>
                <a:gd name="connsiteY161" fmla="*/ 1812113 h 1852160"/>
                <a:gd name="connsiteX162" fmla="*/ 2589688 w 4011346"/>
                <a:gd name="connsiteY162" fmla="*/ 1792089 h 1852160"/>
                <a:gd name="connsiteX163" fmla="*/ 2626398 w 4011346"/>
                <a:gd name="connsiteY163" fmla="*/ 1802101 h 1852160"/>
                <a:gd name="connsiteX164" fmla="*/ 2653095 w 4011346"/>
                <a:gd name="connsiteY164" fmla="*/ 1778741 h 1852160"/>
                <a:gd name="connsiteX165" fmla="*/ 2683130 w 4011346"/>
                <a:gd name="connsiteY165" fmla="*/ 1725345 h 1852160"/>
                <a:gd name="connsiteX166" fmla="*/ 2753212 w 4011346"/>
                <a:gd name="connsiteY166" fmla="*/ 1638577 h 1852160"/>
                <a:gd name="connsiteX167" fmla="*/ 2783247 w 4011346"/>
                <a:gd name="connsiteY167" fmla="*/ 1568495 h 1852160"/>
                <a:gd name="connsiteX168" fmla="*/ 2803271 w 4011346"/>
                <a:gd name="connsiteY168" fmla="*/ 1465041 h 1852160"/>
                <a:gd name="connsiteX169" fmla="*/ 2793259 w 4011346"/>
                <a:gd name="connsiteY169" fmla="*/ 1414983 h 1852160"/>
                <a:gd name="connsiteX170" fmla="*/ 2769898 w 4011346"/>
                <a:gd name="connsiteY170" fmla="*/ 1381611 h 1852160"/>
                <a:gd name="connsiteX171" fmla="*/ 2726514 w 4011346"/>
                <a:gd name="connsiteY171" fmla="*/ 1381611 h 1852160"/>
                <a:gd name="connsiteX172" fmla="*/ 2699817 w 4011346"/>
                <a:gd name="connsiteY172" fmla="*/ 1381611 h 1852160"/>
                <a:gd name="connsiteX173" fmla="*/ 2683130 w 4011346"/>
                <a:gd name="connsiteY173" fmla="*/ 1361587 h 1852160"/>
                <a:gd name="connsiteX174" fmla="*/ 2669781 w 4011346"/>
                <a:gd name="connsiteY174" fmla="*/ 1341564 h 1852160"/>
                <a:gd name="connsiteX175" fmla="*/ 2763224 w 4011346"/>
                <a:gd name="connsiteY175" fmla="*/ 1224761 h 1852160"/>
                <a:gd name="connsiteX176" fmla="*/ 2846654 w 4011346"/>
                <a:gd name="connsiteY176" fmla="*/ 1158017 h 1852160"/>
                <a:gd name="connsiteX177" fmla="*/ 2890038 w 4011346"/>
                <a:gd name="connsiteY177" fmla="*/ 1134656 h 1852160"/>
                <a:gd name="connsiteX178" fmla="*/ 2933422 w 4011346"/>
                <a:gd name="connsiteY178" fmla="*/ 1154679 h 1852160"/>
                <a:gd name="connsiteX179" fmla="*/ 2950109 w 4011346"/>
                <a:gd name="connsiteY179" fmla="*/ 1137993 h 1852160"/>
                <a:gd name="connsiteX180" fmla="*/ 2993492 w 4011346"/>
                <a:gd name="connsiteY180" fmla="*/ 1154679 h 1852160"/>
                <a:gd name="connsiteX181" fmla="*/ 3006841 w 4011346"/>
                <a:gd name="connsiteY181" fmla="*/ 1121307 h 1852160"/>
                <a:gd name="connsiteX182" fmla="*/ 3053563 w 4011346"/>
                <a:gd name="connsiteY182" fmla="*/ 1131319 h 1852160"/>
                <a:gd name="connsiteX183" fmla="*/ 3070249 w 4011346"/>
                <a:gd name="connsiteY183" fmla="*/ 1148005 h 1852160"/>
                <a:gd name="connsiteX184" fmla="*/ 3060237 w 4011346"/>
                <a:gd name="connsiteY184" fmla="*/ 1168028 h 1852160"/>
                <a:gd name="connsiteX185" fmla="*/ 3123644 w 4011346"/>
                <a:gd name="connsiteY185" fmla="*/ 1151342 h 1852160"/>
                <a:gd name="connsiteX186" fmla="*/ 3140330 w 4011346"/>
                <a:gd name="connsiteY186" fmla="*/ 1137993 h 1852160"/>
                <a:gd name="connsiteX187" fmla="*/ 3123644 w 4011346"/>
                <a:gd name="connsiteY187" fmla="*/ 1124644 h 1852160"/>
                <a:gd name="connsiteX188" fmla="*/ 3143668 w 4011346"/>
                <a:gd name="connsiteY188" fmla="*/ 1084598 h 1852160"/>
                <a:gd name="connsiteX189" fmla="*/ 3190389 w 4011346"/>
                <a:gd name="connsiteY189" fmla="*/ 1014516 h 1852160"/>
                <a:gd name="connsiteX190" fmla="*/ 3233773 w 4011346"/>
                <a:gd name="connsiteY190" fmla="*/ 1011179 h 1852160"/>
                <a:gd name="connsiteX191" fmla="*/ 3273819 w 4011346"/>
                <a:gd name="connsiteY191" fmla="*/ 1021190 h 1852160"/>
                <a:gd name="connsiteX192" fmla="*/ 3277157 w 4011346"/>
                <a:gd name="connsiteY192" fmla="*/ 1077923 h 1852160"/>
                <a:gd name="connsiteX193" fmla="*/ 3320541 w 4011346"/>
                <a:gd name="connsiteY193" fmla="*/ 1034539 h 1852160"/>
                <a:gd name="connsiteX194" fmla="*/ 3343901 w 4011346"/>
                <a:gd name="connsiteY194" fmla="*/ 1017853 h 1852160"/>
                <a:gd name="connsiteX195" fmla="*/ 3350576 w 4011346"/>
                <a:gd name="connsiteY195" fmla="*/ 984481 h 1852160"/>
                <a:gd name="connsiteX196" fmla="*/ 3377273 w 4011346"/>
                <a:gd name="connsiteY196" fmla="*/ 967795 h 1852160"/>
                <a:gd name="connsiteX197" fmla="*/ 3407309 w 4011346"/>
                <a:gd name="connsiteY197" fmla="*/ 977806 h 1852160"/>
                <a:gd name="connsiteX198" fmla="*/ 3373936 w 4011346"/>
                <a:gd name="connsiteY198" fmla="*/ 1007841 h 1852160"/>
                <a:gd name="connsiteX199" fmla="*/ 3360587 w 4011346"/>
                <a:gd name="connsiteY199" fmla="*/ 1057900 h 1852160"/>
                <a:gd name="connsiteX200" fmla="*/ 3323878 w 4011346"/>
                <a:gd name="connsiteY200" fmla="*/ 1097946 h 1852160"/>
                <a:gd name="connsiteX201" fmla="*/ 3210412 w 4011346"/>
                <a:gd name="connsiteY201" fmla="*/ 1194726 h 1852160"/>
                <a:gd name="connsiteX202" fmla="*/ 3163691 w 4011346"/>
                <a:gd name="connsiteY202" fmla="*/ 1264808 h 1852160"/>
                <a:gd name="connsiteX203" fmla="*/ 3160354 w 4011346"/>
                <a:gd name="connsiteY203" fmla="*/ 1338227 h 1852160"/>
                <a:gd name="connsiteX204" fmla="*/ 3170365 w 4011346"/>
                <a:gd name="connsiteY204" fmla="*/ 1428332 h 1852160"/>
                <a:gd name="connsiteX205" fmla="*/ 3190389 w 4011346"/>
                <a:gd name="connsiteY205" fmla="*/ 1491739 h 1852160"/>
                <a:gd name="connsiteX206" fmla="*/ 3217087 w 4011346"/>
                <a:gd name="connsiteY206" fmla="*/ 1481727 h 1852160"/>
                <a:gd name="connsiteX207" fmla="*/ 3240447 w 4011346"/>
                <a:gd name="connsiteY207" fmla="*/ 1414983 h 1852160"/>
                <a:gd name="connsiteX208" fmla="*/ 3270482 w 4011346"/>
                <a:gd name="connsiteY208" fmla="*/ 1411646 h 1852160"/>
                <a:gd name="connsiteX209" fmla="*/ 3287168 w 4011346"/>
                <a:gd name="connsiteY209" fmla="*/ 1351576 h 1852160"/>
                <a:gd name="connsiteX210" fmla="*/ 3313866 w 4011346"/>
                <a:gd name="connsiteY210" fmla="*/ 1341564 h 1852160"/>
                <a:gd name="connsiteX211" fmla="*/ 3313866 w 4011346"/>
                <a:gd name="connsiteY211" fmla="*/ 1311529 h 1852160"/>
                <a:gd name="connsiteX212" fmla="*/ 3337227 w 4011346"/>
                <a:gd name="connsiteY212" fmla="*/ 1274819 h 1852160"/>
                <a:gd name="connsiteX213" fmla="*/ 3330552 w 4011346"/>
                <a:gd name="connsiteY213" fmla="*/ 1231435 h 1852160"/>
                <a:gd name="connsiteX214" fmla="*/ 3333890 w 4011346"/>
                <a:gd name="connsiteY214" fmla="*/ 1201400 h 1852160"/>
                <a:gd name="connsiteX215" fmla="*/ 3323878 w 4011346"/>
                <a:gd name="connsiteY215" fmla="*/ 1191389 h 1852160"/>
                <a:gd name="connsiteX216" fmla="*/ 3363925 w 4011346"/>
                <a:gd name="connsiteY216" fmla="*/ 1104621 h 1852160"/>
                <a:gd name="connsiteX217" fmla="*/ 3383948 w 4011346"/>
                <a:gd name="connsiteY217" fmla="*/ 1114633 h 1852160"/>
                <a:gd name="connsiteX218" fmla="*/ 3410646 w 4011346"/>
                <a:gd name="connsiteY218" fmla="*/ 1087935 h 1852160"/>
                <a:gd name="connsiteX219" fmla="*/ 3420657 w 4011346"/>
                <a:gd name="connsiteY219" fmla="*/ 1114633 h 1852160"/>
                <a:gd name="connsiteX220" fmla="*/ 3447355 w 4011346"/>
                <a:gd name="connsiteY220" fmla="*/ 1097946 h 1852160"/>
                <a:gd name="connsiteX221" fmla="*/ 3477390 w 4011346"/>
                <a:gd name="connsiteY221" fmla="*/ 1087935 h 1852160"/>
                <a:gd name="connsiteX222" fmla="*/ 3514100 w 4011346"/>
                <a:gd name="connsiteY222" fmla="*/ 1114633 h 1852160"/>
                <a:gd name="connsiteX223" fmla="*/ 3574170 w 4011346"/>
                <a:gd name="connsiteY223" fmla="*/ 1047888 h 1852160"/>
                <a:gd name="connsiteX224" fmla="*/ 3637577 w 4011346"/>
                <a:gd name="connsiteY224" fmla="*/ 1001167 h 1852160"/>
                <a:gd name="connsiteX225" fmla="*/ 3690973 w 4011346"/>
                <a:gd name="connsiteY225" fmla="*/ 964457 h 1852160"/>
                <a:gd name="connsiteX226" fmla="*/ 3741031 w 4011346"/>
                <a:gd name="connsiteY226" fmla="*/ 991155 h 1852160"/>
                <a:gd name="connsiteX227" fmla="*/ 3751043 w 4011346"/>
                <a:gd name="connsiteY227" fmla="*/ 964457 h 1852160"/>
                <a:gd name="connsiteX228" fmla="*/ 3727682 w 4011346"/>
                <a:gd name="connsiteY228" fmla="*/ 897713 h 1852160"/>
                <a:gd name="connsiteX229" fmla="*/ 3700984 w 4011346"/>
                <a:gd name="connsiteY229" fmla="*/ 881027 h 1852160"/>
                <a:gd name="connsiteX230" fmla="*/ 3697647 w 4011346"/>
                <a:gd name="connsiteY230" fmla="*/ 850992 h 1852160"/>
                <a:gd name="connsiteX231" fmla="*/ 3751043 w 4011346"/>
                <a:gd name="connsiteY231" fmla="*/ 857666 h 1852160"/>
                <a:gd name="connsiteX232" fmla="*/ 3774403 w 4011346"/>
                <a:gd name="connsiteY232" fmla="*/ 814282 h 1852160"/>
                <a:gd name="connsiteX233" fmla="*/ 3767729 w 4011346"/>
                <a:gd name="connsiteY233" fmla="*/ 787584 h 1852160"/>
                <a:gd name="connsiteX234" fmla="*/ 3794427 w 4011346"/>
                <a:gd name="connsiteY234" fmla="*/ 754212 h 1852160"/>
                <a:gd name="connsiteX235" fmla="*/ 3804438 w 4011346"/>
                <a:gd name="connsiteY235" fmla="*/ 797596 h 1852160"/>
                <a:gd name="connsiteX236" fmla="*/ 3827799 w 4011346"/>
                <a:gd name="connsiteY236" fmla="*/ 814282 h 1852160"/>
                <a:gd name="connsiteX237" fmla="*/ 3874520 w 4011346"/>
                <a:gd name="connsiteY237" fmla="*/ 834306 h 1852160"/>
                <a:gd name="connsiteX238" fmla="*/ 3894544 w 4011346"/>
                <a:gd name="connsiteY238" fmla="*/ 861003 h 1852160"/>
                <a:gd name="connsiteX239" fmla="*/ 3941265 w 4011346"/>
                <a:gd name="connsiteY239" fmla="*/ 884364 h 1852160"/>
                <a:gd name="connsiteX240" fmla="*/ 3947939 w 4011346"/>
                <a:gd name="connsiteY240" fmla="*/ 871015 h 1852160"/>
                <a:gd name="connsiteX241" fmla="*/ 3957951 w 4011346"/>
                <a:gd name="connsiteY241" fmla="*/ 807608 h 1852160"/>
                <a:gd name="connsiteX242" fmla="*/ 4004672 w 4011346"/>
                <a:gd name="connsiteY242" fmla="*/ 800933 h 1852160"/>
                <a:gd name="connsiteX243" fmla="*/ 4011346 w 4011346"/>
                <a:gd name="connsiteY243" fmla="*/ 767561 h 1852160"/>
                <a:gd name="connsiteX244" fmla="*/ 3967963 w 4011346"/>
                <a:gd name="connsiteY244" fmla="*/ 730852 h 1852160"/>
                <a:gd name="connsiteX245" fmla="*/ 3921241 w 4011346"/>
                <a:gd name="connsiteY245" fmla="*/ 714165 h 1852160"/>
                <a:gd name="connsiteX246" fmla="*/ 3907892 w 4011346"/>
                <a:gd name="connsiteY246" fmla="*/ 717503 h 1852160"/>
                <a:gd name="connsiteX247" fmla="*/ 3907892 w 4011346"/>
                <a:gd name="connsiteY247" fmla="*/ 750875 h 1852160"/>
                <a:gd name="connsiteX248" fmla="*/ 3887869 w 4011346"/>
                <a:gd name="connsiteY248" fmla="*/ 744200 h 1852160"/>
                <a:gd name="connsiteX249" fmla="*/ 3874520 w 4011346"/>
                <a:gd name="connsiteY249" fmla="*/ 690805 h 1852160"/>
                <a:gd name="connsiteX250" fmla="*/ 3817787 w 4011346"/>
                <a:gd name="connsiteY250" fmla="*/ 627398 h 1852160"/>
                <a:gd name="connsiteX251" fmla="*/ 3717671 w 4011346"/>
                <a:gd name="connsiteY251" fmla="*/ 550641 h 1852160"/>
                <a:gd name="connsiteX252" fmla="*/ 3664275 w 4011346"/>
                <a:gd name="connsiteY252" fmla="*/ 530618 h 1852160"/>
                <a:gd name="connsiteX253" fmla="*/ 3584181 w 4011346"/>
                <a:gd name="connsiteY253" fmla="*/ 523944 h 1852160"/>
                <a:gd name="connsiteX254" fmla="*/ 3520774 w 4011346"/>
                <a:gd name="connsiteY254" fmla="*/ 507257 h 1852160"/>
                <a:gd name="connsiteX255" fmla="*/ 3530786 w 4011346"/>
                <a:gd name="connsiteY255" fmla="*/ 547304 h 1852160"/>
                <a:gd name="connsiteX256" fmla="*/ 3537460 w 4011346"/>
                <a:gd name="connsiteY256" fmla="*/ 574002 h 1852160"/>
                <a:gd name="connsiteX257" fmla="*/ 3507425 w 4011346"/>
                <a:gd name="connsiteY257" fmla="*/ 597362 h 1852160"/>
                <a:gd name="connsiteX258" fmla="*/ 3477390 w 4011346"/>
                <a:gd name="connsiteY258" fmla="*/ 570665 h 1852160"/>
                <a:gd name="connsiteX259" fmla="*/ 3477390 w 4011346"/>
                <a:gd name="connsiteY259" fmla="*/ 550641 h 1852160"/>
                <a:gd name="connsiteX260" fmla="*/ 3504088 w 4011346"/>
                <a:gd name="connsiteY260" fmla="*/ 530618 h 1852160"/>
                <a:gd name="connsiteX261" fmla="*/ 3467379 w 4011346"/>
                <a:gd name="connsiteY261" fmla="*/ 517269 h 1852160"/>
                <a:gd name="connsiteX262" fmla="*/ 3450692 w 4011346"/>
                <a:gd name="connsiteY262" fmla="*/ 543967 h 1852160"/>
                <a:gd name="connsiteX263" fmla="*/ 3440681 w 4011346"/>
                <a:gd name="connsiteY263" fmla="*/ 557316 h 1852160"/>
                <a:gd name="connsiteX264" fmla="*/ 3357250 w 4011346"/>
                <a:gd name="connsiteY264" fmla="*/ 543967 h 1852160"/>
                <a:gd name="connsiteX265" fmla="*/ 3297180 w 4011346"/>
                <a:gd name="connsiteY265" fmla="*/ 550641 h 1852160"/>
                <a:gd name="connsiteX266" fmla="*/ 3267145 w 4011346"/>
                <a:gd name="connsiteY266" fmla="*/ 527281 h 1852160"/>
                <a:gd name="connsiteX267" fmla="*/ 3267145 w 4011346"/>
                <a:gd name="connsiteY267" fmla="*/ 490571 h 1852160"/>
                <a:gd name="connsiteX268" fmla="*/ 3203738 w 4011346"/>
                <a:gd name="connsiteY268" fmla="*/ 433838 h 1852160"/>
                <a:gd name="connsiteX269" fmla="*/ 3076923 w 4011346"/>
                <a:gd name="connsiteY269" fmla="*/ 440513 h 1852160"/>
                <a:gd name="connsiteX270" fmla="*/ 3043551 w 4011346"/>
                <a:gd name="connsiteY270" fmla="*/ 417152 h 1852160"/>
                <a:gd name="connsiteX271" fmla="*/ 3000167 w 4011346"/>
                <a:gd name="connsiteY271" fmla="*/ 370431 h 1852160"/>
                <a:gd name="connsiteX272" fmla="*/ 3013516 w 4011346"/>
                <a:gd name="connsiteY272" fmla="*/ 363757 h 1852160"/>
                <a:gd name="connsiteX273" fmla="*/ 3000167 w 4011346"/>
                <a:gd name="connsiteY273" fmla="*/ 343733 h 1852160"/>
                <a:gd name="connsiteX274" fmla="*/ 2970132 w 4011346"/>
                <a:gd name="connsiteY274" fmla="*/ 340396 h 1852160"/>
                <a:gd name="connsiteX275" fmla="*/ 2920073 w 4011346"/>
                <a:gd name="connsiteY275" fmla="*/ 387117 h 1852160"/>
                <a:gd name="connsiteX276" fmla="*/ 2920073 w 4011346"/>
                <a:gd name="connsiteY276" fmla="*/ 387117 h 1852160"/>
                <a:gd name="connsiteX277" fmla="*/ 2916736 w 4011346"/>
                <a:gd name="connsiteY277" fmla="*/ 337059 h 1852160"/>
                <a:gd name="connsiteX278" fmla="*/ 2936760 w 4011346"/>
                <a:gd name="connsiteY278" fmla="*/ 333722 h 1852160"/>
                <a:gd name="connsiteX279" fmla="*/ 2866678 w 4011346"/>
                <a:gd name="connsiteY279" fmla="*/ 303687 h 1852160"/>
                <a:gd name="connsiteX280" fmla="*/ 2813282 w 4011346"/>
                <a:gd name="connsiteY280" fmla="*/ 300349 h 1852160"/>
                <a:gd name="connsiteX281" fmla="*/ 2793259 w 4011346"/>
                <a:gd name="connsiteY281" fmla="*/ 323710 h 1852160"/>
                <a:gd name="connsiteX282" fmla="*/ 2743200 w 4011346"/>
                <a:gd name="connsiteY282" fmla="*/ 333722 h 1852160"/>
                <a:gd name="connsiteX283" fmla="*/ 2786584 w 4011346"/>
                <a:gd name="connsiteY283" fmla="*/ 343733 h 1852160"/>
                <a:gd name="connsiteX284" fmla="*/ 2763224 w 4011346"/>
                <a:gd name="connsiteY284" fmla="*/ 363757 h 1852160"/>
                <a:gd name="connsiteX285" fmla="*/ 2769898 w 4011346"/>
                <a:gd name="connsiteY285" fmla="*/ 413815 h 1852160"/>
                <a:gd name="connsiteX286" fmla="*/ 2749875 w 4011346"/>
                <a:gd name="connsiteY286" fmla="*/ 397129 h 1852160"/>
                <a:gd name="connsiteX287" fmla="*/ 2733189 w 4011346"/>
                <a:gd name="connsiteY287" fmla="*/ 410478 h 1852160"/>
                <a:gd name="connsiteX288" fmla="*/ 2666444 w 4011346"/>
                <a:gd name="connsiteY288" fmla="*/ 400466 h 1852160"/>
                <a:gd name="connsiteX289" fmla="*/ 2636409 w 4011346"/>
                <a:gd name="connsiteY289" fmla="*/ 410478 h 1852160"/>
                <a:gd name="connsiteX290" fmla="*/ 2603037 w 4011346"/>
                <a:gd name="connsiteY290" fmla="*/ 370431 h 1852160"/>
                <a:gd name="connsiteX291" fmla="*/ 2569665 w 4011346"/>
                <a:gd name="connsiteY291" fmla="*/ 453862 h 1852160"/>
                <a:gd name="connsiteX292" fmla="*/ 2552979 w 4011346"/>
                <a:gd name="connsiteY292" fmla="*/ 473885 h 1852160"/>
                <a:gd name="connsiteX293" fmla="*/ 2469548 w 4011346"/>
                <a:gd name="connsiteY293" fmla="*/ 337059 h 1852160"/>
                <a:gd name="connsiteX294" fmla="*/ 2446187 w 4011346"/>
                <a:gd name="connsiteY294" fmla="*/ 353745 h 1852160"/>
                <a:gd name="connsiteX295" fmla="*/ 2442850 w 4011346"/>
                <a:gd name="connsiteY295" fmla="*/ 320373 h 1852160"/>
                <a:gd name="connsiteX296" fmla="*/ 2449525 w 4011346"/>
                <a:gd name="connsiteY296" fmla="*/ 250291 h 1852160"/>
                <a:gd name="connsiteX297" fmla="*/ 2386117 w 4011346"/>
                <a:gd name="connsiteY297" fmla="*/ 223593 h 1852160"/>
                <a:gd name="connsiteX298" fmla="*/ 2369431 w 4011346"/>
                <a:gd name="connsiteY298" fmla="*/ 263640 h 1852160"/>
                <a:gd name="connsiteX299" fmla="*/ 2379443 w 4011346"/>
                <a:gd name="connsiteY299" fmla="*/ 287000 h 1852160"/>
                <a:gd name="connsiteX300" fmla="*/ 2376106 w 4011346"/>
                <a:gd name="connsiteY300" fmla="*/ 307024 h 1852160"/>
                <a:gd name="connsiteX301" fmla="*/ 2352745 w 4011346"/>
                <a:gd name="connsiteY301" fmla="*/ 283663 h 1852160"/>
                <a:gd name="connsiteX302" fmla="*/ 2316036 w 4011346"/>
                <a:gd name="connsiteY302" fmla="*/ 290338 h 1852160"/>
                <a:gd name="connsiteX303" fmla="*/ 2272652 w 4011346"/>
                <a:gd name="connsiteY303" fmla="*/ 276989 h 1852160"/>
                <a:gd name="connsiteX304" fmla="*/ 2245954 w 4011346"/>
                <a:gd name="connsiteY304" fmla="*/ 236942 h 1852160"/>
                <a:gd name="connsiteX305" fmla="*/ 2209244 w 4011346"/>
                <a:gd name="connsiteY305" fmla="*/ 233605 h 1852160"/>
                <a:gd name="connsiteX306" fmla="*/ 2159186 w 4011346"/>
                <a:gd name="connsiteY306" fmla="*/ 223593 h 1852160"/>
                <a:gd name="connsiteX307" fmla="*/ 2132488 w 4011346"/>
                <a:gd name="connsiteY307" fmla="*/ 240279 h 1852160"/>
                <a:gd name="connsiteX308" fmla="*/ 2115802 w 4011346"/>
                <a:gd name="connsiteY308" fmla="*/ 253628 h 1852160"/>
                <a:gd name="connsiteX309" fmla="*/ 2115802 w 4011346"/>
                <a:gd name="connsiteY309" fmla="*/ 223593 h 1852160"/>
                <a:gd name="connsiteX310" fmla="*/ 2082430 w 4011346"/>
                <a:gd name="connsiteY310" fmla="*/ 220256 h 1852160"/>
                <a:gd name="connsiteX311" fmla="*/ 2045720 w 4011346"/>
                <a:gd name="connsiteY311" fmla="*/ 193558 h 1852160"/>
                <a:gd name="connsiteX312" fmla="*/ 2025697 w 4011346"/>
                <a:gd name="connsiteY312" fmla="*/ 223593 h 1852160"/>
                <a:gd name="connsiteX313" fmla="*/ 2055732 w 4011346"/>
                <a:gd name="connsiteY313" fmla="*/ 220256 h 1852160"/>
                <a:gd name="connsiteX314" fmla="*/ 2045720 w 4011346"/>
                <a:gd name="connsiteY314" fmla="*/ 246954 h 1852160"/>
                <a:gd name="connsiteX315" fmla="*/ 1988987 w 4011346"/>
                <a:gd name="connsiteY315" fmla="*/ 266977 h 1852160"/>
                <a:gd name="connsiteX316" fmla="*/ 1935592 w 4011346"/>
                <a:gd name="connsiteY316" fmla="*/ 276989 h 1852160"/>
                <a:gd name="connsiteX317" fmla="*/ 1995662 w 4011346"/>
                <a:gd name="connsiteY317" fmla="*/ 220256 h 1852160"/>
                <a:gd name="connsiteX318" fmla="*/ 2055732 w 4011346"/>
                <a:gd name="connsiteY318" fmla="*/ 150174 h 1852160"/>
                <a:gd name="connsiteX319" fmla="*/ 2055732 w 4011346"/>
                <a:gd name="connsiteY319" fmla="*/ 150174 h 1852160"/>
                <a:gd name="connsiteX320" fmla="*/ 1688637 w 4011346"/>
                <a:gd name="connsiteY320" fmla="*/ 33372 h 1852160"/>
                <a:gd name="connsiteX321" fmla="*/ 1615218 w 4011346"/>
                <a:gd name="connsiteY321" fmla="*/ 0 h 1852160"/>
                <a:gd name="connsiteX322" fmla="*/ 1638579 w 4011346"/>
                <a:gd name="connsiteY322" fmla="*/ 30035 h 1852160"/>
                <a:gd name="connsiteX323" fmla="*/ 1528449 w 4011346"/>
                <a:gd name="connsiteY323" fmla="*/ 56731 h 1852160"/>
                <a:gd name="connsiteX324" fmla="*/ 1465043 w 4011346"/>
                <a:gd name="connsiteY324" fmla="*/ 140162 h 1852160"/>
                <a:gd name="connsiteX325" fmla="*/ 1448357 w 4011346"/>
                <a:gd name="connsiteY325" fmla="*/ 166860 h 1852160"/>
                <a:gd name="connsiteX326" fmla="*/ 1481729 w 4011346"/>
                <a:gd name="connsiteY326" fmla="*/ 200233 h 1852160"/>
                <a:gd name="connsiteX327" fmla="*/ 1481729 w 4011346"/>
                <a:gd name="connsiteY327" fmla="*/ 230268 h 1852160"/>
                <a:gd name="connsiteX328" fmla="*/ 1458368 w 4011346"/>
                <a:gd name="connsiteY328" fmla="*/ 233605 h 1852160"/>
                <a:gd name="connsiteX329" fmla="*/ 1458368 w 4011346"/>
                <a:gd name="connsiteY329" fmla="*/ 213581 h 1852160"/>
                <a:gd name="connsiteX330" fmla="*/ 1418322 w 4011346"/>
                <a:gd name="connsiteY330" fmla="*/ 223593 h 1852160"/>
                <a:gd name="connsiteX331" fmla="*/ 1368263 w 4011346"/>
                <a:gd name="connsiteY331" fmla="*/ 230268 h 1852160"/>
                <a:gd name="connsiteX332" fmla="*/ 1321542 w 4011346"/>
                <a:gd name="connsiteY332" fmla="*/ 236942 h 1852160"/>
                <a:gd name="connsiteX333" fmla="*/ 1318205 w 4011346"/>
                <a:gd name="connsiteY333" fmla="*/ 323710 h 1852160"/>
                <a:gd name="connsiteX334" fmla="*/ 1358252 w 4011346"/>
                <a:gd name="connsiteY334" fmla="*/ 347071 h 1852160"/>
                <a:gd name="connsiteX335" fmla="*/ 1374938 w 4011346"/>
                <a:gd name="connsiteY335" fmla="*/ 377106 h 1852160"/>
                <a:gd name="connsiteX336" fmla="*/ 1384949 w 4011346"/>
                <a:gd name="connsiteY336" fmla="*/ 400466 h 1852160"/>
                <a:gd name="connsiteX337" fmla="*/ 1394961 w 4011346"/>
                <a:gd name="connsiteY337" fmla="*/ 450525 h 1852160"/>
                <a:gd name="connsiteX338" fmla="*/ 1384949 w 4011346"/>
                <a:gd name="connsiteY338" fmla="*/ 480560 h 1852160"/>
                <a:gd name="connsiteX339" fmla="*/ 1358252 w 4011346"/>
                <a:gd name="connsiteY339" fmla="*/ 447187 h 1852160"/>
                <a:gd name="connsiteX340" fmla="*/ 1361589 w 4011346"/>
                <a:gd name="connsiteY340" fmla="*/ 417152 h 1852160"/>
                <a:gd name="connsiteX341" fmla="*/ 1351577 w 4011346"/>
                <a:gd name="connsiteY341" fmla="*/ 377106 h 1852160"/>
                <a:gd name="connsiteX342" fmla="*/ 1328217 w 4011346"/>
                <a:gd name="connsiteY342" fmla="*/ 383780 h 1852160"/>
                <a:gd name="connsiteX343" fmla="*/ 1281495 w 4011346"/>
                <a:gd name="connsiteY343" fmla="*/ 347071 h 1852160"/>
                <a:gd name="connsiteX344" fmla="*/ 1241449 w 4011346"/>
                <a:gd name="connsiteY344" fmla="*/ 343733 h 1852160"/>
                <a:gd name="connsiteX345" fmla="*/ 1241449 w 4011346"/>
                <a:gd name="connsiteY345" fmla="*/ 390454 h 1852160"/>
                <a:gd name="connsiteX346" fmla="*/ 1201402 w 4011346"/>
                <a:gd name="connsiteY346" fmla="*/ 370431 h 1852160"/>
                <a:gd name="connsiteX347" fmla="*/ 1228100 w 4011346"/>
                <a:gd name="connsiteY347" fmla="*/ 420489 h 1852160"/>
                <a:gd name="connsiteX348" fmla="*/ 1258135 w 4011346"/>
                <a:gd name="connsiteY348" fmla="*/ 430501 h 1852160"/>
                <a:gd name="connsiteX349" fmla="*/ 1258135 w 4011346"/>
                <a:gd name="connsiteY349" fmla="*/ 450525 h 1852160"/>
                <a:gd name="connsiteX350" fmla="*/ 1198065 w 4011346"/>
                <a:gd name="connsiteY350" fmla="*/ 427164 h 1852160"/>
                <a:gd name="connsiteX351" fmla="*/ 1181379 w 4011346"/>
                <a:gd name="connsiteY351" fmla="*/ 427164 h 1852160"/>
                <a:gd name="connsiteX352" fmla="*/ 1178041 w 4011346"/>
                <a:gd name="connsiteY352" fmla="*/ 383780 h 1852160"/>
                <a:gd name="connsiteX353" fmla="*/ 1171367 w 4011346"/>
                <a:gd name="connsiteY353" fmla="*/ 297012 h 1852160"/>
                <a:gd name="connsiteX354" fmla="*/ 1161355 w 4011346"/>
                <a:gd name="connsiteY354" fmla="*/ 367094 h 1852160"/>
                <a:gd name="connsiteX355" fmla="*/ 1137995 w 4011346"/>
                <a:gd name="connsiteY355" fmla="*/ 397129 h 1852160"/>
                <a:gd name="connsiteX356" fmla="*/ 1158018 w 4011346"/>
                <a:gd name="connsiteY356" fmla="*/ 443850 h 1852160"/>
                <a:gd name="connsiteX357" fmla="*/ 1158018 w 4011346"/>
                <a:gd name="connsiteY357" fmla="*/ 477222 h 1852160"/>
                <a:gd name="connsiteX358" fmla="*/ 1141332 w 4011346"/>
                <a:gd name="connsiteY358" fmla="*/ 527281 h 1852160"/>
                <a:gd name="connsiteX359" fmla="*/ 1154681 w 4011346"/>
                <a:gd name="connsiteY359" fmla="*/ 560653 h 1852160"/>
                <a:gd name="connsiteX360" fmla="*/ 1184716 w 4011346"/>
                <a:gd name="connsiteY360" fmla="*/ 567327 h 1852160"/>
                <a:gd name="connsiteX361" fmla="*/ 1221425 w 4011346"/>
                <a:gd name="connsiteY361" fmla="*/ 574002 h 1852160"/>
                <a:gd name="connsiteX362" fmla="*/ 1241449 w 4011346"/>
                <a:gd name="connsiteY362" fmla="*/ 597362 h 1852160"/>
                <a:gd name="connsiteX363" fmla="*/ 1258135 w 4011346"/>
                <a:gd name="connsiteY363" fmla="*/ 640746 h 1852160"/>
                <a:gd name="connsiteX364" fmla="*/ 1258135 w 4011346"/>
                <a:gd name="connsiteY364" fmla="*/ 640746 h 1852160"/>
                <a:gd name="connsiteX365" fmla="*/ 1254798 w 4011346"/>
                <a:gd name="connsiteY365" fmla="*/ 674119 h 1852160"/>
                <a:gd name="connsiteX366" fmla="*/ 1274821 w 4011346"/>
                <a:gd name="connsiteY366" fmla="*/ 694142 h 1852160"/>
                <a:gd name="connsiteX367" fmla="*/ 1244786 w 4011346"/>
                <a:gd name="connsiteY367" fmla="*/ 700817 h 1852160"/>
                <a:gd name="connsiteX368" fmla="*/ 1224763 w 4011346"/>
                <a:gd name="connsiteY368" fmla="*/ 660770 h 1852160"/>
                <a:gd name="connsiteX369" fmla="*/ 1224763 w 4011346"/>
                <a:gd name="connsiteY369" fmla="*/ 620723 h 1852160"/>
                <a:gd name="connsiteX370" fmla="*/ 1194727 w 4011346"/>
                <a:gd name="connsiteY370" fmla="*/ 584014 h 1852160"/>
                <a:gd name="connsiteX371" fmla="*/ 1164692 w 4011346"/>
                <a:gd name="connsiteY371" fmla="*/ 627398 h 1852160"/>
                <a:gd name="connsiteX372" fmla="*/ 1178041 w 4011346"/>
                <a:gd name="connsiteY372" fmla="*/ 670781 h 1852160"/>
                <a:gd name="connsiteX373" fmla="*/ 1137995 w 4011346"/>
                <a:gd name="connsiteY373" fmla="*/ 727514 h 1852160"/>
                <a:gd name="connsiteX374" fmla="*/ 1097948 w 4011346"/>
                <a:gd name="connsiteY374" fmla="*/ 784247 h 1852160"/>
                <a:gd name="connsiteX375" fmla="*/ 1007843 w 4011346"/>
                <a:gd name="connsiteY375" fmla="*/ 747538 h 1852160"/>
                <a:gd name="connsiteX376" fmla="*/ 1074587 w 4011346"/>
                <a:gd name="connsiteY376" fmla="*/ 744200 h 1852160"/>
                <a:gd name="connsiteX377" fmla="*/ 1107960 w 4011346"/>
                <a:gd name="connsiteY377" fmla="*/ 680793 h 1852160"/>
                <a:gd name="connsiteX378" fmla="*/ 1121309 w 4011346"/>
                <a:gd name="connsiteY378" fmla="*/ 637409 h 1852160"/>
                <a:gd name="connsiteX379" fmla="*/ 1127983 w 4011346"/>
                <a:gd name="connsiteY379" fmla="*/ 604037 h 1852160"/>
                <a:gd name="connsiteX380" fmla="*/ 1117971 w 4011346"/>
                <a:gd name="connsiteY380" fmla="*/ 587351 h 1852160"/>
                <a:gd name="connsiteX381" fmla="*/ 1114634 w 4011346"/>
                <a:gd name="connsiteY381" fmla="*/ 537292 h 1852160"/>
                <a:gd name="connsiteX382" fmla="*/ 1104622 w 4011346"/>
                <a:gd name="connsiteY382" fmla="*/ 457199 h 1852160"/>
                <a:gd name="connsiteX383" fmla="*/ 1101285 w 4011346"/>
                <a:gd name="connsiteY383" fmla="*/ 397129 h 1852160"/>
                <a:gd name="connsiteX384" fmla="*/ 1124646 w 4011346"/>
                <a:gd name="connsiteY384" fmla="*/ 303687 h 1852160"/>
                <a:gd name="connsiteX385" fmla="*/ 1031203 w 4011346"/>
                <a:gd name="connsiteY385" fmla="*/ 293675 h 1852160"/>
                <a:gd name="connsiteX386" fmla="*/ 1014517 w 4011346"/>
                <a:gd name="connsiteY386" fmla="*/ 350408 h 1852160"/>
                <a:gd name="connsiteX387" fmla="*/ 1024529 w 4011346"/>
                <a:gd name="connsiteY387" fmla="*/ 397129 h 1852160"/>
                <a:gd name="connsiteX388" fmla="*/ 981145 w 4011346"/>
                <a:gd name="connsiteY388" fmla="*/ 450525 h 1852160"/>
                <a:gd name="connsiteX389" fmla="*/ 991157 w 4011346"/>
                <a:gd name="connsiteY389" fmla="*/ 487234 h 1852160"/>
                <a:gd name="connsiteX390" fmla="*/ 981145 w 4011346"/>
                <a:gd name="connsiteY390" fmla="*/ 533955 h 1852160"/>
                <a:gd name="connsiteX391" fmla="*/ 1001168 w 4011346"/>
                <a:gd name="connsiteY391" fmla="*/ 557316 h 1852160"/>
                <a:gd name="connsiteX392" fmla="*/ 1017854 w 4011346"/>
                <a:gd name="connsiteY392" fmla="*/ 604037 h 1852160"/>
                <a:gd name="connsiteX393" fmla="*/ 1047890 w 4011346"/>
                <a:gd name="connsiteY393" fmla="*/ 590688 h 1852160"/>
                <a:gd name="connsiteX394" fmla="*/ 1014517 w 4011346"/>
                <a:gd name="connsiteY394" fmla="*/ 644084 h 1852160"/>
                <a:gd name="connsiteX395" fmla="*/ 957784 w 4011346"/>
                <a:gd name="connsiteY395" fmla="*/ 590688 h 1852160"/>
                <a:gd name="connsiteX396" fmla="*/ 884365 w 4011346"/>
                <a:gd name="connsiteY396" fmla="*/ 553979 h 1852160"/>
                <a:gd name="connsiteX397" fmla="*/ 824295 w 4011346"/>
                <a:gd name="connsiteY397" fmla="*/ 530618 h 1852160"/>
                <a:gd name="connsiteX398" fmla="*/ 810946 w 4011346"/>
                <a:gd name="connsiteY398" fmla="*/ 567327 h 1852160"/>
                <a:gd name="connsiteX399" fmla="*/ 827633 w 4011346"/>
                <a:gd name="connsiteY399" fmla="*/ 604037 h 1852160"/>
                <a:gd name="connsiteX400" fmla="*/ 814284 w 4011346"/>
                <a:gd name="connsiteY400" fmla="*/ 627398 h 1852160"/>
                <a:gd name="connsiteX401" fmla="*/ 800935 w 4011346"/>
                <a:gd name="connsiteY401" fmla="*/ 644084 h 1852160"/>
                <a:gd name="connsiteX402" fmla="*/ 770900 w 4011346"/>
                <a:gd name="connsiteY402" fmla="*/ 587351 h 1852160"/>
                <a:gd name="connsiteX403" fmla="*/ 744202 w 4011346"/>
                <a:gd name="connsiteY403" fmla="*/ 624060 h 1852160"/>
                <a:gd name="connsiteX404" fmla="*/ 707492 w 4011346"/>
                <a:gd name="connsiteY404" fmla="*/ 617386 h 1852160"/>
                <a:gd name="connsiteX405" fmla="*/ 654097 w 4011346"/>
                <a:gd name="connsiteY405" fmla="*/ 654095 h 1852160"/>
                <a:gd name="connsiteX406" fmla="*/ 644085 w 4011346"/>
                <a:gd name="connsiteY406" fmla="*/ 630735 h 1852160"/>
                <a:gd name="connsiteX407" fmla="*/ 654097 w 4011346"/>
                <a:gd name="connsiteY407" fmla="*/ 594025 h 1852160"/>
                <a:gd name="connsiteX408" fmla="*/ 614050 w 4011346"/>
                <a:gd name="connsiteY408" fmla="*/ 630735 h 1852160"/>
                <a:gd name="connsiteX409" fmla="*/ 594027 w 4011346"/>
                <a:gd name="connsiteY409" fmla="*/ 630735 h 1852160"/>
                <a:gd name="connsiteX410" fmla="*/ 533957 w 4011346"/>
                <a:gd name="connsiteY410" fmla="*/ 664107 h 1852160"/>
                <a:gd name="connsiteX411" fmla="*/ 510596 w 4011346"/>
                <a:gd name="connsiteY411" fmla="*/ 687468 h 1852160"/>
                <a:gd name="connsiteX412" fmla="*/ 500584 w 4011346"/>
                <a:gd name="connsiteY412" fmla="*/ 734189 h 1852160"/>
                <a:gd name="connsiteX413" fmla="*/ 450526 w 4011346"/>
                <a:gd name="connsiteY413" fmla="*/ 720840 h 1852160"/>
                <a:gd name="connsiteX414" fmla="*/ 433840 w 4011346"/>
                <a:gd name="connsiteY414" fmla="*/ 684130 h 1852160"/>
                <a:gd name="connsiteX415" fmla="*/ 467212 w 4011346"/>
                <a:gd name="connsiteY415" fmla="*/ 654095 h 1852160"/>
                <a:gd name="connsiteX416" fmla="*/ 453863 w 4011346"/>
                <a:gd name="connsiteY416" fmla="*/ 630735 h 1852160"/>
                <a:gd name="connsiteX417" fmla="*/ 390456 w 4011346"/>
                <a:gd name="connsiteY417" fmla="*/ 600700 h 1852160"/>
                <a:gd name="connsiteX418" fmla="*/ 417154 w 4011346"/>
                <a:gd name="connsiteY418" fmla="*/ 650758 h 1852160"/>
                <a:gd name="connsiteX419" fmla="*/ 407142 w 4011346"/>
                <a:gd name="connsiteY419" fmla="*/ 694142 h 1852160"/>
                <a:gd name="connsiteX420" fmla="*/ 413817 w 4011346"/>
                <a:gd name="connsiteY420" fmla="*/ 730852 h 1852160"/>
                <a:gd name="connsiteX421" fmla="*/ 427165 w 4011346"/>
                <a:gd name="connsiteY421" fmla="*/ 754212 h 1852160"/>
                <a:gd name="connsiteX422" fmla="*/ 413817 w 4011346"/>
                <a:gd name="connsiteY422" fmla="*/ 784247 h 1852160"/>
                <a:gd name="connsiteX423" fmla="*/ 390456 w 4011346"/>
                <a:gd name="connsiteY423" fmla="*/ 760887 h 1852160"/>
                <a:gd name="connsiteX424" fmla="*/ 360421 w 4011346"/>
                <a:gd name="connsiteY424" fmla="*/ 757549 h 1852160"/>
                <a:gd name="connsiteX425" fmla="*/ 333723 w 4011346"/>
                <a:gd name="connsiteY425" fmla="*/ 797596 h 1852160"/>
                <a:gd name="connsiteX426" fmla="*/ 307025 w 4011346"/>
                <a:gd name="connsiteY426" fmla="*/ 817619 h 1852160"/>
                <a:gd name="connsiteX427" fmla="*/ 320374 w 4011346"/>
                <a:gd name="connsiteY427" fmla="*/ 844317 h 1852160"/>
                <a:gd name="connsiteX428" fmla="*/ 303688 w 4011346"/>
                <a:gd name="connsiteY428" fmla="*/ 867678 h 1852160"/>
                <a:gd name="connsiteX429" fmla="*/ 233606 w 4011346"/>
                <a:gd name="connsiteY429" fmla="*/ 830968 h 1852160"/>
                <a:gd name="connsiteX430" fmla="*/ 243618 w 4011346"/>
                <a:gd name="connsiteY430" fmla="*/ 881027 h 1852160"/>
                <a:gd name="connsiteX431" fmla="*/ 263641 w 4011346"/>
                <a:gd name="connsiteY431" fmla="*/ 901050 h 1852160"/>
                <a:gd name="connsiteX432" fmla="*/ 250292 w 4011346"/>
                <a:gd name="connsiteY432" fmla="*/ 914399 h 1852160"/>
                <a:gd name="connsiteX433" fmla="*/ 193560 w 4011346"/>
                <a:gd name="connsiteY433" fmla="*/ 877689 h 1852160"/>
                <a:gd name="connsiteX434" fmla="*/ 170199 w 4011346"/>
                <a:gd name="connsiteY434" fmla="*/ 837643 h 1852160"/>
                <a:gd name="connsiteX435" fmla="*/ 170199 w 4011346"/>
                <a:gd name="connsiteY435" fmla="*/ 790922 h 1852160"/>
                <a:gd name="connsiteX436" fmla="*/ 133490 w 4011346"/>
                <a:gd name="connsiteY436" fmla="*/ 714165 h 1852160"/>
                <a:gd name="connsiteX437" fmla="*/ 196897 w 4011346"/>
                <a:gd name="connsiteY437" fmla="*/ 744200 h 1852160"/>
                <a:gd name="connsiteX438" fmla="*/ 256967 w 4011346"/>
                <a:gd name="connsiteY438" fmla="*/ 774235 h 1852160"/>
                <a:gd name="connsiteX439" fmla="*/ 293676 w 4011346"/>
                <a:gd name="connsiteY439" fmla="*/ 777573 h 1852160"/>
                <a:gd name="connsiteX440" fmla="*/ 327049 w 4011346"/>
                <a:gd name="connsiteY440" fmla="*/ 747538 h 1852160"/>
                <a:gd name="connsiteX441" fmla="*/ 343735 w 4011346"/>
                <a:gd name="connsiteY441" fmla="*/ 710828 h 1852160"/>
                <a:gd name="connsiteX442" fmla="*/ 333723 w 4011346"/>
                <a:gd name="connsiteY442" fmla="*/ 660770 h 1852160"/>
                <a:gd name="connsiteX443" fmla="*/ 290339 w 4011346"/>
                <a:gd name="connsiteY443" fmla="*/ 640746 h 1852160"/>
                <a:gd name="connsiteX444" fmla="*/ 236944 w 4011346"/>
                <a:gd name="connsiteY444" fmla="*/ 594025 h 1852160"/>
                <a:gd name="connsiteX445" fmla="*/ 133490 w 4011346"/>
                <a:gd name="connsiteY445" fmla="*/ 537292 h 1852160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685300 w 4011346"/>
                <a:gd name="connsiteY320" fmla="*/ 0 h 1855498"/>
                <a:gd name="connsiteX321" fmla="*/ 1615218 w 4011346"/>
                <a:gd name="connsiteY321" fmla="*/ 3338 h 1855498"/>
                <a:gd name="connsiteX322" fmla="*/ 1638579 w 4011346"/>
                <a:gd name="connsiteY322" fmla="*/ 33373 h 1855498"/>
                <a:gd name="connsiteX323" fmla="*/ 1528449 w 4011346"/>
                <a:gd name="connsiteY323" fmla="*/ 60069 h 1855498"/>
                <a:gd name="connsiteX324" fmla="*/ 1465043 w 4011346"/>
                <a:gd name="connsiteY324" fmla="*/ 143500 h 1855498"/>
                <a:gd name="connsiteX325" fmla="*/ 1448357 w 4011346"/>
                <a:gd name="connsiteY325" fmla="*/ 170198 h 1855498"/>
                <a:gd name="connsiteX326" fmla="*/ 1481729 w 4011346"/>
                <a:gd name="connsiteY326" fmla="*/ 203571 h 1855498"/>
                <a:gd name="connsiteX327" fmla="*/ 1481729 w 4011346"/>
                <a:gd name="connsiteY327" fmla="*/ 233606 h 1855498"/>
                <a:gd name="connsiteX328" fmla="*/ 1458368 w 4011346"/>
                <a:gd name="connsiteY328" fmla="*/ 236943 h 1855498"/>
                <a:gd name="connsiteX329" fmla="*/ 1458368 w 4011346"/>
                <a:gd name="connsiteY329" fmla="*/ 216919 h 1855498"/>
                <a:gd name="connsiteX330" fmla="*/ 1418322 w 4011346"/>
                <a:gd name="connsiteY330" fmla="*/ 226931 h 1855498"/>
                <a:gd name="connsiteX331" fmla="*/ 1368263 w 4011346"/>
                <a:gd name="connsiteY331" fmla="*/ 233606 h 1855498"/>
                <a:gd name="connsiteX332" fmla="*/ 1321542 w 4011346"/>
                <a:gd name="connsiteY332" fmla="*/ 240280 h 1855498"/>
                <a:gd name="connsiteX333" fmla="*/ 1318205 w 4011346"/>
                <a:gd name="connsiteY333" fmla="*/ 327048 h 1855498"/>
                <a:gd name="connsiteX334" fmla="*/ 1358252 w 4011346"/>
                <a:gd name="connsiteY334" fmla="*/ 350409 h 1855498"/>
                <a:gd name="connsiteX335" fmla="*/ 1374938 w 4011346"/>
                <a:gd name="connsiteY335" fmla="*/ 380444 h 1855498"/>
                <a:gd name="connsiteX336" fmla="*/ 1384949 w 4011346"/>
                <a:gd name="connsiteY336" fmla="*/ 403804 h 1855498"/>
                <a:gd name="connsiteX337" fmla="*/ 1394961 w 4011346"/>
                <a:gd name="connsiteY337" fmla="*/ 453863 h 1855498"/>
                <a:gd name="connsiteX338" fmla="*/ 1384949 w 4011346"/>
                <a:gd name="connsiteY338" fmla="*/ 483898 h 1855498"/>
                <a:gd name="connsiteX339" fmla="*/ 1358252 w 4011346"/>
                <a:gd name="connsiteY339" fmla="*/ 450525 h 1855498"/>
                <a:gd name="connsiteX340" fmla="*/ 1361589 w 4011346"/>
                <a:gd name="connsiteY340" fmla="*/ 420490 h 1855498"/>
                <a:gd name="connsiteX341" fmla="*/ 1351577 w 4011346"/>
                <a:gd name="connsiteY341" fmla="*/ 380444 h 1855498"/>
                <a:gd name="connsiteX342" fmla="*/ 1328217 w 4011346"/>
                <a:gd name="connsiteY342" fmla="*/ 387118 h 1855498"/>
                <a:gd name="connsiteX343" fmla="*/ 1281495 w 4011346"/>
                <a:gd name="connsiteY343" fmla="*/ 350409 h 1855498"/>
                <a:gd name="connsiteX344" fmla="*/ 1241449 w 4011346"/>
                <a:gd name="connsiteY344" fmla="*/ 347071 h 1855498"/>
                <a:gd name="connsiteX345" fmla="*/ 1241449 w 4011346"/>
                <a:gd name="connsiteY345" fmla="*/ 393792 h 1855498"/>
                <a:gd name="connsiteX346" fmla="*/ 1201402 w 4011346"/>
                <a:gd name="connsiteY346" fmla="*/ 373769 h 1855498"/>
                <a:gd name="connsiteX347" fmla="*/ 1228100 w 4011346"/>
                <a:gd name="connsiteY347" fmla="*/ 423827 h 1855498"/>
                <a:gd name="connsiteX348" fmla="*/ 1258135 w 4011346"/>
                <a:gd name="connsiteY348" fmla="*/ 433839 h 1855498"/>
                <a:gd name="connsiteX349" fmla="*/ 1258135 w 4011346"/>
                <a:gd name="connsiteY349" fmla="*/ 453863 h 1855498"/>
                <a:gd name="connsiteX350" fmla="*/ 1198065 w 4011346"/>
                <a:gd name="connsiteY350" fmla="*/ 430502 h 1855498"/>
                <a:gd name="connsiteX351" fmla="*/ 1181379 w 4011346"/>
                <a:gd name="connsiteY351" fmla="*/ 430502 h 1855498"/>
                <a:gd name="connsiteX352" fmla="*/ 1178041 w 4011346"/>
                <a:gd name="connsiteY352" fmla="*/ 387118 h 1855498"/>
                <a:gd name="connsiteX353" fmla="*/ 1171367 w 4011346"/>
                <a:gd name="connsiteY353" fmla="*/ 300350 h 1855498"/>
                <a:gd name="connsiteX354" fmla="*/ 1161355 w 4011346"/>
                <a:gd name="connsiteY354" fmla="*/ 370432 h 1855498"/>
                <a:gd name="connsiteX355" fmla="*/ 1137995 w 4011346"/>
                <a:gd name="connsiteY355" fmla="*/ 400467 h 1855498"/>
                <a:gd name="connsiteX356" fmla="*/ 1158018 w 4011346"/>
                <a:gd name="connsiteY356" fmla="*/ 447188 h 1855498"/>
                <a:gd name="connsiteX357" fmla="*/ 1158018 w 4011346"/>
                <a:gd name="connsiteY357" fmla="*/ 480560 h 1855498"/>
                <a:gd name="connsiteX358" fmla="*/ 1141332 w 4011346"/>
                <a:gd name="connsiteY358" fmla="*/ 530619 h 1855498"/>
                <a:gd name="connsiteX359" fmla="*/ 1154681 w 4011346"/>
                <a:gd name="connsiteY359" fmla="*/ 563991 h 1855498"/>
                <a:gd name="connsiteX360" fmla="*/ 1184716 w 4011346"/>
                <a:gd name="connsiteY360" fmla="*/ 570665 h 1855498"/>
                <a:gd name="connsiteX361" fmla="*/ 1221425 w 4011346"/>
                <a:gd name="connsiteY361" fmla="*/ 577340 h 1855498"/>
                <a:gd name="connsiteX362" fmla="*/ 1241449 w 4011346"/>
                <a:gd name="connsiteY362" fmla="*/ 600700 h 1855498"/>
                <a:gd name="connsiteX363" fmla="*/ 1258135 w 4011346"/>
                <a:gd name="connsiteY363" fmla="*/ 644084 h 1855498"/>
                <a:gd name="connsiteX364" fmla="*/ 1258135 w 4011346"/>
                <a:gd name="connsiteY364" fmla="*/ 644084 h 1855498"/>
                <a:gd name="connsiteX365" fmla="*/ 1254798 w 4011346"/>
                <a:gd name="connsiteY365" fmla="*/ 677457 h 1855498"/>
                <a:gd name="connsiteX366" fmla="*/ 1274821 w 4011346"/>
                <a:gd name="connsiteY366" fmla="*/ 697480 h 1855498"/>
                <a:gd name="connsiteX367" fmla="*/ 1244786 w 4011346"/>
                <a:gd name="connsiteY367" fmla="*/ 704155 h 1855498"/>
                <a:gd name="connsiteX368" fmla="*/ 1224763 w 4011346"/>
                <a:gd name="connsiteY368" fmla="*/ 664108 h 1855498"/>
                <a:gd name="connsiteX369" fmla="*/ 1224763 w 4011346"/>
                <a:gd name="connsiteY369" fmla="*/ 624061 h 1855498"/>
                <a:gd name="connsiteX370" fmla="*/ 1194727 w 4011346"/>
                <a:gd name="connsiteY370" fmla="*/ 587352 h 1855498"/>
                <a:gd name="connsiteX371" fmla="*/ 1164692 w 4011346"/>
                <a:gd name="connsiteY371" fmla="*/ 630736 h 1855498"/>
                <a:gd name="connsiteX372" fmla="*/ 1178041 w 4011346"/>
                <a:gd name="connsiteY372" fmla="*/ 674119 h 1855498"/>
                <a:gd name="connsiteX373" fmla="*/ 1137995 w 4011346"/>
                <a:gd name="connsiteY373" fmla="*/ 730852 h 1855498"/>
                <a:gd name="connsiteX374" fmla="*/ 1097948 w 4011346"/>
                <a:gd name="connsiteY374" fmla="*/ 787585 h 1855498"/>
                <a:gd name="connsiteX375" fmla="*/ 1007843 w 4011346"/>
                <a:gd name="connsiteY375" fmla="*/ 750876 h 1855498"/>
                <a:gd name="connsiteX376" fmla="*/ 1074587 w 4011346"/>
                <a:gd name="connsiteY376" fmla="*/ 747538 h 1855498"/>
                <a:gd name="connsiteX377" fmla="*/ 1107960 w 4011346"/>
                <a:gd name="connsiteY377" fmla="*/ 684131 h 1855498"/>
                <a:gd name="connsiteX378" fmla="*/ 1121309 w 4011346"/>
                <a:gd name="connsiteY378" fmla="*/ 640747 h 1855498"/>
                <a:gd name="connsiteX379" fmla="*/ 1127983 w 4011346"/>
                <a:gd name="connsiteY379" fmla="*/ 607375 h 1855498"/>
                <a:gd name="connsiteX380" fmla="*/ 1117971 w 4011346"/>
                <a:gd name="connsiteY380" fmla="*/ 590689 h 1855498"/>
                <a:gd name="connsiteX381" fmla="*/ 1114634 w 4011346"/>
                <a:gd name="connsiteY381" fmla="*/ 540630 h 1855498"/>
                <a:gd name="connsiteX382" fmla="*/ 1104622 w 4011346"/>
                <a:gd name="connsiteY382" fmla="*/ 460537 h 1855498"/>
                <a:gd name="connsiteX383" fmla="*/ 1101285 w 4011346"/>
                <a:gd name="connsiteY383" fmla="*/ 400467 h 1855498"/>
                <a:gd name="connsiteX384" fmla="*/ 1124646 w 4011346"/>
                <a:gd name="connsiteY384" fmla="*/ 307025 h 1855498"/>
                <a:gd name="connsiteX385" fmla="*/ 1031203 w 4011346"/>
                <a:gd name="connsiteY385" fmla="*/ 297013 h 1855498"/>
                <a:gd name="connsiteX386" fmla="*/ 1014517 w 4011346"/>
                <a:gd name="connsiteY386" fmla="*/ 353746 h 1855498"/>
                <a:gd name="connsiteX387" fmla="*/ 1024529 w 4011346"/>
                <a:gd name="connsiteY387" fmla="*/ 400467 h 1855498"/>
                <a:gd name="connsiteX388" fmla="*/ 981145 w 4011346"/>
                <a:gd name="connsiteY388" fmla="*/ 453863 h 1855498"/>
                <a:gd name="connsiteX389" fmla="*/ 991157 w 4011346"/>
                <a:gd name="connsiteY389" fmla="*/ 490572 h 1855498"/>
                <a:gd name="connsiteX390" fmla="*/ 981145 w 4011346"/>
                <a:gd name="connsiteY390" fmla="*/ 537293 h 1855498"/>
                <a:gd name="connsiteX391" fmla="*/ 1001168 w 4011346"/>
                <a:gd name="connsiteY391" fmla="*/ 560654 h 1855498"/>
                <a:gd name="connsiteX392" fmla="*/ 1017854 w 4011346"/>
                <a:gd name="connsiteY392" fmla="*/ 607375 h 1855498"/>
                <a:gd name="connsiteX393" fmla="*/ 1047890 w 4011346"/>
                <a:gd name="connsiteY393" fmla="*/ 594026 h 1855498"/>
                <a:gd name="connsiteX394" fmla="*/ 1014517 w 4011346"/>
                <a:gd name="connsiteY394" fmla="*/ 647422 h 1855498"/>
                <a:gd name="connsiteX395" fmla="*/ 957784 w 4011346"/>
                <a:gd name="connsiteY395" fmla="*/ 594026 h 1855498"/>
                <a:gd name="connsiteX396" fmla="*/ 884365 w 4011346"/>
                <a:gd name="connsiteY396" fmla="*/ 557317 h 1855498"/>
                <a:gd name="connsiteX397" fmla="*/ 824295 w 4011346"/>
                <a:gd name="connsiteY397" fmla="*/ 533956 h 1855498"/>
                <a:gd name="connsiteX398" fmla="*/ 810946 w 4011346"/>
                <a:gd name="connsiteY398" fmla="*/ 570665 h 1855498"/>
                <a:gd name="connsiteX399" fmla="*/ 827633 w 4011346"/>
                <a:gd name="connsiteY399" fmla="*/ 607375 h 1855498"/>
                <a:gd name="connsiteX400" fmla="*/ 814284 w 4011346"/>
                <a:gd name="connsiteY400" fmla="*/ 630736 h 1855498"/>
                <a:gd name="connsiteX401" fmla="*/ 800935 w 4011346"/>
                <a:gd name="connsiteY401" fmla="*/ 647422 h 1855498"/>
                <a:gd name="connsiteX402" fmla="*/ 770900 w 4011346"/>
                <a:gd name="connsiteY402" fmla="*/ 590689 h 1855498"/>
                <a:gd name="connsiteX403" fmla="*/ 744202 w 4011346"/>
                <a:gd name="connsiteY403" fmla="*/ 627398 h 1855498"/>
                <a:gd name="connsiteX404" fmla="*/ 707492 w 4011346"/>
                <a:gd name="connsiteY404" fmla="*/ 620724 h 1855498"/>
                <a:gd name="connsiteX405" fmla="*/ 654097 w 4011346"/>
                <a:gd name="connsiteY405" fmla="*/ 657433 h 1855498"/>
                <a:gd name="connsiteX406" fmla="*/ 644085 w 4011346"/>
                <a:gd name="connsiteY406" fmla="*/ 634073 h 1855498"/>
                <a:gd name="connsiteX407" fmla="*/ 654097 w 4011346"/>
                <a:gd name="connsiteY407" fmla="*/ 597363 h 1855498"/>
                <a:gd name="connsiteX408" fmla="*/ 614050 w 4011346"/>
                <a:gd name="connsiteY408" fmla="*/ 634073 h 1855498"/>
                <a:gd name="connsiteX409" fmla="*/ 594027 w 4011346"/>
                <a:gd name="connsiteY409" fmla="*/ 634073 h 1855498"/>
                <a:gd name="connsiteX410" fmla="*/ 533957 w 4011346"/>
                <a:gd name="connsiteY410" fmla="*/ 667445 h 1855498"/>
                <a:gd name="connsiteX411" fmla="*/ 510596 w 4011346"/>
                <a:gd name="connsiteY411" fmla="*/ 690806 h 1855498"/>
                <a:gd name="connsiteX412" fmla="*/ 500584 w 4011346"/>
                <a:gd name="connsiteY412" fmla="*/ 737527 h 1855498"/>
                <a:gd name="connsiteX413" fmla="*/ 450526 w 4011346"/>
                <a:gd name="connsiteY413" fmla="*/ 724178 h 1855498"/>
                <a:gd name="connsiteX414" fmla="*/ 433840 w 4011346"/>
                <a:gd name="connsiteY414" fmla="*/ 687468 h 1855498"/>
                <a:gd name="connsiteX415" fmla="*/ 467212 w 4011346"/>
                <a:gd name="connsiteY415" fmla="*/ 657433 h 1855498"/>
                <a:gd name="connsiteX416" fmla="*/ 453863 w 4011346"/>
                <a:gd name="connsiteY416" fmla="*/ 634073 h 1855498"/>
                <a:gd name="connsiteX417" fmla="*/ 390456 w 4011346"/>
                <a:gd name="connsiteY417" fmla="*/ 604038 h 1855498"/>
                <a:gd name="connsiteX418" fmla="*/ 417154 w 4011346"/>
                <a:gd name="connsiteY418" fmla="*/ 654096 h 1855498"/>
                <a:gd name="connsiteX419" fmla="*/ 407142 w 4011346"/>
                <a:gd name="connsiteY419" fmla="*/ 697480 h 1855498"/>
                <a:gd name="connsiteX420" fmla="*/ 413817 w 4011346"/>
                <a:gd name="connsiteY420" fmla="*/ 734190 h 1855498"/>
                <a:gd name="connsiteX421" fmla="*/ 427165 w 4011346"/>
                <a:gd name="connsiteY421" fmla="*/ 757550 h 1855498"/>
                <a:gd name="connsiteX422" fmla="*/ 413817 w 4011346"/>
                <a:gd name="connsiteY422" fmla="*/ 787585 h 1855498"/>
                <a:gd name="connsiteX423" fmla="*/ 390456 w 4011346"/>
                <a:gd name="connsiteY423" fmla="*/ 764225 h 1855498"/>
                <a:gd name="connsiteX424" fmla="*/ 360421 w 4011346"/>
                <a:gd name="connsiteY424" fmla="*/ 760887 h 1855498"/>
                <a:gd name="connsiteX425" fmla="*/ 333723 w 4011346"/>
                <a:gd name="connsiteY425" fmla="*/ 800934 h 1855498"/>
                <a:gd name="connsiteX426" fmla="*/ 307025 w 4011346"/>
                <a:gd name="connsiteY426" fmla="*/ 820957 h 1855498"/>
                <a:gd name="connsiteX427" fmla="*/ 320374 w 4011346"/>
                <a:gd name="connsiteY427" fmla="*/ 847655 h 1855498"/>
                <a:gd name="connsiteX428" fmla="*/ 303688 w 4011346"/>
                <a:gd name="connsiteY428" fmla="*/ 871016 h 1855498"/>
                <a:gd name="connsiteX429" fmla="*/ 233606 w 4011346"/>
                <a:gd name="connsiteY429" fmla="*/ 834306 h 1855498"/>
                <a:gd name="connsiteX430" fmla="*/ 243618 w 4011346"/>
                <a:gd name="connsiteY430" fmla="*/ 884365 h 1855498"/>
                <a:gd name="connsiteX431" fmla="*/ 263641 w 4011346"/>
                <a:gd name="connsiteY431" fmla="*/ 904388 h 1855498"/>
                <a:gd name="connsiteX432" fmla="*/ 250292 w 4011346"/>
                <a:gd name="connsiteY432" fmla="*/ 917737 h 1855498"/>
                <a:gd name="connsiteX433" fmla="*/ 193560 w 4011346"/>
                <a:gd name="connsiteY433" fmla="*/ 881027 h 1855498"/>
                <a:gd name="connsiteX434" fmla="*/ 170199 w 4011346"/>
                <a:gd name="connsiteY434" fmla="*/ 840981 h 1855498"/>
                <a:gd name="connsiteX435" fmla="*/ 170199 w 4011346"/>
                <a:gd name="connsiteY435" fmla="*/ 794260 h 1855498"/>
                <a:gd name="connsiteX436" fmla="*/ 133490 w 4011346"/>
                <a:gd name="connsiteY436" fmla="*/ 717503 h 1855498"/>
                <a:gd name="connsiteX437" fmla="*/ 196897 w 4011346"/>
                <a:gd name="connsiteY437" fmla="*/ 747538 h 1855498"/>
                <a:gd name="connsiteX438" fmla="*/ 256967 w 4011346"/>
                <a:gd name="connsiteY438" fmla="*/ 777573 h 1855498"/>
                <a:gd name="connsiteX439" fmla="*/ 293676 w 4011346"/>
                <a:gd name="connsiteY439" fmla="*/ 780911 h 1855498"/>
                <a:gd name="connsiteX440" fmla="*/ 327049 w 4011346"/>
                <a:gd name="connsiteY440" fmla="*/ 750876 h 1855498"/>
                <a:gd name="connsiteX441" fmla="*/ 343735 w 4011346"/>
                <a:gd name="connsiteY441" fmla="*/ 714166 h 1855498"/>
                <a:gd name="connsiteX442" fmla="*/ 333723 w 4011346"/>
                <a:gd name="connsiteY442" fmla="*/ 664108 h 1855498"/>
                <a:gd name="connsiteX443" fmla="*/ 290339 w 4011346"/>
                <a:gd name="connsiteY443" fmla="*/ 644084 h 1855498"/>
                <a:gd name="connsiteX444" fmla="*/ 236944 w 4011346"/>
                <a:gd name="connsiteY444" fmla="*/ 597363 h 1855498"/>
                <a:gd name="connsiteX445" fmla="*/ 133490 w 4011346"/>
                <a:gd name="connsiteY445" fmla="*/ 540630 h 1855498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748707 w 4011346"/>
                <a:gd name="connsiteY320" fmla="*/ 16687 h 1855498"/>
                <a:gd name="connsiteX321" fmla="*/ 1685300 w 4011346"/>
                <a:gd name="connsiteY321" fmla="*/ 0 h 1855498"/>
                <a:gd name="connsiteX322" fmla="*/ 1615218 w 4011346"/>
                <a:gd name="connsiteY322" fmla="*/ 3338 h 1855498"/>
                <a:gd name="connsiteX323" fmla="*/ 1638579 w 4011346"/>
                <a:gd name="connsiteY323" fmla="*/ 33373 h 1855498"/>
                <a:gd name="connsiteX324" fmla="*/ 1528449 w 4011346"/>
                <a:gd name="connsiteY324" fmla="*/ 60069 h 1855498"/>
                <a:gd name="connsiteX325" fmla="*/ 1465043 w 4011346"/>
                <a:gd name="connsiteY325" fmla="*/ 143500 h 1855498"/>
                <a:gd name="connsiteX326" fmla="*/ 1448357 w 4011346"/>
                <a:gd name="connsiteY326" fmla="*/ 170198 h 1855498"/>
                <a:gd name="connsiteX327" fmla="*/ 1481729 w 4011346"/>
                <a:gd name="connsiteY327" fmla="*/ 203571 h 1855498"/>
                <a:gd name="connsiteX328" fmla="*/ 1481729 w 4011346"/>
                <a:gd name="connsiteY328" fmla="*/ 233606 h 1855498"/>
                <a:gd name="connsiteX329" fmla="*/ 1458368 w 4011346"/>
                <a:gd name="connsiteY329" fmla="*/ 236943 h 1855498"/>
                <a:gd name="connsiteX330" fmla="*/ 1458368 w 4011346"/>
                <a:gd name="connsiteY330" fmla="*/ 216919 h 1855498"/>
                <a:gd name="connsiteX331" fmla="*/ 1418322 w 4011346"/>
                <a:gd name="connsiteY331" fmla="*/ 226931 h 1855498"/>
                <a:gd name="connsiteX332" fmla="*/ 1368263 w 4011346"/>
                <a:gd name="connsiteY332" fmla="*/ 233606 h 1855498"/>
                <a:gd name="connsiteX333" fmla="*/ 1321542 w 4011346"/>
                <a:gd name="connsiteY333" fmla="*/ 240280 h 1855498"/>
                <a:gd name="connsiteX334" fmla="*/ 1318205 w 4011346"/>
                <a:gd name="connsiteY334" fmla="*/ 327048 h 1855498"/>
                <a:gd name="connsiteX335" fmla="*/ 1358252 w 4011346"/>
                <a:gd name="connsiteY335" fmla="*/ 350409 h 1855498"/>
                <a:gd name="connsiteX336" fmla="*/ 1374938 w 4011346"/>
                <a:gd name="connsiteY336" fmla="*/ 380444 h 1855498"/>
                <a:gd name="connsiteX337" fmla="*/ 1384949 w 4011346"/>
                <a:gd name="connsiteY337" fmla="*/ 403804 h 1855498"/>
                <a:gd name="connsiteX338" fmla="*/ 1394961 w 4011346"/>
                <a:gd name="connsiteY338" fmla="*/ 453863 h 1855498"/>
                <a:gd name="connsiteX339" fmla="*/ 1384949 w 4011346"/>
                <a:gd name="connsiteY339" fmla="*/ 483898 h 1855498"/>
                <a:gd name="connsiteX340" fmla="*/ 1358252 w 4011346"/>
                <a:gd name="connsiteY340" fmla="*/ 450525 h 1855498"/>
                <a:gd name="connsiteX341" fmla="*/ 1361589 w 4011346"/>
                <a:gd name="connsiteY341" fmla="*/ 420490 h 1855498"/>
                <a:gd name="connsiteX342" fmla="*/ 1351577 w 4011346"/>
                <a:gd name="connsiteY342" fmla="*/ 380444 h 1855498"/>
                <a:gd name="connsiteX343" fmla="*/ 1328217 w 4011346"/>
                <a:gd name="connsiteY343" fmla="*/ 387118 h 1855498"/>
                <a:gd name="connsiteX344" fmla="*/ 1281495 w 4011346"/>
                <a:gd name="connsiteY344" fmla="*/ 350409 h 1855498"/>
                <a:gd name="connsiteX345" fmla="*/ 1241449 w 4011346"/>
                <a:gd name="connsiteY345" fmla="*/ 347071 h 1855498"/>
                <a:gd name="connsiteX346" fmla="*/ 1241449 w 4011346"/>
                <a:gd name="connsiteY346" fmla="*/ 393792 h 1855498"/>
                <a:gd name="connsiteX347" fmla="*/ 1201402 w 4011346"/>
                <a:gd name="connsiteY347" fmla="*/ 373769 h 1855498"/>
                <a:gd name="connsiteX348" fmla="*/ 1228100 w 4011346"/>
                <a:gd name="connsiteY348" fmla="*/ 423827 h 1855498"/>
                <a:gd name="connsiteX349" fmla="*/ 1258135 w 4011346"/>
                <a:gd name="connsiteY349" fmla="*/ 433839 h 1855498"/>
                <a:gd name="connsiteX350" fmla="*/ 1258135 w 4011346"/>
                <a:gd name="connsiteY350" fmla="*/ 453863 h 1855498"/>
                <a:gd name="connsiteX351" fmla="*/ 1198065 w 4011346"/>
                <a:gd name="connsiteY351" fmla="*/ 430502 h 1855498"/>
                <a:gd name="connsiteX352" fmla="*/ 1181379 w 4011346"/>
                <a:gd name="connsiteY352" fmla="*/ 430502 h 1855498"/>
                <a:gd name="connsiteX353" fmla="*/ 1178041 w 4011346"/>
                <a:gd name="connsiteY353" fmla="*/ 387118 h 1855498"/>
                <a:gd name="connsiteX354" fmla="*/ 1171367 w 4011346"/>
                <a:gd name="connsiteY354" fmla="*/ 300350 h 1855498"/>
                <a:gd name="connsiteX355" fmla="*/ 1161355 w 4011346"/>
                <a:gd name="connsiteY355" fmla="*/ 370432 h 1855498"/>
                <a:gd name="connsiteX356" fmla="*/ 1137995 w 4011346"/>
                <a:gd name="connsiteY356" fmla="*/ 400467 h 1855498"/>
                <a:gd name="connsiteX357" fmla="*/ 1158018 w 4011346"/>
                <a:gd name="connsiteY357" fmla="*/ 447188 h 1855498"/>
                <a:gd name="connsiteX358" fmla="*/ 1158018 w 4011346"/>
                <a:gd name="connsiteY358" fmla="*/ 480560 h 1855498"/>
                <a:gd name="connsiteX359" fmla="*/ 1141332 w 4011346"/>
                <a:gd name="connsiteY359" fmla="*/ 530619 h 1855498"/>
                <a:gd name="connsiteX360" fmla="*/ 1154681 w 4011346"/>
                <a:gd name="connsiteY360" fmla="*/ 563991 h 1855498"/>
                <a:gd name="connsiteX361" fmla="*/ 1184716 w 4011346"/>
                <a:gd name="connsiteY361" fmla="*/ 570665 h 1855498"/>
                <a:gd name="connsiteX362" fmla="*/ 1221425 w 4011346"/>
                <a:gd name="connsiteY362" fmla="*/ 577340 h 1855498"/>
                <a:gd name="connsiteX363" fmla="*/ 1241449 w 4011346"/>
                <a:gd name="connsiteY363" fmla="*/ 600700 h 1855498"/>
                <a:gd name="connsiteX364" fmla="*/ 1258135 w 4011346"/>
                <a:gd name="connsiteY364" fmla="*/ 644084 h 1855498"/>
                <a:gd name="connsiteX365" fmla="*/ 1258135 w 4011346"/>
                <a:gd name="connsiteY365" fmla="*/ 644084 h 1855498"/>
                <a:gd name="connsiteX366" fmla="*/ 1254798 w 4011346"/>
                <a:gd name="connsiteY366" fmla="*/ 677457 h 1855498"/>
                <a:gd name="connsiteX367" fmla="*/ 1274821 w 4011346"/>
                <a:gd name="connsiteY367" fmla="*/ 697480 h 1855498"/>
                <a:gd name="connsiteX368" fmla="*/ 1244786 w 4011346"/>
                <a:gd name="connsiteY368" fmla="*/ 704155 h 1855498"/>
                <a:gd name="connsiteX369" fmla="*/ 1224763 w 4011346"/>
                <a:gd name="connsiteY369" fmla="*/ 664108 h 1855498"/>
                <a:gd name="connsiteX370" fmla="*/ 1224763 w 4011346"/>
                <a:gd name="connsiteY370" fmla="*/ 624061 h 1855498"/>
                <a:gd name="connsiteX371" fmla="*/ 1194727 w 4011346"/>
                <a:gd name="connsiteY371" fmla="*/ 587352 h 1855498"/>
                <a:gd name="connsiteX372" fmla="*/ 1164692 w 4011346"/>
                <a:gd name="connsiteY372" fmla="*/ 630736 h 1855498"/>
                <a:gd name="connsiteX373" fmla="*/ 1178041 w 4011346"/>
                <a:gd name="connsiteY373" fmla="*/ 674119 h 1855498"/>
                <a:gd name="connsiteX374" fmla="*/ 1137995 w 4011346"/>
                <a:gd name="connsiteY374" fmla="*/ 730852 h 1855498"/>
                <a:gd name="connsiteX375" fmla="*/ 1097948 w 4011346"/>
                <a:gd name="connsiteY375" fmla="*/ 787585 h 1855498"/>
                <a:gd name="connsiteX376" fmla="*/ 1007843 w 4011346"/>
                <a:gd name="connsiteY376" fmla="*/ 750876 h 1855498"/>
                <a:gd name="connsiteX377" fmla="*/ 1074587 w 4011346"/>
                <a:gd name="connsiteY377" fmla="*/ 747538 h 1855498"/>
                <a:gd name="connsiteX378" fmla="*/ 1107960 w 4011346"/>
                <a:gd name="connsiteY378" fmla="*/ 684131 h 1855498"/>
                <a:gd name="connsiteX379" fmla="*/ 1121309 w 4011346"/>
                <a:gd name="connsiteY379" fmla="*/ 640747 h 1855498"/>
                <a:gd name="connsiteX380" fmla="*/ 1127983 w 4011346"/>
                <a:gd name="connsiteY380" fmla="*/ 607375 h 1855498"/>
                <a:gd name="connsiteX381" fmla="*/ 1117971 w 4011346"/>
                <a:gd name="connsiteY381" fmla="*/ 590689 h 1855498"/>
                <a:gd name="connsiteX382" fmla="*/ 1114634 w 4011346"/>
                <a:gd name="connsiteY382" fmla="*/ 540630 h 1855498"/>
                <a:gd name="connsiteX383" fmla="*/ 1104622 w 4011346"/>
                <a:gd name="connsiteY383" fmla="*/ 460537 h 1855498"/>
                <a:gd name="connsiteX384" fmla="*/ 1101285 w 4011346"/>
                <a:gd name="connsiteY384" fmla="*/ 400467 h 1855498"/>
                <a:gd name="connsiteX385" fmla="*/ 1124646 w 4011346"/>
                <a:gd name="connsiteY385" fmla="*/ 307025 h 1855498"/>
                <a:gd name="connsiteX386" fmla="*/ 1031203 w 4011346"/>
                <a:gd name="connsiteY386" fmla="*/ 297013 h 1855498"/>
                <a:gd name="connsiteX387" fmla="*/ 1014517 w 4011346"/>
                <a:gd name="connsiteY387" fmla="*/ 353746 h 1855498"/>
                <a:gd name="connsiteX388" fmla="*/ 1024529 w 4011346"/>
                <a:gd name="connsiteY388" fmla="*/ 400467 h 1855498"/>
                <a:gd name="connsiteX389" fmla="*/ 981145 w 4011346"/>
                <a:gd name="connsiteY389" fmla="*/ 453863 h 1855498"/>
                <a:gd name="connsiteX390" fmla="*/ 991157 w 4011346"/>
                <a:gd name="connsiteY390" fmla="*/ 490572 h 1855498"/>
                <a:gd name="connsiteX391" fmla="*/ 981145 w 4011346"/>
                <a:gd name="connsiteY391" fmla="*/ 537293 h 1855498"/>
                <a:gd name="connsiteX392" fmla="*/ 1001168 w 4011346"/>
                <a:gd name="connsiteY392" fmla="*/ 560654 h 1855498"/>
                <a:gd name="connsiteX393" fmla="*/ 1017854 w 4011346"/>
                <a:gd name="connsiteY393" fmla="*/ 607375 h 1855498"/>
                <a:gd name="connsiteX394" fmla="*/ 1047890 w 4011346"/>
                <a:gd name="connsiteY394" fmla="*/ 594026 h 1855498"/>
                <a:gd name="connsiteX395" fmla="*/ 1014517 w 4011346"/>
                <a:gd name="connsiteY395" fmla="*/ 647422 h 1855498"/>
                <a:gd name="connsiteX396" fmla="*/ 957784 w 4011346"/>
                <a:gd name="connsiteY396" fmla="*/ 594026 h 1855498"/>
                <a:gd name="connsiteX397" fmla="*/ 884365 w 4011346"/>
                <a:gd name="connsiteY397" fmla="*/ 557317 h 1855498"/>
                <a:gd name="connsiteX398" fmla="*/ 824295 w 4011346"/>
                <a:gd name="connsiteY398" fmla="*/ 533956 h 1855498"/>
                <a:gd name="connsiteX399" fmla="*/ 810946 w 4011346"/>
                <a:gd name="connsiteY399" fmla="*/ 570665 h 1855498"/>
                <a:gd name="connsiteX400" fmla="*/ 827633 w 4011346"/>
                <a:gd name="connsiteY400" fmla="*/ 607375 h 1855498"/>
                <a:gd name="connsiteX401" fmla="*/ 814284 w 4011346"/>
                <a:gd name="connsiteY401" fmla="*/ 630736 h 1855498"/>
                <a:gd name="connsiteX402" fmla="*/ 800935 w 4011346"/>
                <a:gd name="connsiteY402" fmla="*/ 647422 h 1855498"/>
                <a:gd name="connsiteX403" fmla="*/ 770900 w 4011346"/>
                <a:gd name="connsiteY403" fmla="*/ 590689 h 1855498"/>
                <a:gd name="connsiteX404" fmla="*/ 744202 w 4011346"/>
                <a:gd name="connsiteY404" fmla="*/ 627398 h 1855498"/>
                <a:gd name="connsiteX405" fmla="*/ 707492 w 4011346"/>
                <a:gd name="connsiteY405" fmla="*/ 620724 h 1855498"/>
                <a:gd name="connsiteX406" fmla="*/ 654097 w 4011346"/>
                <a:gd name="connsiteY406" fmla="*/ 657433 h 1855498"/>
                <a:gd name="connsiteX407" fmla="*/ 644085 w 4011346"/>
                <a:gd name="connsiteY407" fmla="*/ 634073 h 1855498"/>
                <a:gd name="connsiteX408" fmla="*/ 654097 w 4011346"/>
                <a:gd name="connsiteY408" fmla="*/ 597363 h 1855498"/>
                <a:gd name="connsiteX409" fmla="*/ 614050 w 4011346"/>
                <a:gd name="connsiteY409" fmla="*/ 634073 h 1855498"/>
                <a:gd name="connsiteX410" fmla="*/ 594027 w 4011346"/>
                <a:gd name="connsiteY410" fmla="*/ 634073 h 1855498"/>
                <a:gd name="connsiteX411" fmla="*/ 533957 w 4011346"/>
                <a:gd name="connsiteY411" fmla="*/ 667445 h 1855498"/>
                <a:gd name="connsiteX412" fmla="*/ 510596 w 4011346"/>
                <a:gd name="connsiteY412" fmla="*/ 690806 h 1855498"/>
                <a:gd name="connsiteX413" fmla="*/ 500584 w 4011346"/>
                <a:gd name="connsiteY413" fmla="*/ 737527 h 1855498"/>
                <a:gd name="connsiteX414" fmla="*/ 450526 w 4011346"/>
                <a:gd name="connsiteY414" fmla="*/ 724178 h 1855498"/>
                <a:gd name="connsiteX415" fmla="*/ 433840 w 4011346"/>
                <a:gd name="connsiteY415" fmla="*/ 687468 h 1855498"/>
                <a:gd name="connsiteX416" fmla="*/ 467212 w 4011346"/>
                <a:gd name="connsiteY416" fmla="*/ 657433 h 1855498"/>
                <a:gd name="connsiteX417" fmla="*/ 453863 w 4011346"/>
                <a:gd name="connsiteY417" fmla="*/ 634073 h 1855498"/>
                <a:gd name="connsiteX418" fmla="*/ 390456 w 4011346"/>
                <a:gd name="connsiteY418" fmla="*/ 604038 h 1855498"/>
                <a:gd name="connsiteX419" fmla="*/ 417154 w 4011346"/>
                <a:gd name="connsiteY419" fmla="*/ 654096 h 1855498"/>
                <a:gd name="connsiteX420" fmla="*/ 407142 w 4011346"/>
                <a:gd name="connsiteY420" fmla="*/ 697480 h 1855498"/>
                <a:gd name="connsiteX421" fmla="*/ 413817 w 4011346"/>
                <a:gd name="connsiteY421" fmla="*/ 734190 h 1855498"/>
                <a:gd name="connsiteX422" fmla="*/ 427165 w 4011346"/>
                <a:gd name="connsiteY422" fmla="*/ 757550 h 1855498"/>
                <a:gd name="connsiteX423" fmla="*/ 413817 w 4011346"/>
                <a:gd name="connsiteY423" fmla="*/ 787585 h 1855498"/>
                <a:gd name="connsiteX424" fmla="*/ 390456 w 4011346"/>
                <a:gd name="connsiteY424" fmla="*/ 764225 h 1855498"/>
                <a:gd name="connsiteX425" fmla="*/ 360421 w 4011346"/>
                <a:gd name="connsiteY425" fmla="*/ 760887 h 1855498"/>
                <a:gd name="connsiteX426" fmla="*/ 333723 w 4011346"/>
                <a:gd name="connsiteY426" fmla="*/ 800934 h 1855498"/>
                <a:gd name="connsiteX427" fmla="*/ 307025 w 4011346"/>
                <a:gd name="connsiteY427" fmla="*/ 820957 h 1855498"/>
                <a:gd name="connsiteX428" fmla="*/ 320374 w 4011346"/>
                <a:gd name="connsiteY428" fmla="*/ 847655 h 1855498"/>
                <a:gd name="connsiteX429" fmla="*/ 303688 w 4011346"/>
                <a:gd name="connsiteY429" fmla="*/ 871016 h 1855498"/>
                <a:gd name="connsiteX430" fmla="*/ 233606 w 4011346"/>
                <a:gd name="connsiteY430" fmla="*/ 834306 h 1855498"/>
                <a:gd name="connsiteX431" fmla="*/ 243618 w 4011346"/>
                <a:gd name="connsiteY431" fmla="*/ 884365 h 1855498"/>
                <a:gd name="connsiteX432" fmla="*/ 263641 w 4011346"/>
                <a:gd name="connsiteY432" fmla="*/ 904388 h 1855498"/>
                <a:gd name="connsiteX433" fmla="*/ 250292 w 4011346"/>
                <a:gd name="connsiteY433" fmla="*/ 917737 h 1855498"/>
                <a:gd name="connsiteX434" fmla="*/ 193560 w 4011346"/>
                <a:gd name="connsiteY434" fmla="*/ 881027 h 1855498"/>
                <a:gd name="connsiteX435" fmla="*/ 170199 w 4011346"/>
                <a:gd name="connsiteY435" fmla="*/ 840981 h 1855498"/>
                <a:gd name="connsiteX436" fmla="*/ 170199 w 4011346"/>
                <a:gd name="connsiteY436" fmla="*/ 794260 h 1855498"/>
                <a:gd name="connsiteX437" fmla="*/ 133490 w 4011346"/>
                <a:gd name="connsiteY437" fmla="*/ 717503 h 1855498"/>
                <a:gd name="connsiteX438" fmla="*/ 196897 w 4011346"/>
                <a:gd name="connsiteY438" fmla="*/ 747538 h 1855498"/>
                <a:gd name="connsiteX439" fmla="*/ 256967 w 4011346"/>
                <a:gd name="connsiteY439" fmla="*/ 777573 h 1855498"/>
                <a:gd name="connsiteX440" fmla="*/ 293676 w 4011346"/>
                <a:gd name="connsiteY440" fmla="*/ 780911 h 1855498"/>
                <a:gd name="connsiteX441" fmla="*/ 327049 w 4011346"/>
                <a:gd name="connsiteY441" fmla="*/ 750876 h 1855498"/>
                <a:gd name="connsiteX442" fmla="*/ 343735 w 4011346"/>
                <a:gd name="connsiteY442" fmla="*/ 714166 h 1855498"/>
                <a:gd name="connsiteX443" fmla="*/ 333723 w 4011346"/>
                <a:gd name="connsiteY443" fmla="*/ 664108 h 1855498"/>
                <a:gd name="connsiteX444" fmla="*/ 290339 w 4011346"/>
                <a:gd name="connsiteY444" fmla="*/ 644084 h 1855498"/>
                <a:gd name="connsiteX445" fmla="*/ 236944 w 4011346"/>
                <a:gd name="connsiteY445" fmla="*/ 597363 h 1855498"/>
                <a:gd name="connsiteX446" fmla="*/ 133490 w 4011346"/>
                <a:gd name="connsiteY446" fmla="*/ 540630 h 1855498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698648 w 4011346"/>
                <a:gd name="connsiteY320" fmla="*/ 40047 h 1855498"/>
                <a:gd name="connsiteX321" fmla="*/ 1685300 w 4011346"/>
                <a:gd name="connsiteY321" fmla="*/ 0 h 1855498"/>
                <a:gd name="connsiteX322" fmla="*/ 1615218 w 4011346"/>
                <a:gd name="connsiteY322" fmla="*/ 3338 h 1855498"/>
                <a:gd name="connsiteX323" fmla="*/ 1638579 w 4011346"/>
                <a:gd name="connsiteY323" fmla="*/ 33373 h 1855498"/>
                <a:gd name="connsiteX324" fmla="*/ 1528449 w 4011346"/>
                <a:gd name="connsiteY324" fmla="*/ 60069 h 1855498"/>
                <a:gd name="connsiteX325" fmla="*/ 1465043 w 4011346"/>
                <a:gd name="connsiteY325" fmla="*/ 143500 h 1855498"/>
                <a:gd name="connsiteX326" fmla="*/ 1448357 w 4011346"/>
                <a:gd name="connsiteY326" fmla="*/ 170198 h 1855498"/>
                <a:gd name="connsiteX327" fmla="*/ 1481729 w 4011346"/>
                <a:gd name="connsiteY327" fmla="*/ 203571 h 1855498"/>
                <a:gd name="connsiteX328" fmla="*/ 1481729 w 4011346"/>
                <a:gd name="connsiteY328" fmla="*/ 233606 h 1855498"/>
                <a:gd name="connsiteX329" fmla="*/ 1458368 w 4011346"/>
                <a:gd name="connsiteY329" fmla="*/ 236943 h 1855498"/>
                <a:gd name="connsiteX330" fmla="*/ 1458368 w 4011346"/>
                <a:gd name="connsiteY330" fmla="*/ 216919 h 1855498"/>
                <a:gd name="connsiteX331" fmla="*/ 1418322 w 4011346"/>
                <a:gd name="connsiteY331" fmla="*/ 226931 h 1855498"/>
                <a:gd name="connsiteX332" fmla="*/ 1368263 w 4011346"/>
                <a:gd name="connsiteY332" fmla="*/ 233606 h 1855498"/>
                <a:gd name="connsiteX333" fmla="*/ 1321542 w 4011346"/>
                <a:gd name="connsiteY333" fmla="*/ 240280 h 1855498"/>
                <a:gd name="connsiteX334" fmla="*/ 1318205 w 4011346"/>
                <a:gd name="connsiteY334" fmla="*/ 327048 h 1855498"/>
                <a:gd name="connsiteX335" fmla="*/ 1358252 w 4011346"/>
                <a:gd name="connsiteY335" fmla="*/ 350409 h 1855498"/>
                <a:gd name="connsiteX336" fmla="*/ 1374938 w 4011346"/>
                <a:gd name="connsiteY336" fmla="*/ 380444 h 1855498"/>
                <a:gd name="connsiteX337" fmla="*/ 1384949 w 4011346"/>
                <a:gd name="connsiteY337" fmla="*/ 403804 h 1855498"/>
                <a:gd name="connsiteX338" fmla="*/ 1394961 w 4011346"/>
                <a:gd name="connsiteY338" fmla="*/ 453863 h 1855498"/>
                <a:gd name="connsiteX339" fmla="*/ 1384949 w 4011346"/>
                <a:gd name="connsiteY339" fmla="*/ 483898 h 1855498"/>
                <a:gd name="connsiteX340" fmla="*/ 1358252 w 4011346"/>
                <a:gd name="connsiteY340" fmla="*/ 450525 h 1855498"/>
                <a:gd name="connsiteX341" fmla="*/ 1361589 w 4011346"/>
                <a:gd name="connsiteY341" fmla="*/ 420490 h 1855498"/>
                <a:gd name="connsiteX342" fmla="*/ 1351577 w 4011346"/>
                <a:gd name="connsiteY342" fmla="*/ 380444 h 1855498"/>
                <a:gd name="connsiteX343" fmla="*/ 1328217 w 4011346"/>
                <a:gd name="connsiteY343" fmla="*/ 387118 h 1855498"/>
                <a:gd name="connsiteX344" fmla="*/ 1281495 w 4011346"/>
                <a:gd name="connsiteY344" fmla="*/ 350409 h 1855498"/>
                <a:gd name="connsiteX345" fmla="*/ 1241449 w 4011346"/>
                <a:gd name="connsiteY345" fmla="*/ 347071 h 1855498"/>
                <a:gd name="connsiteX346" fmla="*/ 1241449 w 4011346"/>
                <a:gd name="connsiteY346" fmla="*/ 393792 h 1855498"/>
                <a:gd name="connsiteX347" fmla="*/ 1201402 w 4011346"/>
                <a:gd name="connsiteY347" fmla="*/ 373769 h 1855498"/>
                <a:gd name="connsiteX348" fmla="*/ 1228100 w 4011346"/>
                <a:gd name="connsiteY348" fmla="*/ 423827 h 1855498"/>
                <a:gd name="connsiteX349" fmla="*/ 1258135 w 4011346"/>
                <a:gd name="connsiteY349" fmla="*/ 433839 h 1855498"/>
                <a:gd name="connsiteX350" fmla="*/ 1258135 w 4011346"/>
                <a:gd name="connsiteY350" fmla="*/ 453863 h 1855498"/>
                <a:gd name="connsiteX351" fmla="*/ 1198065 w 4011346"/>
                <a:gd name="connsiteY351" fmla="*/ 430502 h 1855498"/>
                <a:gd name="connsiteX352" fmla="*/ 1181379 w 4011346"/>
                <a:gd name="connsiteY352" fmla="*/ 430502 h 1855498"/>
                <a:gd name="connsiteX353" fmla="*/ 1178041 w 4011346"/>
                <a:gd name="connsiteY353" fmla="*/ 387118 h 1855498"/>
                <a:gd name="connsiteX354" fmla="*/ 1171367 w 4011346"/>
                <a:gd name="connsiteY354" fmla="*/ 300350 h 1855498"/>
                <a:gd name="connsiteX355" fmla="*/ 1161355 w 4011346"/>
                <a:gd name="connsiteY355" fmla="*/ 370432 h 1855498"/>
                <a:gd name="connsiteX356" fmla="*/ 1137995 w 4011346"/>
                <a:gd name="connsiteY356" fmla="*/ 400467 h 1855498"/>
                <a:gd name="connsiteX357" fmla="*/ 1158018 w 4011346"/>
                <a:gd name="connsiteY357" fmla="*/ 447188 h 1855498"/>
                <a:gd name="connsiteX358" fmla="*/ 1158018 w 4011346"/>
                <a:gd name="connsiteY358" fmla="*/ 480560 h 1855498"/>
                <a:gd name="connsiteX359" fmla="*/ 1141332 w 4011346"/>
                <a:gd name="connsiteY359" fmla="*/ 530619 h 1855498"/>
                <a:gd name="connsiteX360" fmla="*/ 1154681 w 4011346"/>
                <a:gd name="connsiteY360" fmla="*/ 563991 h 1855498"/>
                <a:gd name="connsiteX361" fmla="*/ 1184716 w 4011346"/>
                <a:gd name="connsiteY361" fmla="*/ 570665 h 1855498"/>
                <a:gd name="connsiteX362" fmla="*/ 1221425 w 4011346"/>
                <a:gd name="connsiteY362" fmla="*/ 577340 h 1855498"/>
                <a:gd name="connsiteX363" fmla="*/ 1241449 w 4011346"/>
                <a:gd name="connsiteY363" fmla="*/ 600700 h 1855498"/>
                <a:gd name="connsiteX364" fmla="*/ 1258135 w 4011346"/>
                <a:gd name="connsiteY364" fmla="*/ 644084 h 1855498"/>
                <a:gd name="connsiteX365" fmla="*/ 1258135 w 4011346"/>
                <a:gd name="connsiteY365" fmla="*/ 644084 h 1855498"/>
                <a:gd name="connsiteX366" fmla="*/ 1254798 w 4011346"/>
                <a:gd name="connsiteY366" fmla="*/ 677457 h 1855498"/>
                <a:gd name="connsiteX367" fmla="*/ 1274821 w 4011346"/>
                <a:gd name="connsiteY367" fmla="*/ 697480 h 1855498"/>
                <a:gd name="connsiteX368" fmla="*/ 1244786 w 4011346"/>
                <a:gd name="connsiteY368" fmla="*/ 704155 h 1855498"/>
                <a:gd name="connsiteX369" fmla="*/ 1224763 w 4011346"/>
                <a:gd name="connsiteY369" fmla="*/ 664108 h 1855498"/>
                <a:gd name="connsiteX370" fmla="*/ 1224763 w 4011346"/>
                <a:gd name="connsiteY370" fmla="*/ 624061 h 1855498"/>
                <a:gd name="connsiteX371" fmla="*/ 1194727 w 4011346"/>
                <a:gd name="connsiteY371" fmla="*/ 587352 h 1855498"/>
                <a:gd name="connsiteX372" fmla="*/ 1164692 w 4011346"/>
                <a:gd name="connsiteY372" fmla="*/ 630736 h 1855498"/>
                <a:gd name="connsiteX373" fmla="*/ 1178041 w 4011346"/>
                <a:gd name="connsiteY373" fmla="*/ 674119 h 1855498"/>
                <a:gd name="connsiteX374" fmla="*/ 1137995 w 4011346"/>
                <a:gd name="connsiteY374" fmla="*/ 730852 h 1855498"/>
                <a:gd name="connsiteX375" fmla="*/ 1097948 w 4011346"/>
                <a:gd name="connsiteY375" fmla="*/ 787585 h 1855498"/>
                <a:gd name="connsiteX376" fmla="*/ 1007843 w 4011346"/>
                <a:gd name="connsiteY376" fmla="*/ 750876 h 1855498"/>
                <a:gd name="connsiteX377" fmla="*/ 1074587 w 4011346"/>
                <a:gd name="connsiteY377" fmla="*/ 747538 h 1855498"/>
                <a:gd name="connsiteX378" fmla="*/ 1107960 w 4011346"/>
                <a:gd name="connsiteY378" fmla="*/ 684131 h 1855498"/>
                <a:gd name="connsiteX379" fmla="*/ 1121309 w 4011346"/>
                <a:gd name="connsiteY379" fmla="*/ 640747 h 1855498"/>
                <a:gd name="connsiteX380" fmla="*/ 1127983 w 4011346"/>
                <a:gd name="connsiteY380" fmla="*/ 607375 h 1855498"/>
                <a:gd name="connsiteX381" fmla="*/ 1117971 w 4011346"/>
                <a:gd name="connsiteY381" fmla="*/ 590689 h 1855498"/>
                <a:gd name="connsiteX382" fmla="*/ 1114634 w 4011346"/>
                <a:gd name="connsiteY382" fmla="*/ 540630 h 1855498"/>
                <a:gd name="connsiteX383" fmla="*/ 1104622 w 4011346"/>
                <a:gd name="connsiteY383" fmla="*/ 460537 h 1855498"/>
                <a:gd name="connsiteX384" fmla="*/ 1101285 w 4011346"/>
                <a:gd name="connsiteY384" fmla="*/ 400467 h 1855498"/>
                <a:gd name="connsiteX385" fmla="*/ 1124646 w 4011346"/>
                <a:gd name="connsiteY385" fmla="*/ 307025 h 1855498"/>
                <a:gd name="connsiteX386" fmla="*/ 1031203 w 4011346"/>
                <a:gd name="connsiteY386" fmla="*/ 297013 h 1855498"/>
                <a:gd name="connsiteX387" fmla="*/ 1014517 w 4011346"/>
                <a:gd name="connsiteY387" fmla="*/ 353746 h 1855498"/>
                <a:gd name="connsiteX388" fmla="*/ 1024529 w 4011346"/>
                <a:gd name="connsiteY388" fmla="*/ 400467 h 1855498"/>
                <a:gd name="connsiteX389" fmla="*/ 981145 w 4011346"/>
                <a:gd name="connsiteY389" fmla="*/ 453863 h 1855498"/>
                <a:gd name="connsiteX390" fmla="*/ 991157 w 4011346"/>
                <a:gd name="connsiteY390" fmla="*/ 490572 h 1855498"/>
                <a:gd name="connsiteX391" fmla="*/ 981145 w 4011346"/>
                <a:gd name="connsiteY391" fmla="*/ 537293 h 1855498"/>
                <a:gd name="connsiteX392" fmla="*/ 1001168 w 4011346"/>
                <a:gd name="connsiteY392" fmla="*/ 560654 h 1855498"/>
                <a:gd name="connsiteX393" fmla="*/ 1017854 w 4011346"/>
                <a:gd name="connsiteY393" fmla="*/ 607375 h 1855498"/>
                <a:gd name="connsiteX394" fmla="*/ 1047890 w 4011346"/>
                <a:gd name="connsiteY394" fmla="*/ 594026 h 1855498"/>
                <a:gd name="connsiteX395" fmla="*/ 1014517 w 4011346"/>
                <a:gd name="connsiteY395" fmla="*/ 647422 h 1855498"/>
                <a:gd name="connsiteX396" fmla="*/ 957784 w 4011346"/>
                <a:gd name="connsiteY396" fmla="*/ 594026 h 1855498"/>
                <a:gd name="connsiteX397" fmla="*/ 884365 w 4011346"/>
                <a:gd name="connsiteY397" fmla="*/ 557317 h 1855498"/>
                <a:gd name="connsiteX398" fmla="*/ 824295 w 4011346"/>
                <a:gd name="connsiteY398" fmla="*/ 533956 h 1855498"/>
                <a:gd name="connsiteX399" fmla="*/ 810946 w 4011346"/>
                <a:gd name="connsiteY399" fmla="*/ 570665 h 1855498"/>
                <a:gd name="connsiteX400" fmla="*/ 827633 w 4011346"/>
                <a:gd name="connsiteY400" fmla="*/ 607375 h 1855498"/>
                <a:gd name="connsiteX401" fmla="*/ 814284 w 4011346"/>
                <a:gd name="connsiteY401" fmla="*/ 630736 h 1855498"/>
                <a:gd name="connsiteX402" fmla="*/ 800935 w 4011346"/>
                <a:gd name="connsiteY402" fmla="*/ 647422 h 1855498"/>
                <a:gd name="connsiteX403" fmla="*/ 770900 w 4011346"/>
                <a:gd name="connsiteY403" fmla="*/ 590689 h 1855498"/>
                <a:gd name="connsiteX404" fmla="*/ 744202 w 4011346"/>
                <a:gd name="connsiteY404" fmla="*/ 627398 h 1855498"/>
                <a:gd name="connsiteX405" fmla="*/ 707492 w 4011346"/>
                <a:gd name="connsiteY405" fmla="*/ 620724 h 1855498"/>
                <a:gd name="connsiteX406" fmla="*/ 654097 w 4011346"/>
                <a:gd name="connsiteY406" fmla="*/ 657433 h 1855498"/>
                <a:gd name="connsiteX407" fmla="*/ 644085 w 4011346"/>
                <a:gd name="connsiteY407" fmla="*/ 634073 h 1855498"/>
                <a:gd name="connsiteX408" fmla="*/ 654097 w 4011346"/>
                <a:gd name="connsiteY408" fmla="*/ 597363 h 1855498"/>
                <a:gd name="connsiteX409" fmla="*/ 614050 w 4011346"/>
                <a:gd name="connsiteY409" fmla="*/ 634073 h 1855498"/>
                <a:gd name="connsiteX410" fmla="*/ 594027 w 4011346"/>
                <a:gd name="connsiteY410" fmla="*/ 634073 h 1855498"/>
                <a:gd name="connsiteX411" fmla="*/ 533957 w 4011346"/>
                <a:gd name="connsiteY411" fmla="*/ 667445 h 1855498"/>
                <a:gd name="connsiteX412" fmla="*/ 510596 w 4011346"/>
                <a:gd name="connsiteY412" fmla="*/ 690806 h 1855498"/>
                <a:gd name="connsiteX413" fmla="*/ 500584 w 4011346"/>
                <a:gd name="connsiteY413" fmla="*/ 737527 h 1855498"/>
                <a:gd name="connsiteX414" fmla="*/ 450526 w 4011346"/>
                <a:gd name="connsiteY414" fmla="*/ 724178 h 1855498"/>
                <a:gd name="connsiteX415" fmla="*/ 433840 w 4011346"/>
                <a:gd name="connsiteY415" fmla="*/ 687468 h 1855498"/>
                <a:gd name="connsiteX416" fmla="*/ 467212 w 4011346"/>
                <a:gd name="connsiteY416" fmla="*/ 657433 h 1855498"/>
                <a:gd name="connsiteX417" fmla="*/ 453863 w 4011346"/>
                <a:gd name="connsiteY417" fmla="*/ 634073 h 1855498"/>
                <a:gd name="connsiteX418" fmla="*/ 390456 w 4011346"/>
                <a:gd name="connsiteY418" fmla="*/ 604038 h 1855498"/>
                <a:gd name="connsiteX419" fmla="*/ 417154 w 4011346"/>
                <a:gd name="connsiteY419" fmla="*/ 654096 h 1855498"/>
                <a:gd name="connsiteX420" fmla="*/ 407142 w 4011346"/>
                <a:gd name="connsiteY420" fmla="*/ 697480 h 1855498"/>
                <a:gd name="connsiteX421" fmla="*/ 413817 w 4011346"/>
                <a:gd name="connsiteY421" fmla="*/ 734190 h 1855498"/>
                <a:gd name="connsiteX422" fmla="*/ 427165 w 4011346"/>
                <a:gd name="connsiteY422" fmla="*/ 757550 h 1855498"/>
                <a:gd name="connsiteX423" fmla="*/ 413817 w 4011346"/>
                <a:gd name="connsiteY423" fmla="*/ 787585 h 1855498"/>
                <a:gd name="connsiteX424" fmla="*/ 390456 w 4011346"/>
                <a:gd name="connsiteY424" fmla="*/ 764225 h 1855498"/>
                <a:gd name="connsiteX425" fmla="*/ 360421 w 4011346"/>
                <a:gd name="connsiteY425" fmla="*/ 760887 h 1855498"/>
                <a:gd name="connsiteX426" fmla="*/ 333723 w 4011346"/>
                <a:gd name="connsiteY426" fmla="*/ 800934 h 1855498"/>
                <a:gd name="connsiteX427" fmla="*/ 307025 w 4011346"/>
                <a:gd name="connsiteY427" fmla="*/ 820957 h 1855498"/>
                <a:gd name="connsiteX428" fmla="*/ 320374 w 4011346"/>
                <a:gd name="connsiteY428" fmla="*/ 847655 h 1855498"/>
                <a:gd name="connsiteX429" fmla="*/ 303688 w 4011346"/>
                <a:gd name="connsiteY429" fmla="*/ 871016 h 1855498"/>
                <a:gd name="connsiteX430" fmla="*/ 233606 w 4011346"/>
                <a:gd name="connsiteY430" fmla="*/ 834306 h 1855498"/>
                <a:gd name="connsiteX431" fmla="*/ 243618 w 4011346"/>
                <a:gd name="connsiteY431" fmla="*/ 884365 h 1855498"/>
                <a:gd name="connsiteX432" fmla="*/ 263641 w 4011346"/>
                <a:gd name="connsiteY432" fmla="*/ 904388 h 1855498"/>
                <a:gd name="connsiteX433" fmla="*/ 250292 w 4011346"/>
                <a:gd name="connsiteY433" fmla="*/ 917737 h 1855498"/>
                <a:gd name="connsiteX434" fmla="*/ 193560 w 4011346"/>
                <a:gd name="connsiteY434" fmla="*/ 881027 h 1855498"/>
                <a:gd name="connsiteX435" fmla="*/ 170199 w 4011346"/>
                <a:gd name="connsiteY435" fmla="*/ 840981 h 1855498"/>
                <a:gd name="connsiteX436" fmla="*/ 170199 w 4011346"/>
                <a:gd name="connsiteY436" fmla="*/ 794260 h 1855498"/>
                <a:gd name="connsiteX437" fmla="*/ 133490 w 4011346"/>
                <a:gd name="connsiteY437" fmla="*/ 717503 h 1855498"/>
                <a:gd name="connsiteX438" fmla="*/ 196897 w 4011346"/>
                <a:gd name="connsiteY438" fmla="*/ 747538 h 1855498"/>
                <a:gd name="connsiteX439" fmla="*/ 256967 w 4011346"/>
                <a:gd name="connsiteY439" fmla="*/ 777573 h 1855498"/>
                <a:gd name="connsiteX440" fmla="*/ 293676 w 4011346"/>
                <a:gd name="connsiteY440" fmla="*/ 780911 h 1855498"/>
                <a:gd name="connsiteX441" fmla="*/ 327049 w 4011346"/>
                <a:gd name="connsiteY441" fmla="*/ 750876 h 1855498"/>
                <a:gd name="connsiteX442" fmla="*/ 343735 w 4011346"/>
                <a:gd name="connsiteY442" fmla="*/ 714166 h 1855498"/>
                <a:gd name="connsiteX443" fmla="*/ 333723 w 4011346"/>
                <a:gd name="connsiteY443" fmla="*/ 664108 h 1855498"/>
                <a:gd name="connsiteX444" fmla="*/ 290339 w 4011346"/>
                <a:gd name="connsiteY444" fmla="*/ 644084 h 1855498"/>
                <a:gd name="connsiteX445" fmla="*/ 236944 w 4011346"/>
                <a:gd name="connsiteY445" fmla="*/ 597363 h 1855498"/>
                <a:gd name="connsiteX446" fmla="*/ 133490 w 4011346"/>
                <a:gd name="connsiteY446" fmla="*/ 540630 h 1855498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982313 w 4011346"/>
                <a:gd name="connsiteY320" fmla="*/ 136827 h 1855498"/>
                <a:gd name="connsiteX321" fmla="*/ 1698648 w 4011346"/>
                <a:gd name="connsiteY321" fmla="*/ 40047 h 1855498"/>
                <a:gd name="connsiteX322" fmla="*/ 1685300 w 4011346"/>
                <a:gd name="connsiteY322" fmla="*/ 0 h 1855498"/>
                <a:gd name="connsiteX323" fmla="*/ 1615218 w 4011346"/>
                <a:gd name="connsiteY323" fmla="*/ 3338 h 1855498"/>
                <a:gd name="connsiteX324" fmla="*/ 1638579 w 4011346"/>
                <a:gd name="connsiteY324" fmla="*/ 33373 h 1855498"/>
                <a:gd name="connsiteX325" fmla="*/ 1528449 w 4011346"/>
                <a:gd name="connsiteY325" fmla="*/ 60069 h 1855498"/>
                <a:gd name="connsiteX326" fmla="*/ 1465043 w 4011346"/>
                <a:gd name="connsiteY326" fmla="*/ 143500 h 1855498"/>
                <a:gd name="connsiteX327" fmla="*/ 1448357 w 4011346"/>
                <a:gd name="connsiteY327" fmla="*/ 170198 h 1855498"/>
                <a:gd name="connsiteX328" fmla="*/ 1481729 w 4011346"/>
                <a:gd name="connsiteY328" fmla="*/ 203571 h 1855498"/>
                <a:gd name="connsiteX329" fmla="*/ 1481729 w 4011346"/>
                <a:gd name="connsiteY329" fmla="*/ 233606 h 1855498"/>
                <a:gd name="connsiteX330" fmla="*/ 1458368 w 4011346"/>
                <a:gd name="connsiteY330" fmla="*/ 236943 h 1855498"/>
                <a:gd name="connsiteX331" fmla="*/ 1458368 w 4011346"/>
                <a:gd name="connsiteY331" fmla="*/ 216919 h 1855498"/>
                <a:gd name="connsiteX332" fmla="*/ 1418322 w 4011346"/>
                <a:gd name="connsiteY332" fmla="*/ 226931 h 1855498"/>
                <a:gd name="connsiteX333" fmla="*/ 1368263 w 4011346"/>
                <a:gd name="connsiteY333" fmla="*/ 233606 h 1855498"/>
                <a:gd name="connsiteX334" fmla="*/ 1321542 w 4011346"/>
                <a:gd name="connsiteY334" fmla="*/ 240280 h 1855498"/>
                <a:gd name="connsiteX335" fmla="*/ 1318205 w 4011346"/>
                <a:gd name="connsiteY335" fmla="*/ 327048 h 1855498"/>
                <a:gd name="connsiteX336" fmla="*/ 1358252 w 4011346"/>
                <a:gd name="connsiteY336" fmla="*/ 350409 h 1855498"/>
                <a:gd name="connsiteX337" fmla="*/ 1374938 w 4011346"/>
                <a:gd name="connsiteY337" fmla="*/ 380444 h 1855498"/>
                <a:gd name="connsiteX338" fmla="*/ 1384949 w 4011346"/>
                <a:gd name="connsiteY338" fmla="*/ 403804 h 1855498"/>
                <a:gd name="connsiteX339" fmla="*/ 1394961 w 4011346"/>
                <a:gd name="connsiteY339" fmla="*/ 453863 h 1855498"/>
                <a:gd name="connsiteX340" fmla="*/ 1384949 w 4011346"/>
                <a:gd name="connsiteY340" fmla="*/ 483898 h 1855498"/>
                <a:gd name="connsiteX341" fmla="*/ 1358252 w 4011346"/>
                <a:gd name="connsiteY341" fmla="*/ 450525 h 1855498"/>
                <a:gd name="connsiteX342" fmla="*/ 1361589 w 4011346"/>
                <a:gd name="connsiteY342" fmla="*/ 420490 h 1855498"/>
                <a:gd name="connsiteX343" fmla="*/ 1351577 w 4011346"/>
                <a:gd name="connsiteY343" fmla="*/ 380444 h 1855498"/>
                <a:gd name="connsiteX344" fmla="*/ 1328217 w 4011346"/>
                <a:gd name="connsiteY344" fmla="*/ 387118 h 1855498"/>
                <a:gd name="connsiteX345" fmla="*/ 1281495 w 4011346"/>
                <a:gd name="connsiteY345" fmla="*/ 350409 h 1855498"/>
                <a:gd name="connsiteX346" fmla="*/ 1241449 w 4011346"/>
                <a:gd name="connsiteY346" fmla="*/ 347071 h 1855498"/>
                <a:gd name="connsiteX347" fmla="*/ 1241449 w 4011346"/>
                <a:gd name="connsiteY347" fmla="*/ 393792 h 1855498"/>
                <a:gd name="connsiteX348" fmla="*/ 1201402 w 4011346"/>
                <a:gd name="connsiteY348" fmla="*/ 373769 h 1855498"/>
                <a:gd name="connsiteX349" fmla="*/ 1228100 w 4011346"/>
                <a:gd name="connsiteY349" fmla="*/ 423827 h 1855498"/>
                <a:gd name="connsiteX350" fmla="*/ 1258135 w 4011346"/>
                <a:gd name="connsiteY350" fmla="*/ 433839 h 1855498"/>
                <a:gd name="connsiteX351" fmla="*/ 1258135 w 4011346"/>
                <a:gd name="connsiteY351" fmla="*/ 453863 h 1855498"/>
                <a:gd name="connsiteX352" fmla="*/ 1198065 w 4011346"/>
                <a:gd name="connsiteY352" fmla="*/ 430502 h 1855498"/>
                <a:gd name="connsiteX353" fmla="*/ 1181379 w 4011346"/>
                <a:gd name="connsiteY353" fmla="*/ 430502 h 1855498"/>
                <a:gd name="connsiteX354" fmla="*/ 1178041 w 4011346"/>
                <a:gd name="connsiteY354" fmla="*/ 387118 h 1855498"/>
                <a:gd name="connsiteX355" fmla="*/ 1171367 w 4011346"/>
                <a:gd name="connsiteY355" fmla="*/ 300350 h 1855498"/>
                <a:gd name="connsiteX356" fmla="*/ 1161355 w 4011346"/>
                <a:gd name="connsiteY356" fmla="*/ 370432 h 1855498"/>
                <a:gd name="connsiteX357" fmla="*/ 1137995 w 4011346"/>
                <a:gd name="connsiteY357" fmla="*/ 400467 h 1855498"/>
                <a:gd name="connsiteX358" fmla="*/ 1158018 w 4011346"/>
                <a:gd name="connsiteY358" fmla="*/ 447188 h 1855498"/>
                <a:gd name="connsiteX359" fmla="*/ 1158018 w 4011346"/>
                <a:gd name="connsiteY359" fmla="*/ 480560 h 1855498"/>
                <a:gd name="connsiteX360" fmla="*/ 1141332 w 4011346"/>
                <a:gd name="connsiteY360" fmla="*/ 530619 h 1855498"/>
                <a:gd name="connsiteX361" fmla="*/ 1154681 w 4011346"/>
                <a:gd name="connsiteY361" fmla="*/ 563991 h 1855498"/>
                <a:gd name="connsiteX362" fmla="*/ 1184716 w 4011346"/>
                <a:gd name="connsiteY362" fmla="*/ 570665 h 1855498"/>
                <a:gd name="connsiteX363" fmla="*/ 1221425 w 4011346"/>
                <a:gd name="connsiteY363" fmla="*/ 577340 h 1855498"/>
                <a:gd name="connsiteX364" fmla="*/ 1241449 w 4011346"/>
                <a:gd name="connsiteY364" fmla="*/ 600700 h 1855498"/>
                <a:gd name="connsiteX365" fmla="*/ 1258135 w 4011346"/>
                <a:gd name="connsiteY365" fmla="*/ 644084 h 1855498"/>
                <a:gd name="connsiteX366" fmla="*/ 1258135 w 4011346"/>
                <a:gd name="connsiteY366" fmla="*/ 644084 h 1855498"/>
                <a:gd name="connsiteX367" fmla="*/ 1254798 w 4011346"/>
                <a:gd name="connsiteY367" fmla="*/ 677457 h 1855498"/>
                <a:gd name="connsiteX368" fmla="*/ 1274821 w 4011346"/>
                <a:gd name="connsiteY368" fmla="*/ 697480 h 1855498"/>
                <a:gd name="connsiteX369" fmla="*/ 1244786 w 4011346"/>
                <a:gd name="connsiteY369" fmla="*/ 704155 h 1855498"/>
                <a:gd name="connsiteX370" fmla="*/ 1224763 w 4011346"/>
                <a:gd name="connsiteY370" fmla="*/ 664108 h 1855498"/>
                <a:gd name="connsiteX371" fmla="*/ 1224763 w 4011346"/>
                <a:gd name="connsiteY371" fmla="*/ 624061 h 1855498"/>
                <a:gd name="connsiteX372" fmla="*/ 1194727 w 4011346"/>
                <a:gd name="connsiteY372" fmla="*/ 587352 h 1855498"/>
                <a:gd name="connsiteX373" fmla="*/ 1164692 w 4011346"/>
                <a:gd name="connsiteY373" fmla="*/ 630736 h 1855498"/>
                <a:gd name="connsiteX374" fmla="*/ 1178041 w 4011346"/>
                <a:gd name="connsiteY374" fmla="*/ 674119 h 1855498"/>
                <a:gd name="connsiteX375" fmla="*/ 1137995 w 4011346"/>
                <a:gd name="connsiteY375" fmla="*/ 730852 h 1855498"/>
                <a:gd name="connsiteX376" fmla="*/ 1097948 w 4011346"/>
                <a:gd name="connsiteY376" fmla="*/ 787585 h 1855498"/>
                <a:gd name="connsiteX377" fmla="*/ 1007843 w 4011346"/>
                <a:gd name="connsiteY377" fmla="*/ 750876 h 1855498"/>
                <a:gd name="connsiteX378" fmla="*/ 1074587 w 4011346"/>
                <a:gd name="connsiteY378" fmla="*/ 747538 h 1855498"/>
                <a:gd name="connsiteX379" fmla="*/ 1107960 w 4011346"/>
                <a:gd name="connsiteY379" fmla="*/ 684131 h 1855498"/>
                <a:gd name="connsiteX380" fmla="*/ 1121309 w 4011346"/>
                <a:gd name="connsiteY380" fmla="*/ 640747 h 1855498"/>
                <a:gd name="connsiteX381" fmla="*/ 1127983 w 4011346"/>
                <a:gd name="connsiteY381" fmla="*/ 607375 h 1855498"/>
                <a:gd name="connsiteX382" fmla="*/ 1117971 w 4011346"/>
                <a:gd name="connsiteY382" fmla="*/ 590689 h 1855498"/>
                <a:gd name="connsiteX383" fmla="*/ 1114634 w 4011346"/>
                <a:gd name="connsiteY383" fmla="*/ 540630 h 1855498"/>
                <a:gd name="connsiteX384" fmla="*/ 1104622 w 4011346"/>
                <a:gd name="connsiteY384" fmla="*/ 460537 h 1855498"/>
                <a:gd name="connsiteX385" fmla="*/ 1101285 w 4011346"/>
                <a:gd name="connsiteY385" fmla="*/ 400467 h 1855498"/>
                <a:gd name="connsiteX386" fmla="*/ 1124646 w 4011346"/>
                <a:gd name="connsiteY386" fmla="*/ 307025 h 1855498"/>
                <a:gd name="connsiteX387" fmla="*/ 1031203 w 4011346"/>
                <a:gd name="connsiteY387" fmla="*/ 297013 h 1855498"/>
                <a:gd name="connsiteX388" fmla="*/ 1014517 w 4011346"/>
                <a:gd name="connsiteY388" fmla="*/ 353746 h 1855498"/>
                <a:gd name="connsiteX389" fmla="*/ 1024529 w 4011346"/>
                <a:gd name="connsiteY389" fmla="*/ 400467 h 1855498"/>
                <a:gd name="connsiteX390" fmla="*/ 981145 w 4011346"/>
                <a:gd name="connsiteY390" fmla="*/ 453863 h 1855498"/>
                <a:gd name="connsiteX391" fmla="*/ 991157 w 4011346"/>
                <a:gd name="connsiteY391" fmla="*/ 490572 h 1855498"/>
                <a:gd name="connsiteX392" fmla="*/ 981145 w 4011346"/>
                <a:gd name="connsiteY392" fmla="*/ 537293 h 1855498"/>
                <a:gd name="connsiteX393" fmla="*/ 1001168 w 4011346"/>
                <a:gd name="connsiteY393" fmla="*/ 560654 h 1855498"/>
                <a:gd name="connsiteX394" fmla="*/ 1017854 w 4011346"/>
                <a:gd name="connsiteY394" fmla="*/ 607375 h 1855498"/>
                <a:gd name="connsiteX395" fmla="*/ 1047890 w 4011346"/>
                <a:gd name="connsiteY395" fmla="*/ 594026 h 1855498"/>
                <a:gd name="connsiteX396" fmla="*/ 1014517 w 4011346"/>
                <a:gd name="connsiteY396" fmla="*/ 647422 h 1855498"/>
                <a:gd name="connsiteX397" fmla="*/ 957784 w 4011346"/>
                <a:gd name="connsiteY397" fmla="*/ 594026 h 1855498"/>
                <a:gd name="connsiteX398" fmla="*/ 884365 w 4011346"/>
                <a:gd name="connsiteY398" fmla="*/ 557317 h 1855498"/>
                <a:gd name="connsiteX399" fmla="*/ 824295 w 4011346"/>
                <a:gd name="connsiteY399" fmla="*/ 533956 h 1855498"/>
                <a:gd name="connsiteX400" fmla="*/ 810946 w 4011346"/>
                <a:gd name="connsiteY400" fmla="*/ 570665 h 1855498"/>
                <a:gd name="connsiteX401" fmla="*/ 827633 w 4011346"/>
                <a:gd name="connsiteY401" fmla="*/ 607375 h 1855498"/>
                <a:gd name="connsiteX402" fmla="*/ 814284 w 4011346"/>
                <a:gd name="connsiteY402" fmla="*/ 630736 h 1855498"/>
                <a:gd name="connsiteX403" fmla="*/ 800935 w 4011346"/>
                <a:gd name="connsiteY403" fmla="*/ 647422 h 1855498"/>
                <a:gd name="connsiteX404" fmla="*/ 770900 w 4011346"/>
                <a:gd name="connsiteY404" fmla="*/ 590689 h 1855498"/>
                <a:gd name="connsiteX405" fmla="*/ 744202 w 4011346"/>
                <a:gd name="connsiteY405" fmla="*/ 627398 h 1855498"/>
                <a:gd name="connsiteX406" fmla="*/ 707492 w 4011346"/>
                <a:gd name="connsiteY406" fmla="*/ 620724 h 1855498"/>
                <a:gd name="connsiteX407" fmla="*/ 654097 w 4011346"/>
                <a:gd name="connsiteY407" fmla="*/ 657433 h 1855498"/>
                <a:gd name="connsiteX408" fmla="*/ 644085 w 4011346"/>
                <a:gd name="connsiteY408" fmla="*/ 634073 h 1855498"/>
                <a:gd name="connsiteX409" fmla="*/ 654097 w 4011346"/>
                <a:gd name="connsiteY409" fmla="*/ 597363 h 1855498"/>
                <a:gd name="connsiteX410" fmla="*/ 614050 w 4011346"/>
                <a:gd name="connsiteY410" fmla="*/ 634073 h 1855498"/>
                <a:gd name="connsiteX411" fmla="*/ 594027 w 4011346"/>
                <a:gd name="connsiteY411" fmla="*/ 634073 h 1855498"/>
                <a:gd name="connsiteX412" fmla="*/ 533957 w 4011346"/>
                <a:gd name="connsiteY412" fmla="*/ 667445 h 1855498"/>
                <a:gd name="connsiteX413" fmla="*/ 510596 w 4011346"/>
                <a:gd name="connsiteY413" fmla="*/ 690806 h 1855498"/>
                <a:gd name="connsiteX414" fmla="*/ 500584 w 4011346"/>
                <a:gd name="connsiteY414" fmla="*/ 737527 h 1855498"/>
                <a:gd name="connsiteX415" fmla="*/ 450526 w 4011346"/>
                <a:gd name="connsiteY415" fmla="*/ 724178 h 1855498"/>
                <a:gd name="connsiteX416" fmla="*/ 433840 w 4011346"/>
                <a:gd name="connsiteY416" fmla="*/ 687468 h 1855498"/>
                <a:gd name="connsiteX417" fmla="*/ 467212 w 4011346"/>
                <a:gd name="connsiteY417" fmla="*/ 657433 h 1855498"/>
                <a:gd name="connsiteX418" fmla="*/ 453863 w 4011346"/>
                <a:gd name="connsiteY418" fmla="*/ 634073 h 1855498"/>
                <a:gd name="connsiteX419" fmla="*/ 390456 w 4011346"/>
                <a:gd name="connsiteY419" fmla="*/ 604038 h 1855498"/>
                <a:gd name="connsiteX420" fmla="*/ 417154 w 4011346"/>
                <a:gd name="connsiteY420" fmla="*/ 654096 h 1855498"/>
                <a:gd name="connsiteX421" fmla="*/ 407142 w 4011346"/>
                <a:gd name="connsiteY421" fmla="*/ 697480 h 1855498"/>
                <a:gd name="connsiteX422" fmla="*/ 413817 w 4011346"/>
                <a:gd name="connsiteY422" fmla="*/ 734190 h 1855498"/>
                <a:gd name="connsiteX423" fmla="*/ 427165 w 4011346"/>
                <a:gd name="connsiteY423" fmla="*/ 757550 h 1855498"/>
                <a:gd name="connsiteX424" fmla="*/ 413817 w 4011346"/>
                <a:gd name="connsiteY424" fmla="*/ 787585 h 1855498"/>
                <a:gd name="connsiteX425" fmla="*/ 390456 w 4011346"/>
                <a:gd name="connsiteY425" fmla="*/ 764225 h 1855498"/>
                <a:gd name="connsiteX426" fmla="*/ 360421 w 4011346"/>
                <a:gd name="connsiteY426" fmla="*/ 760887 h 1855498"/>
                <a:gd name="connsiteX427" fmla="*/ 333723 w 4011346"/>
                <a:gd name="connsiteY427" fmla="*/ 800934 h 1855498"/>
                <a:gd name="connsiteX428" fmla="*/ 307025 w 4011346"/>
                <a:gd name="connsiteY428" fmla="*/ 820957 h 1855498"/>
                <a:gd name="connsiteX429" fmla="*/ 320374 w 4011346"/>
                <a:gd name="connsiteY429" fmla="*/ 847655 h 1855498"/>
                <a:gd name="connsiteX430" fmla="*/ 303688 w 4011346"/>
                <a:gd name="connsiteY430" fmla="*/ 871016 h 1855498"/>
                <a:gd name="connsiteX431" fmla="*/ 233606 w 4011346"/>
                <a:gd name="connsiteY431" fmla="*/ 834306 h 1855498"/>
                <a:gd name="connsiteX432" fmla="*/ 243618 w 4011346"/>
                <a:gd name="connsiteY432" fmla="*/ 884365 h 1855498"/>
                <a:gd name="connsiteX433" fmla="*/ 263641 w 4011346"/>
                <a:gd name="connsiteY433" fmla="*/ 904388 h 1855498"/>
                <a:gd name="connsiteX434" fmla="*/ 250292 w 4011346"/>
                <a:gd name="connsiteY434" fmla="*/ 917737 h 1855498"/>
                <a:gd name="connsiteX435" fmla="*/ 193560 w 4011346"/>
                <a:gd name="connsiteY435" fmla="*/ 881027 h 1855498"/>
                <a:gd name="connsiteX436" fmla="*/ 170199 w 4011346"/>
                <a:gd name="connsiteY436" fmla="*/ 840981 h 1855498"/>
                <a:gd name="connsiteX437" fmla="*/ 170199 w 4011346"/>
                <a:gd name="connsiteY437" fmla="*/ 794260 h 1855498"/>
                <a:gd name="connsiteX438" fmla="*/ 133490 w 4011346"/>
                <a:gd name="connsiteY438" fmla="*/ 717503 h 1855498"/>
                <a:gd name="connsiteX439" fmla="*/ 196897 w 4011346"/>
                <a:gd name="connsiteY439" fmla="*/ 747538 h 1855498"/>
                <a:gd name="connsiteX440" fmla="*/ 256967 w 4011346"/>
                <a:gd name="connsiteY440" fmla="*/ 777573 h 1855498"/>
                <a:gd name="connsiteX441" fmla="*/ 293676 w 4011346"/>
                <a:gd name="connsiteY441" fmla="*/ 780911 h 1855498"/>
                <a:gd name="connsiteX442" fmla="*/ 327049 w 4011346"/>
                <a:gd name="connsiteY442" fmla="*/ 750876 h 1855498"/>
                <a:gd name="connsiteX443" fmla="*/ 343735 w 4011346"/>
                <a:gd name="connsiteY443" fmla="*/ 714166 h 1855498"/>
                <a:gd name="connsiteX444" fmla="*/ 333723 w 4011346"/>
                <a:gd name="connsiteY444" fmla="*/ 664108 h 1855498"/>
                <a:gd name="connsiteX445" fmla="*/ 290339 w 4011346"/>
                <a:gd name="connsiteY445" fmla="*/ 644084 h 1855498"/>
                <a:gd name="connsiteX446" fmla="*/ 236944 w 4011346"/>
                <a:gd name="connsiteY446" fmla="*/ 597363 h 1855498"/>
                <a:gd name="connsiteX447" fmla="*/ 133490 w 4011346"/>
                <a:gd name="connsiteY447" fmla="*/ 540630 h 1855498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768731 w 4011346"/>
                <a:gd name="connsiteY320" fmla="*/ 3338 h 1855498"/>
                <a:gd name="connsiteX321" fmla="*/ 1698648 w 4011346"/>
                <a:gd name="connsiteY321" fmla="*/ 40047 h 1855498"/>
                <a:gd name="connsiteX322" fmla="*/ 1685300 w 4011346"/>
                <a:gd name="connsiteY322" fmla="*/ 0 h 1855498"/>
                <a:gd name="connsiteX323" fmla="*/ 1615218 w 4011346"/>
                <a:gd name="connsiteY323" fmla="*/ 3338 h 1855498"/>
                <a:gd name="connsiteX324" fmla="*/ 1638579 w 4011346"/>
                <a:gd name="connsiteY324" fmla="*/ 33373 h 1855498"/>
                <a:gd name="connsiteX325" fmla="*/ 1528449 w 4011346"/>
                <a:gd name="connsiteY325" fmla="*/ 60069 h 1855498"/>
                <a:gd name="connsiteX326" fmla="*/ 1465043 w 4011346"/>
                <a:gd name="connsiteY326" fmla="*/ 143500 h 1855498"/>
                <a:gd name="connsiteX327" fmla="*/ 1448357 w 4011346"/>
                <a:gd name="connsiteY327" fmla="*/ 170198 h 1855498"/>
                <a:gd name="connsiteX328" fmla="*/ 1481729 w 4011346"/>
                <a:gd name="connsiteY328" fmla="*/ 203571 h 1855498"/>
                <a:gd name="connsiteX329" fmla="*/ 1481729 w 4011346"/>
                <a:gd name="connsiteY329" fmla="*/ 233606 h 1855498"/>
                <a:gd name="connsiteX330" fmla="*/ 1458368 w 4011346"/>
                <a:gd name="connsiteY330" fmla="*/ 236943 h 1855498"/>
                <a:gd name="connsiteX331" fmla="*/ 1458368 w 4011346"/>
                <a:gd name="connsiteY331" fmla="*/ 216919 h 1855498"/>
                <a:gd name="connsiteX332" fmla="*/ 1418322 w 4011346"/>
                <a:gd name="connsiteY332" fmla="*/ 226931 h 1855498"/>
                <a:gd name="connsiteX333" fmla="*/ 1368263 w 4011346"/>
                <a:gd name="connsiteY333" fmla="*/ 233606 h 1855498"/>
                <a:gd name="connsiteX334" fmla="*/ 1321542 w 4011346"/>
                <a:gd name="connsiteY334" fmla="*/ 240280 h 1855498"/>
                <a:gd name="connsiteX335" fmla="*/ 1318205 w 4011346"/>
                <a:gd name="connsiteY335" fmla="*/ 327048 h 1855498"/>
                <a:gd name="connsiteX336" fmla="*/ 1358252 w 4011346"/>
                <a:gd name="connsiteY336" fmla="*/ 350409 h 1855498"/>
                <a:gd name="connsiteX337" fmla="*/ 1374938 w 4011346"/>
                <a:gd name="connsiteY337" fmla="*/ 380444 h 1855498"/>
                <a:gd name="connsiteX338" fmla="*/ 1384949 w 4011346"/>
                <a:gd name="connsiteY338" fmla="*/ 403804 h 1855498"/>
                <a:gd name="connsiteX339" fmla="*/ 1394961 w 4011346"/>
                <a:gd name="connsiteY339" fmla="*/ 453863 h 1855498"/>
                <a:gd name="connsiteX340" fmla="*/ 1384949 w 4011346"/>
                <a:gd name="connsiteY340" fmla="*/ 483898 h 1855498"/>
                <a:gd name="connsiteX341" fmla="*/ 1358252 w 4011346"/>
                <a:gd name="connsiteY341" fmla="*/ 450525 h 1855498"/>
                <a:gd name="connsiteX342" fmla="*/ 1361589 w 4011346"/>
                <a:gd name="connsiteY342" fmla="*/ 420490 h 1855498"/>
                <a:gd name="connsiteX343" fmla="*/ 1351577 w 4011346"/>
                <a:gd name="connsiteY343" fmla="*/ 380444 h 1855498"/>
                <a:gd name="connsiteX344" fmla="*/ 1328217 w 4011346"/>
                <a:gd name="connsiteY344" fmla="*/ 387118 h 1855498"/>
                <a:gd name="connsiteX345" fmla="*/ 1281495 w 4011346"/>
                <a:gd name="connsiteY345" fmla="*/ 350409 h 1855498"/>
                <a:gd name="connsiteX346" fmla="*/ 1241449 w 4011346"/>
                <a:gd name="connsiteY346" fmla="*/ 347071 h 1855498"/>
                <a:gd name="connsiteX347" fmla="*/ 1241449 w 4011346"/>
                <a:gd name="connsiteY347" fmla="*/ 393792 h 1855498"/>
                <a:gd name="connsiteX348" fmla="*/ 1201402 w 4011346"/>
                <a:gd name="connsiteY348" fmla="*/ 373769 h 1855498"/>
                <a:gd name="connsiteX349" fmla="*/ 1228100 w 4011346"/>
                <a:gd name="connsiteY349" fmla="*/ 423827 h 1855498"/>
                <a:gd name="connsiteX350" fmla="*/ 1258135 w 4011346"/>
                <a:gd name="connsiteY350" fmla="*/ 433839 h 1855498"/>
                <a:gd name="connsiteX351" fmla="*/ 1258135 w 4011346"/>
                <a:gd name="connsiteY351" fmla="*/ 453863 h 1855498"/>
                <a:gd name="connsiteX352" fmla="*/ 1198065 w 4011346"/>
                <a:gd name="connsiteY352" fmla="*/ 430502 h 1855498"/>
                <a:gd name="connsiteX353" fmla="*/ 1181379 w 4011346"/>
                <a:gd name="connsiteY353" fmla="*/ 430502 h 1855498"/>
                <a:gd name="connsiteX354" fmla="*/ 1178041 w 4011346"/>
                <a:gd name="connsiteY354" fmla="*/ 387118 h 1855498"/>
                <a:gd name="connsiteX355" fmla="*/ 1171367 w 4011346"/>
                <a:gd name="connsiteY355" fmla="*/ 300350 h 1855498"/>
                <a:gd name="connsiteX356" fmla="*/ 1161355 w 4011346"/>
                <a:gd name="connsiteY356" fmla="*/ 370432 h 1855498"/>
                <a:gd name="connsiteX357" fmla="*/ 1137995 w 4011346"/>
                <a:gd name="connsiteY357" fmla="*/ 400467 h 1855498"/>
                <a:gd name="connsiteX358" fmla="*/ 1158018 w 4011346"/>
                <a:gd name="connsiteY358" fmla="*/ 447188 h 1855498"/>
                <a:gd name="connsiteX359" fmla="*/ 1158018 w 4011346"/>
                <a:gd name="connsiteY359" fmla="*/ 480560 h 1855498"/>
                <a:gd name="connsiteX360" fmla="*/ 1141332 w 4011346"/>
                <a:gd name="connsiteY360" fmla="*/ 530619 h 1855498"/>
                <a:gd name="connsiteX361" fmla="*/ 1154681 w 4011346"/>
                <a:gd name="connsiteY361" fmla="*/ 563991 h 1855498"/>
                <a:gd name="connsiteX362" fmla="*/ 1184716 w 4011346"/>
                <a:gd name="connsiteY362" fmla="*/ 570665 h 1855498"/>
                <a:gd name="connsiteX363" fmla="*/ 1221425 w 4011346"/>
                <a:gd name="connsiteY363" fmla="*/ 577340 h 1855498"/>
                <a:gd name="connsiteX364" fmla="*/ 1241449 w 4011346"/>
                <a:gd name="connsiteY364" fmla="*/ 600700 h 1855498"/>
                <a:gd name="connsiteX365" fmla="*/ 1258135 w 4011346"/>
                <a:gd name="connsiteY365" fmla="*/ 644084 h 1855498"/>
                <a:gd name="connsiteX366" fmla="*/ 1258135 w 4011346"/>
                <a:gd name="connsiteY366" fmla="*/ 644084 h 1855498"/>
                <a:gd name="connsiteX367" fmla="*/ 1254798 w 4011346"/>
                <a:gd name="connsiteY367" fmla="*/ 677457 h 1855498"/>
                <a:gd name="connsiteX368" fmla="*/ 1274821 w 4011346"/>
                <a:gd name="connsiteY368" fmla="*/ 697480 h 1855498"/>
                <a:gd name="connsiteX369" fmla="*/ 1244786 w 4011346"/>
                <a:gd name="connsiteY369" fmla="*/ 704155 h 1855498"/>
                <a:gd name="connsiteX370" fmla="*/ 1224763 w 4011346"/>
                <a:gd name="connsiteY370" fmla="*/ 664108 h 1855498"/>
                <a:gd name="connsiteX371" fmla="*/ 1224763 w 4011346"/>
                <a:gd name="connsiteY371" fmla="*/ 624061 h 1855498"/>
                <a:gd name="connsiteX372" fmla="*/ 1194727 w 4011346"/>
                <a:gd name="connsiteY372" fmla="*/ 587352 h 1855498"/>
                <a:gd name="connsiteX373" fmla="*/ 1164692 w 4011346"/>
                <a:gd name="connsiteY373" fmla="*/ 630736 h 1855498"/>
                <a:gd name="connsiteX374" fmla="*/ 1178041 w 4011346"/>
                <a:gd name="connsiteY374" fmla="*/ 674119 h 1855498"/>
                <a:gd name="connsiteX375" fmla="*/ 1137995 w 4011346"/>
                <a:gd name="connsiteY375" fmla="*/ 730852 h 1855498"/>
                <a:gd name="connsiteX376" fmla="*/ 1097948 w 4011346"/>
                <a:gd name="connsiteY376" fmla="*/ 787585 h 1855498"/>
                <a:gd name="connsiteX377" fmla="*/ 1007843 w 4011346"/>
                <a:gd name="connsiteY377" fmla="*/ 750876 h 1855498"/>
                <a:gd name="connsiteX378" fmla="*/ 1074587 w 4011346"/>
                <a:gd name="connsiteY378" fmla="*/ 747538 h 1855498"/>
                <a:gd name="connsiteX379" fmla="*/ 1107960 w 4011346"/>
                <a:gd name="connsiteY379" fmla="*/ 684131 h 1855498"/>
                <a:gd name="connsiteX380" fmla="*/ 1121309 w 4011346"/>
                <a:gd name="connsiteY380" fmla="*/ 640747 h 1855498"/>
                <a:gd name="connsiteX381" fmla="*/ 1127983 w 4011346"/>
                <a:gd name="connsiteY381" fmla="*/ 607375 h 1855498"/>
                <a:gd name="connsiteX382" fmla="*/ 1117971 w 4011346"/>
                <a:gd name="connsiteY382" fmla="*/ 590689 h 1855498"/>
                <a:gd name="connsiteX383" fmla="*/ 1114634 w 4011346"/>
                <a:gd name="connsiteY383" fmla="*/ 540630 h 1855498"/>
                <a:gd name="connsiteX384" fmla="*/ 1104622 w 4011346"/>
                <a:gd name="connsiteY384" fmla="*/ 460537 h 1855498"/>
                <a:gd name="connsiteX385" fmla="*/ 1101285 w 4011346"/>
                <a:gd name="connsiteY385" fmla="*/ 400467 h 1855498"/>
                <a:gd name="connsiteX386" fmla="*/ 1124646 w 4011346"/>
                <a:gd name="connsiteY386" fmla="*/ 307025 h 1855498"/>
                <a:gd name="connsiteX387" fmla="*/ 1031203 w 4011346"/>
                <a:gd name="connsiteY387" fmla="*/ 297013 h 1855498"/>
                <a:gd name="connsiteX388" fmla="*/ 1014517 w 4011346"/>
                <a:gd name="connsiteY388" fmla="*/ 353746 h 1855498"/>
                <a:gd name="connsiteX389" fmla="*/ 1024529 w 4011346"/>
                <a:gd name="connsiteY389" fmla="*/ 400467 h 1855498"/>
                <a:gd name="connsiteX390" fmla="*/ 981145 w 4011346"/>
                <a:gd name="connsiteY390" fmla="*/ 453863 h 1855498"/>
                <a:gd name="connsiteX391" fmla="*/ 991157 w 4011346"/>
                <a:gd name="connsiteY391" fmla="*/ 490572 h 1855498"/>
                <a:gd name="connsiteX392" fmla="*/ 981145 w 4011346"/>
                <a:gd name="connsiteY392" fmla="*/ 537293 h 1855498"/>
                <a:gd name="connsiteX393" fmla="*/ 1001168 w 4011346"/>
                <a:gd name="connsiteY393" fmla="*/ 560654 h 1855498"/>
                <a:gd name="connsiteX394" fmla="*/ 1017854 w 4011346"/>
                <a:gd name="connsiteY394" fmla="*/ 607375 h 1855498"/>
                <a:gd name="connsiteX395" fmla="*/ 1047890 w 4011346"/>
                <a:gd name="connsiteY395" fmla="*/ 594026 h 1855498"/>
                <a:gd name="connsiteX396" fmla="*/ 1014517 w 4011346"/>
                <a:gd name="connsiteY396" fmla="*/ 647422 h 1855498"/>
                <a:gd name="connsiteX397" fmla="*/ 957784 w 4011346"/>
                <a:gd name="connsiteY397" fmla="*/ 594026 h 1855498"/>
                <a:gd name="connsiteX398" fmla="*/ 884365 w 4011346"/>
                <a:gd name="connsiteY398" fmla="*/ 557317 h 1855498"/>
                <a:gd name="connsiteX399" fmla="*/ 824295 w 4011346"/>
                <a:gd name="connsiteY399" fmla="*/ 533956 h 1855498"/>
                <a:gd name="connsiteX400" fmla="*/ 810946 w 4011346"/>
                <a:gd name="connsiteY400" fmla="*/ 570665 h 1855498"/>
                <a:gd name="connsiteX401" fmla="*/ 827633 w 4011346"/>
                <a:gd name="connsiteY401" fmla="*/ 607375 h 1855498"/>
                <a:gd name="connsiteX402" fmla="*/ 814284 w 4011346"/>
                <a:gd name="connsiteY402" fmla="*/ 630736 h 1855498"/>
                <a:gd name="connsiteX403" fmla="*/ 800935 w 4011346"/>
                <a:gd name="connsiteY403" fmla="*/ 647422 h 1855498"/>
                <a:gd name="connsiteX404" fmla="*/ 770900 w 4011346"/>
                <a:gd name="connsiteY404" fmla="*/ 590689 h 1855498"/>
                <a:gd name="connsiteX405" fmla="*/ 744202 w 4011346"/>
                <a:gd name="connsiteY405" fmla="*/ 627398 h 1855498"/>
                <a:gd name="connsiteX406" fmla="*/ 707492 w 4011346"/>
                <a:gd name="connsiteY406" fmla="*/ 620724 h 1855498"/>
                <a:gd name="connsiteX407" fmla="*/ 654097 w 4011346"/>
                <a:gd name="connsiteY407" fmla="*/ 657433 h 1855498"/>
                <a:gd name="connsiteX408" fmla="*/ 644085 w 4011346"/>
                <a:gd name="connsiteY408" fmla="*/ 634073 h 1855498"/>
                <a:gd name="connsiteX409" fmla="*/ 654097 w 4011346"/>
                <a:gd name="connsiteY409" fmla="*/ 597363 h 1855498"/>
                <a:gd name="connsiteX410" fmla="*/ 614050 w 4011346"/>
                <a:gd name="connsiteY410" fmla="*/ 634073 h 1855498"/>
                <a:gd name="connsiteX411" fmla="*/ 594027 w 4011346"/>
                <a:gd name="connsiteY411" fmla="*/ 634073 h 1855498"/>
                <a:gd name="connsiteX412" fmla="*/ 533957 w 4011346"/>
                <a:gd name="connsiteY412" fmla="*/ 667445 h 1855498"/>
                <a:gd name="connsiteX413" fmla="*/ 510596 w 4011346"/>
                <a:gd name="connsiteY413" fmla="*/ 690806 h 1855498"/>
                <a:gd name="connsiteX414" fmla="*/ 500584 w 4011346"/>
                <a:gd name="connsiteY414" fmla="*/ 737527 h 1855498"/>
                <a:gd name="connsiteX415" fmla="*/ 450526 w 4011346"/>
                <a:gd name="connsiteY415" fmla="*/ 724178 h 1855498"/>
                <a:gd name="connsiteX416" fmla="*/ 433840 w 4011346"/>
                <a:gd name="connsiteY416" fmla="*/ 687468 h 1855498"/>
                <a:gd name="connsiteX417" fmla="*/ 467212 w 4011346"/>
                <a:gd name="connsiteY417" fmla="*/ 657433 h 1855498"/>
                <a:gd name="connsiteX418" fmla="*/ 453863 w 4011346"/>
                <a:gd name="connsiteY418" fmla="*/ 634073 h 1855498"/>
                <a:gd name="connsiteX419" fmla="*/ 390456 w 4011346"/>
                <a:gd name="connsiteY419" fmla="*/ 604038 h 1855498"/>
                <a:gd name="connsiteX420" fmla="*/ 417154 w 4011346"/>
                <a:gd name="connsiteY420" fmla="*/ 654096 h 1855498"/>
                <a:gd name="connsiteX421" fmla="*/ 407142 w 4011346"/>
                <a:gd name="connsiteY421" fmla="*/ 697480 h 1855498"/>
                <a:gd name="connsiteX422" fmla="*/ 413817 w 4011346"/>
                <a:gd name="connsiteY422" fmla="*/ 734190 h 1855498"/>
                <a:gd name="connsiteX423" fmla="*/ 427165 w 4011346"/>
                <a:gd name="connsiteY423" fmla="*/ 757550 h 1855498"/>
                <a:gd name="connsiteX424" fmla="*/ 413817 w 4011346"/>
                <a:gd name="connsiteY424" fmla="*/ 787585 h 1855498"/>
                <a:gd name="connsiteX425" fmla="*/ 390456 w 4011346"/>
                <a:gd name="connsiteY425" fmla="*/ 764225 h 1855498"/>
                <a:gd name="connsiteX426" fmla="*/ 360421 w 4011346"/>
                <a:gd name="connsiteY426" fmla="*/ 760887 h 1855498"/>
                <a:gd name="connsiteX427" fmla="*/ 333723 w 4011346"/>
                <a:gd name="connsiteY427" fmla="*/ 800934 h 1855498"/>
                <a:gd name="connsiteX428" fmla="*/ 307025 w 4011346"/>
                <a:gd name="connsiteY428" fmla="*/ 820957 h 1855498"/>
                <a:gd name="connsiteX429" fmla="*/ 320374 w 4011346"/>
                <a:gd name="connsiteY429" fmla="*/ 847655 h 1855498"/>
                <a:gd name="connsiteX430" fmla="*/ 303688 w 4011346"/>
                <a:gd name="connsiteY430" fmla="*/ 871016 h 1855498"/>
                <a:gd name="connsiteX431" fmla="*/ 233606 w 4011346"/>
                <a:gd name="connsiteY431" fmla="*/ 834306 h 1855498"/>
                <a:gd name="connsiteX432" fmla="*/ 243618 w 4011346"/>
                <a:gd name="connsiteY432" fmla="*/ 884365 h 1855498"/>
                <a:gd name="connsiteX433" fmla="*/ 263641 w 4011346"/>
                <a:gd name="connsiteY433" fmla="*/ 904388 h 1855498"/>
                <a:gd name="connsiteX434" fmla="*/ 250292 w 4011346"/>
                <a:gd name="connsiteY434" fmla="*/ 917737 h 1855498"/>
                <a:gd name="connsiteX435" fmla="*/ 193560 w 4011346"/>
                <a:gd name="connsiteY435" fmla="*/ 881027 h 1855498"/>
                <a:gd name="connsiteX436" fmla="*/ 170199 w 4011346"/>
                <a:gd name="connsiteY436" fmla="*/ 840981 h 1855498"/>
                <a:gd name="connsiteX437" fmla="*/ 170199 w 4011346"/>
                <a:gd name="connsiteY437" fmla="*/ 794260 h 1855498"/>
                <a:gd name="connsiteX438" fmla="*/ 133490 w 4011346"/>
                <a:gd name="connsiteY438" fmla="*/ 717503 h 1855498"/>
                <a:gd name="connsiteX439" fmla="*/ 196897 w 4011346"/>
                <a:gd name="connsiteY439" fmla="*/ 747538 h 1855498"/>
                <a:gd name="connsiteX440" fmla="*/ 256967 w 4011346"/>
                <a:gd name="connsiteY440" fmla="*/ 777573 h 1855498"/>
                <a:gd name="connsiteX441" fmla="*/ 293676 w 4011346"/>
                <a:gd name="connsiteY441" fmla="*/ 780911 h 1855498"/>
                <a:gd name="connsiteX442" fmla="*/ 327049 w 4011346"/>
                <a:gd name="connsiteY442" fmla="*/ 750876 h 1855498"/>
                <a:gd name="connsiteX443" fmla="*/ 343735 w 4011346"/>
                <a:gd name="connsiteY443" fmla="*/ 714166 h 1855498"/>
                <a:gd name="connsiteX444" fmla="*/ 333723 w 4011346"/>
                <a:gd name="connsiteY444" fmla="*/ 664108 h 1855498"/>
                <a:gd name="connsiteX445" fmla="*/ 290339 w 4011346"/>
                <a:gd name="connsiteY445" fmla="*/ 644084 h 1855498"/>
                <a:gd name="connsiteX446" fmla="*/ 236944 w 4011346"/>
                <a:gd name="connsiteY446" fmla="*/ 597363 h 1855498"/>
                <a:gd name="connsiteX447" fmla="*/ 133490 w 4011346"/>
                <a:gd name="connsiteY447" fmla="*/ 540630 h 1855498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768731 w 4011346"/>
                <a:gd name="connsiteY320" fmla="*/ 3338 h 1855498"/>
                <a:gd name="connsiteX321" fmla="*/ 1705322 w 4011346"/>
                <a:gd name="connsiteY321" fmla="*/ 26698 h 1855498"/>
                <a:gd name="connsiteX322" fmla="*/ 1685300 w 4011346"/>
                <a:gd name="connsiteY322" fmla="*/ 0 h 1855498"/>
                <a:gd name="connsiteX323" fmla="*/ 1615218 w 4011346"/>
                <a:gd name="connsiteY323" fmla="*/ 3338 h 1855498"/>
                <a:gd name="connsiteX324" fmla="*/ 1638579 w 4011346"/>
                <a:gd name="connsiteY324" fmla="*/ 33373 h 1855498"/>
                <a:gd name="connsiteX325" fmla="*/ 1528449 w 4011346"/>
                <a:gd name="connsiteY325" fmla="*/ 60069 h 1855498"/>
                <a:gd name="connsiteX326" fmla="*/ 1465043 w 4011346"/>
                <a:gd name="connsiteY326" fmla="*/ 143500 h 1855498"/>
                <a:gd name="connsiteX327" fmla="*/ 1448357 w 4011346"/>
                <a:gd name="connsiteY327" fmla="*/ 170198 h 1855498"/>
                <a:gd name="connsiteX328" fmla="*/ 1481729 w 4011346"/>
                <a:gd name="connsiteY328" fmla="*/ 203571 h 1855498"/>
                <a:gd name="connsiteX329" fmla="*/ 1481729 w 4011346"/>
                <a:gd name="connsiteY329" fmla="*/ 233606 h 1855498"/>
                <a:gd name="connsiteX330" fmla="*/ 1458368 w 4011346"/>
                <a:gd name="connsiteY330" fmla="*/ 236943 h 1855498"/>
                <a:gd name="connsiteX331" fmla="*/ 1458368 w 4011346"/>
                <a:gd name="connsiteY331" fmla="*/ 216919 h 1855498"/>
                <a:gd name="connsiteX332" fmla="*/ 1418322 w 4011346"/>
                <a:gd name="connsiteY332" fmla="*/ 226931 h 1855498"/>
                <a:gd name="connsiteX333" fmla="*/ 1368263 w 4011346"/>
                <a:gd name="connsiteY333" fmla="*/ 233606 h 1855498"/>
                <a:gd name="connsiteX334" fmla="*/ 1321542 w 4011346"/>
                <a:gd name="connsiteY334" fmla="*/ 240280 h 1855498"/>
                <a:gd name="connsiteX335" fmla="*/ 1318205 w 4011346"/>
                <a:gd name="connsiteY335" fmla="*/ 327048 h 1855498"/>
                <a:gd name="connsiteX336" fmla="*/ 1358252 w 4011346"/>
                <a:gd name="connsiteY336" fmla="*/ 350409 h 1855498"/>
                <a:gd name="connsiteX337" fmla="*/ 1374938 w 4011346"/>
                <a:gd name="connsiteY337" fmla="*/ 380444 h 1855498"/>
                <a:gd name="connsiteX338" fmla="*/ 1384949 w 4011346"/>
                <a:gd name="connsiteY338" fmla="*/ 403804 h 1855498"/>
                <a:gd name="connsiteX339" fmla="*/ 1394961 w 4011346"/>
                <a:gd name="connsiteY339" fmla="*/ 453863 h 1855498"/>
                <a:gd name="connsiteX340" fmla="*/ 1384949 w 4011346"/>
                <a:gd name="connsiteY340" fmla="*/ 483898 h 1855498"/>
                <a:gd name="connsiteX341" fmla="*/ 1358252 w 4011346"/>
                <a:gd name="connsiteY341" fmla="*/ 450525 h 1855498"/>
                <a:gd name="connsiteX342" fmla="*/ 1361589 w 4011346"/>
                <a:gd name="connsiteY342" fmla="*/ 420490 h 1855498"/>
                <a:gd name="connsiteX343" fmla="*/ 1351577 w 4011346"/>
                <a:gd name="connsiteY343" fmla="*/ 380444 h 1855498"/>
                <a:gd name="connsiteX344" fmla="*/ 1328217 w 4011346"/>
                <a:gd name="connsiteY344" fmla="*/ 387118 h 1855498"/>
                <a:gd name="connsiteX345" fmla="*/ 1281495 w 4011346"/>
                <a:gd name="connsiteY345" fmla="*/ 350409 h 1855498"/>
                <a:gd name="connsiteX346" fmla="*/ 1241449 w 4011346"/>
                <a:gd name="connsiteY346" fmla="*/ 347071 h 1855498"/>
                <a:gd name="connsiteX347" fmla="*/ 1241449 w 4011346"/>
                <a:gd name="connsiteY347" fmla="*/ 393792 h 1855498"/>
                <a:gd name="connsiteX348" fmla="*/ 1201402 w 4011346"/>
                <a:gd name="connsiteY348" fmla="*/ 373769 h 1855498"/>
                <a:gd name="connsiteX349" fmla="*/ 1228100 w 4011346"/>
                <a:gd name="connsiteY349" fmla="*/ 423827 h 1855498"/>
                <a:gd name="connsiteX350" fmla="*/ 1258135 w 4011346"/>
                <a:gd name="connsiteY350" fmla="*/ 433839 h 1855498"/>
                <a:gd name="connsiteX351" fmla="*/ 1258135 w 4011346"/>
                <a:gd name="connsiteY351" fmla="*/ 453863 h 1855498"/>
                <a:gd name="connsiteX352" fmla="*/ 1198065 w 4011346"/>
                <a:gd name="connsiteY352" fmla="*/ 430502 h 1855498"/>
                <a:gd name="connsiteX353" fmla="*/ 1181379 w 4011346"/>
                <a:gd name="connsiteY353" fmla="*/ 430502 h 1855498"/>
                <a:gd name="connsiteX354" fmla="*/ 1178041 w 4011346"/>
                <a:gd name="connsiteY354" fmla="*/ 387118 h 1855498"/>
                <a:gd name="connsiteX355" fmla="*/ 1171367 w 4011346"/>
                <a:gd name="connsiteY355" fmla="*/ 300350 h 1855498"/>
                <a:gd name="connsiteX356" fmla="*/ 1161355 w 4011346"/>
                <a:gd name="connsiteY356" fmla="*/ 370432 h 1855498"/>
                <a:gd name="connsiteX357" fmla="*/ 1137995 w 4011346"/>
                <a:gd name="connsiteY357" fmla="*/ 400467 h 1855498"/>
                <a:gd name="connsiteX358" fmla="*/ 1158018 w 4011346"/>
                <a:gd name="connsiteY358" fmla="*/ 447188 h 1855498"/>
                <a:gd name="connsiteX359" fmla="*/ 1158018 w 4011346"/>
                <a:gd name="connsiteY359" fmla="*/ 480560 h 1855498"/>
                <a:gd name="connsiteX360" fmla="*/ 1141332 w 4011346"/>
                <a:gd name="connsiteY360" fmla="*/ 530619 h 1855498"/>
                <a:gd name="connsiteX361" fmla="*/ 1154681 w 4011346"/>
                <a:gd name="connsiteY361" fmla="*/ 563991 h 1855498"/>
                <a:gd name="connsiteX362" fmla="*/ 1184716 w 4011346"/>
                <a:gd name="connsiteY362" fmla="*/ 570665 h 1855498"/>
                <a:gd name="connsiteX363" fmla="*/ 1221425 w 4011346"/>
                <a:gd name="connsiteY363" fmla="*/ 577340 h 1855498"/>
                <a:gd name="connsiteX364" fmla="*/ 1241449 w 4011346"/>
                <a:gd name="connsiteY364" fmla="*/ 600700 h 1855498"/>
                <a:gd name="connsiteX365" fmla="*/ 1258135 w 4011346"/>
                <a:gd name="connsiteY365" fmla="*/ 644084 h 1855498"/>
                <a:gd name="connsiteX366" fmla="*/ 1258135 w 4011346"/>
                <a:gd name="connsiteY366" fmla="*/ 644084 h 1855498"/>
                <a:gd name="connsiteX367" fmla="*/ 1254798 w 4011346"/>
                <a:gd name="connsiteY367" fmla="*/ 677457 h 1855498"/>
                <a:gd name="connsiteX368" fmla="*/ 1274821 w 4011346"/>
                <a:gd name="connsiteY368" fmla="*/ 697480 h 1855498"/>
                <a:gd name="connsiteX369" fmla="*/ 1244786 w 4011346"/>
                <a:gd name="connsiteY369" fmla="*/ 704155 h 1855498"/>
                <a:gd name="connsiteX370" fmla="*/ 1224763 w 4011346"/>
                <a:gd name="connsiteY370" fmla="*/ 664108 h 1855498"/>
                <a:gd name="connsiteX371" fmla="*/ 1224763 w 4011346"/>
                <a:gd name="connsiteY371" fmla="*/ 624061 h 1855498"/>
                <a:gd name="connsiteX372" fmla="*/ 1194727 w 4011346"/>
                <a:gd name="connsiteY372" fmla="*/ 587352 h 1855498"/>
                <a:gd name="connsiteX373" fmla="*/ 1164692 w 4011346"/>
                <a:gd name="connsiteY373" fmla="*/ 630736 h 1855498"/>
                <a:gd name="connsiteX374" fmla="*/ 1178041 w 4011346"/>
                <a:gd name="connsiteY374" fmla="*/ 674119 h 1855498"/>
                <a:gd name="connsiteX375" fmla="*/ 1137995 w 4011346"/>
                <a:gd name="connsiteY375" fmla="*/ 730852 h 1855498"/>
                <a:gd name="connsiteX376" fmla="*/ 1097948 w 4011346"/>
                <a:gd name="connsiteY376" fmla="*/ 787585 h 1855498"/>
                <a:gd name="connsiteX377" fmla="*/ 1007843 w 4011346"/>
                <a:gd name="connsiteY377" fmla="*/ 750876 h 1855498"/>
                <a:gd name="connsiteX378" fmla="*/ 1074587 w 4011346"/>
                <a:gd name="connsiteY378" fmla="*/ 747538 h 1855498"/>
                <a:gd name="connsiteX379" fmla="*/ 1107960 w 4011346"/>
                <a:gd name="connsiteY379" fmla="*/ 684131 h 1855498"/>
                <a:gd name="connsiteX380" fmla="*/ 1121309 w 4011346"/>
                <a:gd name="connsiteY380" fmla="*/ 640747 h 1855498"/>
                <a:gd name="connsiteX381" fmla="*/ 1127983 w 4011346"/>
                <a:gd name="connsiteY381" fmla="*/ 607375 h 1855498"/>
                <a:gd name="connsiteX382" fmla="*/ 1117971 w 4011346"/>
                <a:gd name="connsiteY382" fmla="*/ 590689 h 1855498"/>
                <a:gd name="connsiteX383" fmla="*/ 1114634 w 4011346"/>
                <a:gd name="connsiteY383" fmla="*/ 540630 h 1855498"/>
                <a:gd name="connsiteX384" fmla="*/ 1104622 w 4011346"/>
                <a:gd name="connsiteY384" fmla="*/ 460537 h 1855498"/>
                <a:gd name="connsiteX385" fmla="*/ 1101285 w 4011346"/>
                <a:gd name="connsiteY385" fmla="*/ 400467 h 1855498"/>
                <a:gd name="connsiteX386" fmla="*/ 1124646 w 4011346"/>
                <a:gd name="connsiteY386" fmla="*/ 307025 h 1855498"/>
                <a:gd name="connsiteX387" fmla="*/ 1031203 w 4011346"/>
                <a:gd name="connsiteY387" fmla="*/ 297013 h 1855498"/>
                <a:gd name="connsiteX388" fmla="*/ 1014517 w 4011346"/>
                <a:gd name="connsiteY388" fmla="*/ 353746 h 1855498"/>
                <a:gd name="connsiteX389" fmla="*/ 1024529 w 4011346"/>
                <a:gd name="connsiteY389" fmla="*/ 400467 h 1855498"/>
                <a:gd name="connsiteX390" fmla="*/ 981145 w 4011346"/>
                <a:gd name="connsiteY390" fmla="*/ 453863 h 1855498"/>
                <a:gd name="connsiteX391" fmla="*/ 991157 w 4011346"/>
                <a:gd name="connsiteY391" fmla="*/ 490572 h 1855498"/>
                <a:gd name="connsiteX392" fmla="*/ 981145 w 4011346"/>
                <a:gd name="connsiteY392" fmla="*/ 537293 h 1855498"/>
                <a:gd name="connsiteX393" fmla="*/ 1001168 w 4011346"/>
                <a:gd name="connsiteY393" fmla="*/ 560654 h 1855498"/>
                <a:gd name="connsiteX394" fmla="*/ 1017854 w 4011346"/>
                <a:gd name="connsiteY394" fmla="*/ 607375 h 1855498"/>
                <a:gd name="connsiteX395" fmla="*/ 1047890 w 4011346"/>
                <a:gd name="connsiteY395" fmla="*/ 594026 h 1855498"/>
                <a:gd name="connsiteX396" fmla="*/ 1014517 w 4011346"/>
                <a:gd name="connsiteY396" fmla="*/ 647422 h 1855498"/>
                <a:gd name="connsiteX397" fmla="*/ 957784 w 4011346"/>
                <a:gd name="connsiteY397" fmla="*/ 594026 h 1855498"/>
                <a:gd name="connsiteX398" fmla="*/ 884365 w 4011346"/>
                <a:gd name="connsiteY398" fmla="*/ 557317 h 1855498"/>
                <a:gd name="connsiteX399" fmla="*/ 824295 w 4011346"/>
                <a:gd name="connsiteY399" fmla="*/ 533956 h 1855498"/>
                <a:gd name="connsiteX400" fmla="*/ 810946 w 4011346"/>
                <a:gd name="connsiteY400" fmla="*/ 570665 h 1855498"/>
                <a:gd name="connsiteX401" fmla="*/ 827633 w 4011346"/>
                <a:gd name="connsiteY401" fmla="*/ 607375 h 1855498"/>
                <a:gd name="connsiteX402" fmla="*/ 814284 w 4011346"/>
                <a:gd name="connsiteY402" fmla="*/ 630736 h 1855498"/>
                <a:gd name="connsiteX403" fmla="*/ 800935 w 4011346"/>
                <a:gd name="connsiteY403" fmla="*/ 647422 h 1855498"/>
                <a:gd name="connsiteX404" fmla="*/ 770900 w 4011346"/>
                <a:gd name="connsiteY404" fmla="*/ 590689 h 1855498"/>
                <a:gd name="connsiteX405" fmla="*/ 744202 w 4011346"/>
                <a:gd name="connsiteY405" fmla="*/ 627398 h 1855498"/>
                <a:gd name="connsiteX406" fmla="*/ 707492 w 4011346"/>
                <a:gd name="connsiteY406" fmla="*/ 620724 h 1855498"/>
                <a:gd name="connsiteX407" fmla="*/ 654097 w 4011346"/>
                <a:gd name="connsiteY407" fmla="*/ 657433 h 1855498"/>
                <a:gd name="connsiteX408" fmla="*/ 644085 w 4011346"/>
                <a:gd name="connsiteY408" fmla="*/ 634073 h 1855498"/>
                <a:gd name="connsiteX409" fmla="*/ 654097 w 4011346"/>
                <a:gd name="connsiteY409" fmla="*/ 597363 h 1855498"/>
                <a:gd name="connsiteX410" fmla="*/ 614050 w 4011346"/>
                <a:gd name="connsiteY410" fmla="*/ 634073 h 1855498"/>
                <a:gd name="connsiteX411" fmla="*/ 594027 w 4011346"/>
                <a:gd name="connsiteY411" fmla="*/ 634073 h 1855498"/>
                <a:gd name="connsiteX412" fmla="*/ 533957 w 4011346"/>
                <a:gd name="connsiteY412" fmla="*/ 667445 h 1855498"/>
                <a:gd name="connsiteX413" fmla="*/ 510596 w 4011346"/>
                <a:gd name="connsiteY413" fmla="*/ 690806 h 1855498"/>
                <a:gd name="connsiteX414" fmla="*/ 500584 w 4011346"/>
                <a:gd name="connsiteY414" fmla="*/ 737527 h 1855498"/>
                <a:gd name="connsiteX415" fmla="*/ 450526 w 4011346"/>
                <a:gd name="connsiteY415" fmla="*/ 724178 h 1855498"/>
                <a:gd name="connsiteX416" fmla="*/ 433840 w 4011346"/>
                <a:gd name="connsiteY416" fmla="*/ 687468 h 1855498"/>
                <a:gd name="connsiteX417" fmla="*/ 467212 w 4011346"/>
                <a:gd name="connsiteY417" fmla="*/ 657433 h 1855498"/>
                <a:gd name="connsiteX418" fmla="*/ 453863 w 4011346"/>
                <a:gd name="connsiteY418" fmla="*/ 634073 h 1855498"/>
                <a:gd name="connsiteX419" fmla="*/ 390456 w 4011346"/>
                <a:gd name="connsiteY419" fmla="*/ 604038 h 1855498"/>
                <a:gd name="connsiteX420" fmla="*/ 417154 w 4011346"/>
                <a:gd name="connsiteY420" fmla="*/ 654096 h 1855498"/>
                <a:gd name="connsiteX421" fmla="*/ 407142 w 4011346"/>
                <a:gd name="connsiteY421" fmla="*/ 697480 h 1855498"/>
                <a:gd name="connsiteX422" fmla="*/ 413817 w 4011346"/>
                <a:gd name="connsiteY422" fmla="*/ 734190 h 1855498"/>
                <a:gd name="connsiteX423" fmla="*/ 427165 w 4011346"/>
                <a:gd name="connsiteY423" fmla="*/ 757550 h 1855498"/>
                <a:gd name="connsiteX424" fmla="*/ 413817 w 4011346"/>
                <a:gd name="connsiteY424" fmla="*/ 787585 h 1855498"/>
                <a:gd name="connsiteX425" fmla="*/ 390456 w 4011346"/>
                <a:gd name="connsiteY425" fmla="*/ 764225 h 1855498"/>
                <a:gd name="connsiteX426" fmla="*/ 360421 w 4011346"/>
                <a:gd name="connsiteY426" fmla="*/ 760887 h 1855498"/>
                <a:gd name="connsiteX427" fmla="*/ 333723 w 4011346"/>
                <a:gd name="connsiteY427" fmla="*/ 800934 h 1855498"/>
                <a:gd name="connsiteX428" fmla="*/ 307025 w 4011346"/>
                <a:gd name="connsiteY428" fmla="*/ 820957 h 1855498"/>
                <a:gd name="connsiteX429" fmla="*/ 320374 w 4011346"/>
                <a:gd name="connsiteY429" fmla="*/ 847655 h 1855498"/>
                <a:gd name="connsiteX430" fmla="*/ 303688 w 4011346"/>
                <a:gd name="connsiteY430" fmla="*/ 871016 h 1855498"/>
                <a:gd name="connsiteX431" fmla="*/ 233606 w 4011346"/>
                <a:gd name="connsiteY431" fmla="*/ 834306 h 1855498"/>
                <a:gd name="connsiteX432" fmla="*/ 243618 w 4011346"/>
                <a:gd name="connsiteY432" fmla="*/ 884365 h 1855498"/>
                <a:gd name="connsiteX433" fmla="*/ 263641 w 4011346"/>
                <a:gd name="connsiteY433" fmla="*/ 904388 h 1855498"/>
                <a:gd name="connsiteX434" fmla="*/ 250292 w 4011346"/>
                <a:gd name="connsiteY434" fmla="*/ 917737 h 1855498"/>
                <a:gd name="connsiteX435" fmla="*/ 193560 w 4011346"/>
                <a:gd name="connsiteY435" fmla="*/ 881027 h 1855498"/>
                <a:gd name="connsiteX436" fmla="*/ 170199 w 4011346"/>
                <a:gd name="connsiteY436" fmla="*/ 840981 h 1855498"/>
                <a:gd name="connsiteX437" fmla="*/ 170199 w 4011346"/>
                <a:gd name="connsiteY437" fmla="*/ 794260 h 1855498"/>
                <a:gd name="connsiteX438" fmla="*/ 133490 w 4011346"/>
                <a:gd name="connsiteY438" fmla="*/ 717503 h 1855498"/>
                <a:gd name="connsiteX439" fmla="*/ 196897 w 4011346"/>
                <a:gd name="connsiteY439" fmla="*/ 747538 h 1855498"/>
                <a:gd name="connsiteX440" fmla="*/ 256967 w 4011346"/>
                <a:gd name="connsiteY440" fmla="*/ 777573 h 1855498"/>
                <a:gd name="connsiteX441" fmla="*/ 293676 w 4011346"/>
                <a:gd name="connsiteY441" fmla="*/ 780911 h 1855498"/>
                <a:gd name="connsiteX442" fmla="*/ 327049 w 4011346"/>
                <a:gd name="connsiteY442" fmla="*/ 750876 h 1855498"/>
                <a:gd name="connsiteX443" fmla="*/ 343735 w 4011346"/>
                <a:gd name="connsiteY443" fmla="*/ 714166 h 1855498"/>
                <a:gd name="connsiteX444" fmla="*/ 333723 w 4011346"/>
                <a:gd name="connsiteY444" fmla="*/ 664108 h 1855498"/>
                <a:gd name="connsiteX445" fmla="*/ 290339 w 4011346"/>
                <a:gd name="connsiteY445" fmla="*/ 644084 h 1855498"/>
                <a:gd name="connsiteX446" fmla="*/ 236944 w 4011346"/>
                <a:gd name="connsiteY446" fmla="*/ 597363 h 1855498"/>
                <a:gd name="connsiteX447" fmla="*/ 133490 w 4011346"/>
                <a:gd name="connsiteY447" fmla="*/ 540630 h 1855498"/>
                <a:gd name="connsiteX0" fmla="*/ 133490 w 4011346"/>
                <a:gd name="connsiteY0" fmla="*/ 540630 h 1855498"/>
                <a:gd name="connsiteX1" fmla="*/ 46722 w 4011346"/>
                <a:gd name="connsiteY1" fmla="*/ 570665 h 1855498"/>
                <a:gd name="connsiteX2" fmla="*/ 33373 w 4011346"/>
                <a:gd name="connsiteY2" fmla="*/ 600700 h 1855498"/>
                <a:gd name="connsiteX3" fmla="*/ 43384 w 4011346"/>
                <a:gd name="connsiteY3" fmla="*/ 630736 h 1855498"/>
                <a:gd name="connsiteX4" fmla="*/ 60071 w 4011346"/>
                <a:gd name="connsiteY4" fmla="*/ 657433 h 1855498"/>
                <a:gd name="connsiteX5" fmla="*/ 73419 w 4011346"/>
                <a:gd name="connsiteY5" fmla="*/ 687468 h 1855498"/>
                <a:gd name="connsiteX6" fmla="*/ 56733 w 4011346"/>
                <a:gd name="connsiteY6" fmla="*/ 710829 h 1855498"/>
                <a:gd name="connsiteX7" fmla="*/ 76757 w 4011346"/>
                <a:gd name="connsiteY7" fmla="*/ 790922 h 1855498"/>
                <a:gd name="connsiteX8" fmla="*/ 66745 w 4011346"/>
                <a:gd name="connsiteY8" fmla="*/ 807609 h 1855498"/>
                <a:gd name="connsiteX9" fmla="*/ 70082 w 4011346"/>
                <a:gd name="connsiteY9" fmla="*/ 834306 h 1855498"/>
                <a:gd name="connsiteX10" fmla="*/ 70082 w 4011346"/>
                <a:gd name="connsiteY10" fmla="*/ 874353 h 1855498"/>
                <a:gd name="connsiteX11" fmla="*/ 80094 w 4011346"/>
                <a:gd name="connsiteY11" fmla="*/ 894376 h 1855498"/>
                <a:gd name="connsiteX12" fmla="*/ 76757 w 4011346"/>
                <a:gd name="connsiteY12" fmla="*/ 917737 h 1855498"/>
                <a:gd name="connsiteX13" fmla="*/ 106792 w 4011346"/>
                <a:gd name="connsiteY13" fmla="*/ 951109 h 1855498"/>
                <a:gd name="connsiteX14" fmla="*/ 106792 w 4011346"/>
                <a:gd name="connsiteY14" fmla="*/ 981144 h 1855498"/>
                <a:gd name="connsiteX15" fmla="*/ 13349 w 4011346"/>
                <a:gd name="connsiteY15" fmla="*/ 1071249 h 1855498"/>
                <a:gd name="connsiteX16" fmla="*/ 33373 w 4011346"/>
                <a:gd name="connsiteY16" fmla="*/ 1104622 h 1855498"/>
                <a:gd name="connsiteX17" fmla="*/ 33373 w 4011346"/>
                <a:gd name="connsiteY17" fmla="*/ 1104622 h 1855498"/>
                <a:gd name="connsiteX18" fmla="*/ 16687 w 4011346"/>
                <a:gd name="connsiteY18" fmla="*/ 1134657 h 1855498"/>
                <a:gd name="connsiteX19" fmla="*/ 3338 w 4011346"/>
                <a:gd name="connsiteY19" fmla="*/ 1164692 h 1855498"/>
                <a:gd name="connsiteX20" fmla="*/ 0 w 4011346"/>
                <a:gd name="connsiteY20" fmla="*/ 1224762 h 1855498"/>
                <a:gd name="connsiteX21" fmla="*/ 16687 w 4011346"/>
                <a:gd name="connsiteY21" fmla="*/ 1268146 h 1855498"/>
                <a:gd name="connsiteX22" fmla="*/ 20024 w 4011346"/>
                <a:gd name="connsiteY22" fmla="*/ 1301518 h 1855498"/>
                <a:gd name="connsiteX23" fmla="*/ 56733 w 4011346"/>
                <a:gd name="connsiteY23" fmla="*/ 1311530 h 1855498"/>
                <a:gd name="connsiteX24" fmla="*/ 116803 w 4011346"/>
                <a:gd name="connsiteY24" fmla="*/ 1398298 h 1855498"/>
                <a:gd name="connsiteX25" fmla="*/ 96780 w 4011346"/>
                <a:gd name="connsiteY25" fmla="*/ 1421658 h 1855498"/>
                <a:gd name="connsiteX26" fmla="*/ 93443 w 4011346"/>
                <a:gd name="connsiteY26" fmla="*/ 1451693 h 1855498"/>
                <a:gd name="connsiteX27" fmla="*/ 120141 w 4011346"/>
                <a:gd name="connsiteY27" fmla="*/ 1455030 h 1855498"/>
                <a:gd name="connsiteX28" fmla="*/ 160187 w 4011346"/>
                <a:gd name="connsiteY28" fmla="*/ 1468379 h 1855498"/>
                <a:gd name="connsiteX29" fmla="*/ 186885 w 4011346"/>
                <a:gd name="connsiteY29" fmla="*/ 1481728 h 1855498"/>
                <a:gd name="connsiteX30" fmla="*/ 213583 w 4011346"/>
                <a:gd name="connsiteY30" fmla="*/ 1511763 h 1855498"/>
                <a:gd name="connsiteX31" fmla="*/ 243618 w 4011346"/>
                <a:gd name="connsiteY31" fmla="*/ 1515100 h 1855498"/>
                <a:gd name="connsiteX32" fmla="*/ 287002 w 4011346"/>
                <a:gd name="connsiteY32" fmla="*/ 1545136 h 1855498"/>
                <a:gd name="connsiteX33" fmla="*/ 310363 w 4011346"/>
                <a:gd name="connsiteY33" fmla="*/ 1555147 h 1855498"/>
                <a:gd name="connsiteX34" fmla="*/ 310363 w 4011346"/>
                <a:gd name="connsiteY34" fmla="*/ 1591857 h 1855498"/>
                <a:gd name="connsiteX35" fmla="*/ 270316 w 4011346"/>
                <a:gd name="connsiteY35" fmla="*/ 1631903 h 1855498"/>
                <a:gd name="connsiteX36" fmla="*/ 280327 w 4011346"/>
                <a:gd name="connsiteY36" fmla="*/ 1655264 h 1855498"/>
                <a:gd name="connsiteX37" fmla="*/ 273653 w 4011346"/>
                <a:gd name="connsiteY37" fmla="*/ 1675287 h 1855498"/>
                <a:gd name="connsiteX38" fmla="*/ 266979 w 4011346"/>
                <a:gd name="connsiteY38" fmla="*/ 1691973 h 1855498"/>
                <a:gd name="connsiteX39" fmla="*/ 240281 w 4011346"/>
                <a:gd name="connsiteY39" fmla="*/ 1732020 h 1855498"/>
                <a:gd name="connsiteX40" fmla="*/ 307025 w 4011346"/>
                <a:gd name="connsiteY40" fmla="*/ 1768730 h 1855498"/>
                <a:gd name="connsiteX41" fmla="*/ 337060 w 4011346"/>
                <a:gd name="connsiteY41" fmla="*/ 1775404 h 1855498"/>
                <a:gd name="connsiteX42" fmla="*/ 360421 w 4011346"/>
                <a:gd name="connsiteY42" fmla="*/ 1782079 h 1855498"/>
                <a:gd name="connsiteX43" fmla="*/ 380444 w 4011346"/>
                <a:gd name="connsiteY43" fmla="*/ 1788753 h 1855498"/>
                <a:gd name="connsiteX44" fmla="*/ 407142 w 4011346"/>
                <a:gd name="connsiteY44" fmla="*/ 1808776 h 1855498"/>
                <a:gd name="connsiteX45" fmla="*/ 437177 w 4011346"/>
                <a:gd name="connsiteY45" fmla="*/ 1805439 h 1855498"/>
                <a:gd name="connsiteX46" fmla="*/ 507259 w 4011346"/>
                <a:gd name="connsiteY46" fmla="*/ 1855498 h 1855498"/>
                <a:gd name="connsiteX47" fmla="*/ 517271 w 4011346"/>
                <a:gd name="connsiteY47" fmla="*/ 1842149 h 1855498"/>
                <a:gd name="connsiteX48" fmla="*/ 507259 w 4011346"/>
                <a:gd name="connsiteY48" fmla="*/ 1802102 h 1855498"/>
                <a:gd name="connsiteX49" fmla="*/ 500584 w 4011346"/>
                <a:gd name="connsiteY49" fmla="*/ 1768730 h 1855498"/>
                <a:gd name="connsiteX50" fmla="*/ 483898 w 4011346"/>
                <a:gd name="connsiteY50" fmla="*/ 1725346 h 1855498"/>
                <a:gd name="connsiteX51" fmla="*/ 513933 w 4011346"/>
                <a:gd name="connsiteY51" fmla="*/ 1705322 h 1855498"/>
                <a:gd name="connsiteX52" fmla="*/ 547306 w 4011346"/>
                <a:gd name="connsiteY52" fmla="*/ 1681962 h 1855498"/>
                <a:gd name="connsiteX53" fmla="*/ 527282 w 4011346"/>
                <a:gd name="connsiteY53" fmla="*/ 1665276 h 1855498"/>
                <a:gd name="connsiteX54" fmla="*/ 517271 w 4011346"/>
                <a:gd name="connsiteY54" fmla="*/ 1631903 h 1855498"/>
                <a:gd name="connsiteX55" fmla="*/ 480561 w 4011346"/>
                <a:gd name="connsiteY55" fmla="*/ 1615217 h 1855498"/>
                <a:gd name="connsiteX56" fmla="*/ 470549 w 4011346"/>
                <a:gd name="connsiteY56" fmla="*/ 1595194 h 1855498"/>
                <a:gd name="connsiteX57" fmla="*/ 480561 w 4011346"/>
                <a:gd name="connsiteY57" fmla="*/ 1565159 h 1855498"/>
                <a:gd name="connsiteX58" fmla="*/ 490573 w 4011346"/>
                <a:gd name="connsiteY58" fmla="*/ 1525112 h 1855498"/>
                <a:gd name="connsiteX59" fmla="*/ 513933 w 4011346"/>
                <a:gd name="connsiteY59" fmla="*/ 1545136 h 1855498"/>
                <a:gd name="connsiteX60" fmla="*/ 520608 w 4011346"/>
                <a:gd name="connsiteY60" fmla="*/ 1528449 h 1855498"/>
                <a:gd name="connsiteX61" fmla="*/ 543968 w 4011346"/>
                <a:gd name="connsiteY61" fmla="*/ 1491740 h 1855498"/>
                <a:gd name="connsiteX62" fmla="*/ 574003 w 4011346"/>
                <a:gd name="connsiteY62" fmla="*/ 1475054 h 1855498"/>
                <a:gd name="connsiteX63" fmla="*/ 590690 w 4011346"/>
                <a:gd name="connsiteY63" fmla="*/ 1488403 h 1855498"/>
                <a:gd name="connsiteX64" fmla="*/ 610713 w 4011346"/>
                <a:gd name="connsiteY64" fmla="*/ 1461705 h 1855498"/>
                <a:gd name="connsiteX65" fmla="*/ 630736 w 4011346"/>
                <a:gd name="connsiteY65" fmla="*/ 1488403 h 1855498"/>
                <a:gd name="connsiteX66" fmla="*/ 657434 w 4011346"/>
                <a:gd name="connsiteY66" fmla="*/ 1511763 h 1855498"/>
                <a:gd name="connsiteX67" fmla="*/ 674120 w 4011346"/>
                <a:gd name="connsiteY67" fmla="*/ 1518438 h 1855498"/>
                <a:gd name="connsiteX68" fmla="*/ 697481 w 4011346"/>
                <a:gd name="connsiteY68" fmla="*/ 1518438 h 1855498"/>
                <a:gd name="connsiteX69" fmla="*/ 717504 w 4011346"/>
                <a:gd name="connsiteY69" fmla="*/ 1505089 h 1855498"/>
                <a:gd name="connsiteX70" fmla="*/ 744202 w 4011346"/>
                <a:gd name="connsiteY70" fmla="*/ 1505089 h 1855498"/>
                <a:gd name="connsiteX71" fmla="*/ 760888 w 4011346"/>
                <a:gd name="connsiteY71" fmla="*/ 1501752 h 1855498"/>
                <a:gd name="connsiteX72" fmla="*/ 790923 w 4011346"/>
                <a:gd name="connsiteY72" fmla="*/ 1535124 h 1855498"/>
                <a:gd name="connsiteX73" fmla="*/ 797598 w 4011346"/>
                <a:gd name="connsiteY73" fmla="*/ 1508426 h 1855498"/>
                <a:gd name="connsiteX74" fmla="*/ 817621 w 4011346"/>
                <a:gd name="connsiteY74" fmla="*/ 1525112 h 1855498"/>
                <a:gd name="connsiteX75" fmla="*/ 837644 w 4011346"/>
                <a:gd name="connsiteY75" fmla="*/ 1501752 h 1855498"/>
                <a:gd name="connsiteX76" fmla="*/ 827633 w 4011346"/>
                <a:gd name="connsiteY76" fmla="*/ 1481728 h 1855498"/>
                <a:gd name="connsiteX77" fmla="*/ 810946 w 4011346"/>
                <a:gd name="connsiteY77" fmla="*/ 1468379 h 1855498"/>
                <a:gd name="connsiteX78" fmla="*/ 810946 w 4011346"/>
                <a:gd name="connsiteY78" fmla="*/ 1441682 h 1855498"/>
                <a:gd name="connsiteX79" fmla="*/ 810946 w 4011346"/>
                <a:gd name="connsiteY79" fmla="*/ 1428333 h 1855498"/>
                <a:gd name="connsiteX80" fmla="*/ 830970 w 4011346"/>
                <a:gd name="connsiteY80" fmla="*/ 1424995 h 1855498"/>
                <a:gd name="connsiteX81" fmla="*/ 840981 w 4011346"/>
                <a:gd name="connsiteY81" fmla="*/ 1421658 h 1855498"/>
                <a:gd name="connsiteX82" fmla="*/ 820958 w 4011346"/>
                <a:gd name="connsiteY82" fmla="*/ 1384949 h 1855498"/>
                <a:gd name="connsiteX83" fmla="*/ 854330 w 4011346"/>
                <a:gd name="connsiteY83" fmla="*/ 1378274 h 1855498"/>
                <a:gd name="connsiteX84" fmla="*/ 891040 w 4011346"/>
                <a:gd name="connsiteY84" fmla="*/ 1384949 h 1855498"/>
                <a:gd name="connsiteX85" fmla="*/ 964459 w 4011346"/>
                <a:gd name="connsiteY85" fmla="*/ 1341565 h 1855498"/>
                <a:gd name="connsiteX86" fmla="*/ 1001168 w 4011346"/>
                <a:gd name="connsiteY86" fmla="*/ 1341565 h 1855498"/>
                <a:gd name="connsiteX87" fmla="*/ 1027866 w 4011346"/>
                <a:gd name="connsiteY87" fmla="*/ 1318204 h 1855498"/>
                <a:gd name="connsiteX88" fmla="*/ 1047890 w 4011346"/>
                <a:gd name="connsiteY88" fmla="*/ 1328216 h 1855498"/>
                <a:gd name="connsiteX89" fmla="*/ 1067913 w 4011346"/>
                <a:gd name="connsiteY89" fmla="*/ 1338227 h 1855498"/>
                <a:gd name="connsiteX90" fmla="*/ 1087936 w 4011346"/>
                <a:gd name="connsiteY90" fmla="*/ 1364925 h 1855498"/>
                <a:gd name="connsiteX91" fmla="*/ 1074587 w 4011346"/>
                <a:gd name="connsiteY91" fmla="*/ 1378274 h 1855498"/>
                <a:gd name="connsiteX92" fmla="*/ 1104622 w 4011346"/>
                <a:gd name="connsiteY92" fmla="*/ 1378274 h 1855498"/>
                <a:gd name="connsiteX93" fmla="*/ 1107960 w 4011346"/>
                <a:gd name="connsiteY93" fmla="*/ 1394960 h 1855498"/>
                <a:gd name="connsiteX94" fmla="*/ 1121309 w 4011346"/>
                <a:gd name="connsiteY94" fmla="*/ 1378274 h 1855498"/>
                <a:gd name="connsiteX95" fmla="*/ 1134657 w 4011346"/>
                <a:gd name="connsiteY95" fmla="*/ 1391623 h 1855498"/>
                <a:gd name="connsiteX96" fmla="*/ 1134657 w 4011346"/>
                <a:gd name="connsiteY96" fmla="*/ 1411646 h 1855498"/>
                <a:gd name="connsiteX97" fmla="*/ 1148006 w 4011346"/>
                <a:gd name="connsiteY97" fmla="*/ 1408309 h 1855498"/>
                <a:gd name="connsiteX98" fmla="*/ 1208076 w 4011346"/>
                <a:gd name="connsiteY98" fmla="*/ 1361588 h 1855498"/>
                <a:gd name="connsiteX99" fmla="*/ 1211414 w 4011346"/>
                <a:gd name="connsiteY99" fmla="*/ 1381611 h 1855498"/>
                <a:gd name="connsiteX100" fmla="*/ 1244786 w 4011346"/>
                <a:gd name="connsiteY100" fmla="*/ 1401635 h 1855498"/>
                <a:gd name="connsiteX101" fmla="*/ 1264809 w 4011346"/>
                <a:gd name="connsiteY101" fmla="*/ 1431670 h 1855498"/>
                <a:gd name="connsiteX102" fmla="*/ 1298181 w 4011346"/>
                <a:gd name="connsiteY102" fmla="*/ 1538461 h 1855498"/>
                <a:gd name="connsiteX103" fmla="*/ 1308193 w 4011346"/>
                <a:gd name="connsiteY103" fmla="*/ 1495077 h 1855498"/>
                <a:gd name="connsiteX104" fmla="*/ 1344903 w 4011346"/>
                <a:gd name="connsiteY104" fmla="*/ 1515100 h 1855498"/>
                <a:gd name="connsiteX105" fmla="*/ 1388287 w 4011346"/>
                <a:gd name="connsiteY105" fmla="*/ 1515100 h 1855498"/>
                <a:gd name="connsiteX106" fmla="*/ 1394961 w 4011346"/>
                <a:gd name="connsiteY106" fmla="*/ 1538461 h 1855498"/>
                <a:gd name="connsiteX107" fmla="*/ 1435008 w 4011346"/>
                <a:gd name="connsiteY107" fmla="*/ 1561822 h 1855498"/>
                <a:gd name="connsiteX108" fmla="*/ 1465043 w 4011346"/>
                <a:gd name="connsiteY108" fmla="*/ 1561822 h 1855498"/>
                <a:gd name="connsiteX109" fmla="*/ 1491741 w 4011346"/>
                <a:gd name="connsiteY109" fmla="*/ 1575171 h 1855498"/>
                <a:gd name="connsiteX110" fmla="*/ 1535125 w 4011346"/>
                <a:gd name="connsiteY110" fmla="*/ 1531787 h 1855498"/>
                <a:gd name="connsiteX111" fmla="*/ 1571834 w 4011346"/>
                <a:gd name="connsiteY111" fmla="*/ 1511763 h 1855498"/>
                <a:gd name="connsiteX112" fmla="*/ 1608544 w 4011346"/>
                <a:gd name="connsiteY112" fmla="*/ 1515100 h 1855498"/>
                <a:gd name="connsiteX113" fmla="*/ 1655265 w 4011346"/>
                <a:gd name="connsiteY113" fmla="*/ 1528449 h 1855498"/>
                <a:gd name="connsiteX114" fmla="*/ 1681963 w 4011346"/>
                <a:gd name="connsiteY114" fmla="*/ 1545136 h 1855498"/>
                <a:gd name="connsiteX115" fmla="*/ 1735358 w 4011346"/>
                <a:gd name="connsiteY115" fmla="*/ 1538461 h 1855498"/>
                <a:gd name="connsiteX116" fmla="*/ 1745370 w 4011346"/>
                <a:gd name="connsiteY116" fmla="*/ 1518438 h 1855498"/>
                <a:gd name="connsiteX117" fmla="*/ 1738695 w 4011346"/>
                <a:gd name="connsiteY117" fmla="*/ 1498414 h 1855498"/>
                <a:gd name="connsiteX118" fmla="*/ 1765393 w 4011346"/>
                <a:gd name="connsiteY118" fmla="*/ 1471717 h 1855498"/>
                <a:gd name="connsiteX119" fmla="*/ 1778742 w 4011346"/>
                <a:gd name="connsiteY119" fmla="*/ 1468379 h 1855498"/>
                <a:gd name="connsiteX120" fmla="*/ 1812114 w 4011346"/>
                <a:gd name="connsiteY120" fmla="*/ 1485065 h 1855498"/>
                <a:gd name="connsiteX121" fmla="*/ 1852161 w 4011346"/>
                <a:gd name="connsiteY121" fmla="*/ 1498414 h 1855498"/>
                <a:gd name="connsiteX122" fmla="*/ 1858836 w 4011346"/>
                <a:gd name="connsiteY122" fmla="*/ 1525112 h 1855498"/>
                <a:gd name="connsiteX123" fmla="*/ 1872184 w 4011346"/>
                <a:gd name="connsiteY123" fmla="*/ 1531787 h 1855498"/>
                <a:gd name="connsiteX124" fmla="*/ 1902219 w 4011346"/>
                <a:gd name="connsiteY124" fmla="*/ 1535124 h 1855498"/>
                <a:gd name="connsiteX125" fmla="*/ 1932254 w 4011346"/>
                <a:gd name="connsiteY125" fmla="*/ 1518438 h 1855498"/>
                <a:gd name="connsiteX126" fmla="*/ 1962290 w 4011346"/>
                <a:gd name="connsiteY126" fmla="*/ 1531787 h 1855498"/>
                <a:gd name="connsiteX127" fmla="*/ 1985650 w 4011346"/>
                <a:gd name="connsiteY127" fmla="*/ 1545136 h 1855498"/>
                <a:gd name="connsiteX128" fmla="*/ 1995662 w 4011346"/>
                <a:gd name="connsiteY128" fmla="*/ 1555147 h 1855498"/>
                <a:gd name="connsiteX129" fmla="*/ 2032371 w 4011346"/>
                <a:gd name="connsiteY129" fmla="*/ 1575171 h 1855498"/>
                <a:gd name="connsiteX130" fmla="*/ 2069081 w 4011346"/>
                <a:gd name="connsiteY130" fmla="*/ 1571833 h 1855498"/>
                <a:gd name="connsiteX131" fmla="*/ 2142500 w 4011346"/>
                <a:gd name="connsiteY131" fmla="*/ 1528449 h 1855498"/>
                <a:gd name="connsiteX132" fmla="*/ 2195895 w 4011346"/>
                <a:gd name="connsiteY132" fmla="*/ 1541798 h 1855498"/>
                <a:gd name="connsiteX133" fmla="*/ 2225930 w 4011346"/>
                <a:gd name="connsiteY133" fmla="*/ 1551810 h 1855498"/>
                <a:gd name="connsiteX134" fmla="*/ 2259303 w 4011346"/>
                <a:gd name="connsiteY134" fmla="*/ 1538461 h 1855498"/>
                <a:gd name="connsiteX135" fmla="*/ 2262640 w 4011346"/>
                <a:gd name="connsiteY135" fmla="*/ 1511763 h 1855498"/>
                <a:gd name="connsiteX136" fmla="*/ 2282663 w 4011346"/>
                <a:gd name="connsiteY136" fmla="*/ 1481728 h 1855498"/>
                <a:gd name="connsiteX137" fmla="*/ 2299349 w 4011346"/>
                <a:gd name="connsiteY137" fmla="*/ 1428333 h 1855498"/>
                <a:gd name="connsiteX138" fmla="*/ 2282663 w 4011346"/>
                <a:gd name="connsiteY138" fmla="*/ 1431670 h 1855498"/>
                <a:gd name="connsiteX139" fmla="*/ 2312698 w 4011346"/>
                <a:gd name="connsiteY139" fmla="*/ 1404972 h 1855498"/>
                <a:gd name="connsiteX140" fmla="*/ 2339396 w 4011346"/>
                <a:gd name="connsiteY140" fmla="*/ 1401635 h 1855498"/>
                <a:gd name="connsiteX141" fmla="*/ 2396129 w 4011346"/>
                <a:gd name="connsiteY141" fmla="*/ 1411646 h 1855498"/>
                <a:gd name="connsiteX142" fmla="*/ 2436176 w 4011346"/>
                <a:gd name="connsiteY142" fmla="*/ 1438344 h 1855498"/>
                <a:gd name="connsiteX143" fmla="*/ 2462873 w 4011346"/>
                <a:gd name="connsiteY143" fmla="*/ 1468379 h 1855498"/>
                <a:gd name="connsiteX144" fmla="*/ 2469548 w 4011346"/>
                <a:gd name="connsiteY144" fmla="*/ 1505089 h 1855498"/>
                <a:gd name="connsiteX145" fmla="*/ 2476222 w 4011346"/>
                <a:gd name="connsiteY145" fmla="*/ 1545136 h 1855498"/>
                <a:gd name="connsiteX146" fmla="*/ 2486234 w 4011346"/>
                <a:gd name="connsiteY146" fmla="*/ 1565159 h 1855498"/>
                <a:gd name="connsiteX147" fmla="*/ 2529618 w 4011346"/>
                <a:gd name="connsiteY147" fmla="*/ 1578508 h 1855498"/>
                <a:gd name="connsiteX148" fmla="*/ 2549641 w 4011346"/>
                <a:gd name="connsiteY148" fmla="*/ 1598531 h 1855498"/>
                <a:gd name="connsiteX149" fmla="*/ 2562990 w 4011346"/>
                <a:gd name="connsiteY149" fmla="*/ 1631903 h 1855498"/>
                <a:gd name="connsiteX150" fmla="*/ 2586351 w 4011346"/>
                <a:gd name="connsiteY150" fmla="*/ 1625229 h 1855498"/>
                <a:gd name="connsiteX151" fmla="*/ 2606374 w 4011346"/>
                <a:gd name="connsiteY151" fmla="*/ 1615217 h 1855498"/>
                <a:gd name="connsiteX152" fmla="*/ 2639746 w 4011346"/>
                <a:gd name="connsiteY152" fmla="*/ 1598531 h 1855498"/>
                <a:gd name="connsiteX153" fmla="*/ 2643084 w 4011346"/>
                <a:gd name="connsiteY153" fmla="*/ 1615217 h 1855498"/>
                <a:gd name="connsiteX154" fmla="*/ 2626398 w 4011346"/>
                <a:gd name="connsiteY154" fmla="*/ 1645252 h 1855498"/>
                <a:gd name="connsiteX155" fmla="*/ 2616386 w 4011346"/>
                <a:gd name="connsiteY155" fmla="*/ 1681962 h 1855498"/>
                <a:gd name="connsiteX156" fmla="*/ 2603037 w 4011346"/>
                <a:gd name="connsiteY156" fmla="*/ 1735357 h 1855498"/>
                <a:gd name="connsiteX157" fmla="*/ 2579676 w 4011346"/>
                <a:gd name="connsiteY157" fmla="*/ 1708660 h 1855498"/>
                <a:gd name="connsiteX158" fmla="*/ 2552979 w 4011346"/>
                <a:gd name="connsiteY158" fmla="*/ 1732020 h 1855498"/>
                <a:gd name="connsiteX159" fmla="*/ 2559653 w 4011346"/>
                <a:gd name="connsiteY159" fmla="*/ 1758718 h 1855498"/>
                <a:gd name="connsiteX160" fmla="*/ 2559653 w 4011346"/>
                <a:gd name="connsiteY160" fmla="*/ 1795427 h 1855498"/>
                <a:gd name="connsiteX161" fmla="*/ 2549641 w 4011346"/>
                <a:gd name="connsiteY161" fmla="*/ 1815451 h 1855498"/>
                <a:gd name="connsiteX162" fmla="*/ 2589688 w 4011346"/>
                <a:gd name="connsiteY162" fmla="*/ 1795427 h 1855498"/>
                <a:gd name="connsiteX163" fmla="*/ 2626398 w 4011346"/>
                <a:gd name="connsiteY163" fmla="*/ 1805439 h 1855498"/>
                <a:gd name="connsiteX164" fmla="*/ 2653095 w 4011346"/>
                <a:gd name="connsiteY164" fmla="*/ 1782079 h 1855498"/>
                <a:gd name="connsiteX165" fmla="*/ 2683130 w 4011346"/>
                <a:gd name="connsiteY165" fmla="*/ 1728683 h 1855498"/>
                <a:gd name="connsiteX166" fmla="*/ 2753212 w 4011346"/>
                <a:gd name="connsiteY166" fmla="*/ 1641915 h 1855498"/>
                <a:gd name="connsiteX167" fmla="*/ 2783247 w 4011346"/>
                <a:gd name="connsiteY167" fmla="*/ 1571833 h 1855498"/>
                <a:gd name="connsiteX168" fmla="*/ 2803271 w 4011346"/>
                <a:gd name="connsiteY168" fmla="*/ 1468379 h 1855498"/>
                <a:gd name="connsiteX169" fmla="*/ 2793259 w 4011346"/>
                <a:gd name="connsiteY169" fmla="*/ 1418321 h 1855498"/>
                <a:gd name="connsiteX170" fmla="*/ 2769898 w 4011346"/>
                <a:gd name="connsiteY170" fmla="*/ 1384949 h 1855498"/>
                <a:gd name="connsiteX171" fmla="*/ 2726514 w 4011346"/>
                <a:gd name="connsiteY171" fmla="*/ 1384949 h 1855498"/>
                <a:gd name="connsiteX172" fmla="*/ 2699817 w 4011346"/>
                <a:gd name="connsiteY172" fmla="*/ 1384949 h 1855498"/>
                <a:gd name="connsiteX173" fmla="*/ 2683130 w 4011346"/>
                <a:gd name="connsiteY173" fmla="*/ 1364925 h 1855498"/>
                <a:gd name="connsiteX174" fmla="*/ 2669781 w 4011346"/>
                <a:gd name="connsiteY174" fmla="*/ 1344902 h 1855498"/>
                <a:gd name="connsiteX175" fmla="*/ 2763224 w 4011346"/>
                <a:gd name="connsiteY175" fmla="*/ 1228099 h 1855498"/>
                <a:gd name="connsiteX176" fmla="*/ 2846654 w 4011346"/>
                <a:gd name="connsiteY176" fmla="*/ 1161355 h 1855498"/>
                <a:gd name="connsiteX177" fmla="*/ 2890038 w 4011346"/>
                <a:gd name="connsiteY177" fmla="*/ 1137994 h 1855498"/>
                <a:gd name="connsiteX178" fmla="*/ 2933422 w 4011346"/>
                <a:gd name="connsiteY178" fmla="*/ 1158017 h 1855498"/>
                <a:gd name="connsiteX179" fmla="*/ 2950109 w 4011346"/>
                <a:gd name="connsiteY179" fmla="*/ 1141331 h 1855498"/>
                <a:gd name="connsiteX180" fmla="*/ 2993492 w 4011346"/>
                <a:gd name="connsiteY180" fmla="*/ 1158017 h 1855498"/>
                <a:gd name="connsiteX181" fmla="*/ 3006841 w 4011346"/>
                <a:gd name="connsiteY181" fmla="*/ 1124645 h 1855498"/>
                <a:gd name="connsiteX182" fmla="*/ 3053563 w 4011346"/>
                <a:gd name="connsiteY182" fmla="*/ 1134657 h 1855498"/>
                <a:gd name="connsiteX183" fmla="*/ 3070249 w 4011346"/>
                <a:gd name="connsiteY183" fmla="*/ 1151343 h 1855498"/>
                <a:gd name="connsiteX184" fmla="*/ 3060237 w 4011346"/>
                <a:gd name="connsiteY184" fmla="*/ 1171366 h 1855498"/>
                <a:gd name="connsiteX185" fmla="*/ 3123644 w 4011346"/>
                <a:gd name="connsiteY185" fmla="*/ 1154680 h 1855498"/>
                <a:gd name="connsiteX186" fmla="*/ 3140330 w 4011346"/>
                <a:gd name="connsiteY186" fmla="*/ 1141331 h 1855498"/>
                <a:gd name="connsiteX187" fmla="*/ 3123644 w 4011346"/>
                <a:gd name="connsiteY187" fmla="*/ 1127982 h 1855498"/>
                <a:gd name="connsiteX188" fmla="*/ 3143668 w 4011346"/>
                <a:gd name="connsiteY188" fmla="*/ 1087936 h 1855498"/>
                <a:gd name="connsiteX189" fmla="*/ 3190389 w 4011346"/>
                <a:gd name="connsiteY189" fmla="*/ 1017854 h 1855498"/>
                <a:gd name="connsiteX190" fmla="*/ 3233773 w 4011346"/>
                <a:gd name="connsiteY190" fmla="*/ 1014517 h 1855498"/>
                <a:gd name="connsiteX191" fmla="*/ 3273819 w 4011346"/>
                <a:gd name="connsiteY191" fmla="*/ 1024528 h 1855498"/>
                <a:gd name="connsiteX192" fmla="*/ 3277157 w 4011346"/>
                <a:gd name="connsiteY192" fmla="*/ 1081261 h 1855498"/>
                <a:gd name="connsiteX193" fmla="*/ 3320541 w 4011346"/>
                <a:gd name="connsiteY193" fmla="*/ 1037877 h 1855498"/>
                <a:gd name="connsiteX194" fmla="*/ 3343901 w 4011346"/>
                <a:gd name="connsiteY194" fmla="*/ 1021191 h 1855498"/>
                <a:gd name="connsiteX195" fmla="*/ 3350576 w 4011346"/>
                <a:gd name="connsiteY195" fmla="*/ 987819 h 1855498"/>
                <a:gd name="connsiteX196" fmla="*/ 3377273 w 4011346"/>
                <a:gd name="connsiteY196" fmla="*/ 971133 h 1855498"/>
                <a:gd name="connsiteX197" fmla="*/ 3407309 w 4011346"/>
                <a:gd name="connsiteY197" fmla="*/ 981144 h 1855498"/>
                <a:gd name="connsiteX198" fmla="*/ 3373936 w 4011346"/>
                <a:gd name="connsiteY198" fmla="*/ 1011179 h 1855498"/>
                <a:gd name="connsiteX199" fmla="*/ 3360587 w 4011346"/>
                <a:gd name="connsiteY199" fmla="*/ 1061238 h 1855498"/>
                <a:gd name="connsiteX200" fmla="*/ 3323878 w 4011346"/>
                <a:gd name="connsiteY200" fmla="*/ 1101284 h 1855498"/>
                <a:gd name="connsiteX201" fmla="*/ 3210412 w 4011346"/>
                <a:gd name="connsiteY201" fmla="*/ 1198064 h 1855498"/>
                <a:gd name="connsiteX202" fmla="*/ 3163691 w 4011346"/>
                <a:gd name="connsiteY202" fmla="*/ 1268146 h 1855498"/>
                <a:gd name="connsiteX203" fmla="*/ 3160354 w 4011346"/>
                <a:gd name="connsiteY203" fmla="*/ 1341565 h 1855498"/>
                <a:gd name="connsiteX204" fmla="*/ 3170365 w 4011346"/>
                <a:gd name="connsiteY204" fmla="*/ 1431670 h 1855498"/>
                <a:gd name="connsiteX205" fmla="*/ 3190389 w 4011346"/>
                <a:gd name="connsiteY205" fmla="*/ 1495077 h 1855498"/>
                <a:gd name="connsiteX206" fmla="*/ 3217087 w 4011346"/>
                <a:gd name="connsiteY206" fmla="*/ 1485065 h 1855498"/>
                <a:gd name="connsiteX207" fmla="*/ 3240447 w 4011346"/>
                <a:gd name="connsiteY207" fmla="*/ 1418321 h 1855498"/>
                <a:gd name="connsiteX208" fmla="*/ 3270482 w 4011346"/>
                <a:gd name="connsiteY208" fmla="*/ 1414984 h 1855498"/>
                <a:gd name="connsiteX209" fmla="*/ 3287168 w 4011346"/>
                <a:gd name="connsiteY209" fmla="*/ 1354914 h 1855498"/>
                <a:gd name="connsiteX210" fmla="*/ 3313866 w 4011346"/>
                <a:gd name="connsiteY210" fmla="*/ 1344902 h 1855498"/>
                <a:gd name="connsiteX211" fmla="*/ 3313866 w 4011346"/>
                <a:gd name="connsiteY211" fmla="*/ 1314867 h 1855498"/>
                <a:gd name="connsiteX212" fmla="*/ 3337227 w 4011346"/>
                <a:gd name="connsiteY212" fmla="*/ 1278157 h 1855498"/>
                <a:gd name="connsiteX213" fmla="*/ 3330552 w 4011346"/>
                <a:gd name="connsiteY213" fmla="*/ 1234773 h 1855498"/>
                <a:gd name="connsiteX214" fmla="*/ 3333890 w 4011346"/>
                <a:gd name="connsiteY214" fmla="*/ 1204738 h 1855498"/>
                <a:gd name="connsiteX215" fmla="*/ 3323878 w 4011346"/>
                <a:gd name="connsiteY215" fmla="*/ 1194727 h 1855498"/>
                <a:gd name="connsiteX216" fmla="*/ 3363925 w 4011346"/>
                <a:gd name="connsiteY216" fmla="*/ 1107959 h 1855498"/>
                <a:gd name="connsiteX217" fmla="*/ 3383948 w 4011346"/>
                <a:gd name="connsiteY217" fmla="*/ 1117971 h 1855498"/>
                <a:gd name="connsiteX218" fmla="*/ 3410646 w 4011346"/>
                <a:gd name="connsiteY218" fmla="*/ 1091273 h 1855498"/>
                <a:gd name="connsiteX219" fmla="*/ 3420657 w 4011346"/>
                <a:gd name="connsiteY219" fmla="*/ 1117971 h 1855498"/>
                <a:gd name="connsiteX220" fmla="*/ 3447355 w 4011346"/>
                <a:gd name="connsiteY220" fmla="*/ 1101284 h 1855498"/>
                <a:gd name="connsiteX221" fmla="*/ 3477390 w 4011346"/>
                <a:gd name="connsiteY221" fmla="*/ 1091273 h 1855498"/>
                <a:gd name="connsiteX222" fmla="*/ 3514100 w 4011346"/>
                <a:gd name="connsiteY222" fmla="*/ 1117971 h 1855498"/>
                <a:gd name="connsiteX223" fmla="*/ 3574170 w 4011346"/>
                <a:gd name="connsiteY223" fmla="*/ 1051226 h 1855498"/>
                <a:gd name="connsiteX224" fmla="*/ 3637577 w 4011346"/>
                <a:gd name="connsiteY224" fmla="*/ 1004505 h 1855498"/>
                <a:gd name="connsiteX225" fmla="*/ 3690973 w 4011346"/>
                <a:gd name="connsiteY225" fmla="*/ 967795 h 1855498"/>
                <a:gd name="connsiteX226" fmla="*/ 3741031 w 4011346"/>
                <a:gd name="connsiteY226" fmla="*/ 994493 h 1855498"/>
                <a:gd name="connsiteX227" fmla="*/ 3751043 w 4011346"/>
                <a:gd name="connsiteY227" fmla="*/ 967795 h 1855498"/>
                <a:gd name="connsiteX228" fmla="*/ 3727682 w 4011346"/>
                <a:gd name="connsiteY228" fmla="*/ 901051 h 1855498"/>
                <a:gd name="connsiteX229" fmla="*/ 3700984 w 4011346"/>
                <a:gd name="connsiteY229" fmla="*/ 884365 h 1855498"/>
                <a:gd name="connsiteX230" fmla="*/ 3697647 w 4011346"/>
                <a:gd name="connsiteY230" fmla="*/ 854330 h 1855498"/>
                <a:gd name="connsiteX231" fmla="*/ 3751043 w 4011346"/>
                <a:gd name="connsiteY231" fmla="*/ 861004 h 1855498"/>
                <a:gd name="connsiteX232" fmla="*/ 3774403 w 4011346"/>
                <a:gd name="connsiteY232" fmla="*/ 817620 h 1855498"/>
                <a:gd name="connsiteX233" fmla="*/ 3767729 w 4011346"/>
                <a:gd name="connsiteY233" fmla="*/ 790922 h 1855498"/>
                <a:gd name="connsiteX234" fmla="*/ 3794427 w 4011346"/>
                <a:gd name="connsiteY234" fmla="*/ 757550 h 1855498"/>
                <a:gd name="connsiteX235" fmla="*/ 3804438 w 4011346"/>
                <a:gd name="connsiteY235" fmla="*/ 800934 h 1855498"/>
                <a:gd name="connsiteX236" fmla="*/ 3827799 w 4011346"/>
                <a:gd name="connsiteY236" fmla="*/ 817620 h 1855498"/>
                <a:gd name="connsiteX237" fmla="*/ 3874520 w 4011346"/>
                <a:gd name="connsiteY237" fmla="*/ 837644 h 1855498"/>
                <a:gd name="connsiteX238" fmla="*/ 3894544 w 4011346"/>
                <a:gd name="connsiteY238" fmla="*/ 864341 h 1855498"/>
                <a:gd name="connsiteX239" fmla="*/ 3941265 w 4011346"/>
                <a:gd name="connsiteY239" fmla="*/ 887702 h 1855498"/>
                <a:gd name="connsiteX240" fmla="*/ 3947939 w 4011346"/>
                <a:gd name="connsiteY240" fmla="*/ 874353 h 1855498"/>
                <a:gd name="connsiteX241" fmla="*/ 3957951 w 4011346"/>
                <a:gd name="connsiteY241" fmla="*/ 810946 h 1855498"/>
                <a:gd name="connsiteX242" fmla="*/ 4004672 w 4011346"/>
                <a:gd name="connsiteY242" fmla="*/ 804271 h 1855498"/>
                <a:gd name="connsiteX243" fmla="*/ 4011346 w 4011346"/>
                <a:gd name="connsiteY243" fmla="*/ 770899 h 1855498"/>
                <a:gd name="connsiteX244" fmla="*/ 3967963 w 4011346"/>
                <a:gd name="connsiteY244" fmla="*/ 734190 h 1855498"/>
                <a:gd name="connsiteX245" fmla="*/ 3921241 w 4011346"/>
                <a:gd name="connsiteY245" fmla="*/ 717503 h 1855498"/>
                <a:gd name="connsiteX246" fmla="*/ 3907892 w 4011346"/>
                <a:gd name="connsiteY246" fmla="*/ 720841 h 1855498"/>
                <a:gd name="connsiteX247" fmla="*/ 3907892 w 4011346"/>
                <a:gd name="connsiteY247" fmla="*/ 754213 h 1855498"/>
                <a:gd name="connsiteX248" fmla="*/ 3887869 w 4011346"/>
                <a:gd name="connsiteY248" fmla="*/ 747538 h 1855498"/>
                <a:gd name="connsiteX249" fmla="*/ 3874520 w 4011346"/>
                <a:gd name="connsiteY249" fmla="*/ 694143 h 1855498"/>
                <a:gd name="connsiteX250" fmla="*/ 3817787 w 4011346"/>
                <a:gd name="connsiteY250" fmla="*/ 630736 h 1855498"/>
                <a:gd name="connsiteX251" fmla="*/ 3717671 w 4011346"/>
                <a:gd name="connsiteY251" fmla="*/ 553979 h 1855498"/>
                <a:gd name="connsiteX252" fmla="*/ 3664275 w 4011346"/>
                <a:gd name="connsiteY252" fmla="*/ 533956 h 1855498"/>
                <a:gd name="connsiteX253" fmla="*/ 3584181 w 4011346"/>
                <a:gd name="connsiteY253" fmla="*/ 527282 h 1855498"/>
                <a:gd name="connsiteX254" fmla="*/ 3520774 w 4011346"/>
                <a:gd name="connsiteY254" fmla="*/ 510595 h 1855498"/>
                <a:gd name="connsiteX255" fmla="*/ 3530786 w 4011346"/>
                <a:gd name="connsiteY255" fmla="*/ 550642 h 1855498"/>
                <a:gd name="connsiteX256" fmla="*/ 3537460 w 4011346"/>
                <a:gd name="connsiteY256" fmla="*/ 577340 h 1855498"/>
                <a:gd name="connsiteX257" fmla="*/ 3507425 w 4011346"/>
                <a:gd name="connsiteY257" fmla="*/ 600700 h 1855498"/>
                <a:gd name="connsiteX258" fmla="*/ 3477390 w 4011346"/>
                <a:gd name="connsiteY258" fmla="*/ 574003 h 1855498"/>
                <a:gd name="connsiteX259" fmla="*/ 3477390 w 4011346"/>
                <a:gd name="connsiteY259" fmla="*/ 553979 h 1855498"/>
                <a:gd name="connsiteX260" fmla="*/ 3504088 w 4011346"/>
                <a:gd name="connsiteY260" fmla="*/ 533956 h 1855498"/>
                <a:gd name="connsiteX261" fmla="*/ 3467379 w 4011346"/>
                <a:gd name="connsiteY261" fmla="*/ 520607 h 1855498"/>
                <a:gd name="connsiteX262" fmla="*/ 3450692 w 4011346"/>
                <a:gd name="connsiteY262" fmla="*/ 547305 h 1855498"/>
                <a:gd name="connsiteX263" fmla="*/ 3440681 w 4011346"/>
                <a:gd name="connsiteY263" fmla="*/ 560654 h 1855498"/>
                <a:gd name="connsiteX264" fmla="*/ 3357250 w 4011346"/>
                <a:gd name="connsiteY264" fmla="*/ 547305 h 1855498"/>
                <a:gd name="connsiteX265" fmla="*/ 3297180 w 4011346"/>
                <a:gd name="connsiteY265" fmla="*/ 553979 h 1855498"/>
                <a:gd name="connsiteX266" fmla="*/ 3267145 w 4011346"/>
                <a:gd name="connsiteY266" fmla="*/ 530619 h 1855498"/>
                <a:gd name="connsiteX267" fmla="*/ 3267145 w 4011346"/>
                <a:gd name="connsiteY267" fmla="*/ 493909 h 1855498"/>
                <a:gd name="connsiteX268" fmla="*/ 3203738 w 4011346"/>
                <a:gd name="connsiteY268" fmla="*/ 437176 h 1855498"/>
                <a:gd name="connsiteX269" fmla="*/ 3076923 w 4011346"/>
                <a:gd name="connsiteY269" fmla="*/ 443851 h 1855498"/>
                <a:gd name="connsiteX270" fmla="*/ 3043551 w 4011346"/>
                <a:gd name="connsiteY270" fmla="*/ 420490 h 1855498"/>
                <a:gd name="connsiteX271" fmla="*/ 3000167 w 4011346"/>
                <a:gd name="connsiteY271" fmla="*/ 373769 h 1855498"/>
                <a:gd name="connsiteX272" fmla="*/ 3013516 w 4011346"/>
                <a:gd name="connsiteY272" fmla="*/ 367095 h 1855498"/>
                <a:gd name="connsiteX273" fmla="*/ 3000167 w 4011346"/>
                <a:gd name="connsiteY273" fmla="*/ 347071 h 1855498"/>
                <a:gd name="connsiteX274" fmla="*/ 2970132 w 4011346"/>
                <a:gd name="connsiteY274" fmla="*/ 343734 h 1855498"/>
                <a:gd name="connsiteX275" fmla="*/ 2920073 w 4011346"/>
                <a:gd name="connsiteY275" fmla="*/ 390455 h 1855498"/>
                <a:gd name="connsiteX276" fmla="*/ 2920073 w 4011346"/>
                <a:gd name="connsiteY276" fmla="*/ 390455 h 1855498"/>
                <a:gd name="connsiteX277" fmla="*/ 2916736 w 4011346"/>
                <a:gd name="connsiteY277" fmla="*/ 340397 h 1855498"/>
                <a:gd name="connsiteX278" fmla="*/ 2936760 w 4011346"/>
                <a:gd name="connsiteY278" fmla="*/ 337060 h 1855498"/>
                <a:gd name="connsiteX279" fmla="*/ 2866678 w 4011346"/>
                <a:gd name="connsiteY279" fmla="*/ 307025 h 1855498"/>
                <a:gd name="connsiteX280" fmla="*/ 2813282 w 4011346"/>
                <a:gd name="connsiteY280" fmla="*/ 303687 h 1855498"/>
                <a:gd name="connsiteX281" fmla="*/ 2793259 w 4011346"/>
                <a:gd name="connsiteY281" fmla="*/ 327048 h 1855498"/>
                <a:gd name="connsiteX282" fmla="*/ 2743200 w 4011346"/>
                <a:gd name="connsiteY282" fmla="*/ 337060 h 1855498"/>
                <a:gd name="connsiteX283" fmla="*/ 2786584 w 4011346"/>
                <a:gd name="connsiteY283" fmla="*/ 347071 h 1855498"/>
                <a:gd name="connsiteX284" fmla="*/ 2763224 w 4011346"/>
                <a:gd name="connsiteY284" fmla="*/ 367095 h 1855498"/>
                <a:gd name="connsiteX285" fmla="*/ 2769898 w 4011346"/>
                <a:gd name="connsiteY285" fmla="*/ 417153 h 1855498"/>
                <a:gd name="connsiteX286" fmla="*/ 2749875 w 4011346"/>
                <a:gd name="connsiteY286" fmla="*/ 400467 h 1855498"/>
                <a:gd name="connsiteX287" fmla="*/ 2733189 w 4011346"/>
                <a:gd name="connsiteY287" fmla="*/ 413816 h 1855498"/>
                <a:gd name="connsiteX288" fmla="*/ 2666444 w 4011346"/>
                <a:gd name="connsiteY288" fmla="*/ 403804 h 1855498"/>
                <a:gd name="connsiteX289" fmla="*/ 2636409 w 4011346"/>
                <a:gd name="connsiteY289" fmla="*/ 413816 h 1855498"/>
                <a:gd name="connsiteX290" fmla="*/ 2603037 w 4011346"/>
                <a:gd name="connsiteY290" fmla="*/ 373769 h 1855498"/>
                <a:gd name="connsiteX291" fmla="*/ 2569665 w 4011346"/>
                <a:gd name="connsiteY291" fmla="*/ 457200 h 1855498"/>
                <a:gd name="connsiteX292" fmla="*/ 2552979 w 4011346"/>
                <a:gd name="connsiteY292" fmla="*/ 477223 h 1855498"/>
                <a:gd name="connsiteX293" fmla="*/ 2469548 w 4011346"/>
                <a:gd name="connsiteY293" fmla="*/ 340397 h 1855498"/>
                <a:gd name="connsiteX294" fmla="*/ 2446187 w 4011346"/>
                <a:gd name="connsiteY294" fmla="*/ 357083 h 1855498"/>
                <a:gd name="connsiteX295" fmla="*/ 2442850 w 4011346"/>
                <a:gd name="connsiteY295" fmla="*/ 323711 h 1855498"/>
                <a:gd name="connsiteX296" fmla="*/ 2449525 w 4011346"/>
                <a:gd name="connsiteY296" fmla="*/ 253629 h 1855498"/>
                <a:gd name="connsiteX297" fmla="*/ 2386117 w 4011346"/>
                <a:gd name="connsiteY297" fmla="*/ 226931 h 1855498"/>
                <a:gd name="connsiteX298" fmla="*/ 2369431 w 4011346"/>
                <a:gd name="connsiteY298" fmla="*/ 266978 h 1855498"/>
                <a:gd name="connsiteX299" fmla="*/ 2379443 w 4011346"/>
                <a:gd name="connsiteY299" fmla="*/ 290338 h 1855498"/>
                <a:gd name="connsiteX300" fmla="*/ 2376106 w 4011346"/>
                <a:gd name="connsiteY300" fmla="*/ 310362 h 1855498"/>
                <a:gd name="connsiteX301" fmla="*/ 2352745 w 4011346"/>
                <a:gd name="connsiteY301" fmla="*/ 287001 h 1855498"/>
                <a:gd name="connsiteX302" fmla="*/ 2316036 w 4011346"/>
                <a:gd name="connsiteY302" fmla="*/ 293676 h 1855498"/>
                <a:gd name="connsiteX303" fmla="*/ 2272652 w 4011346"/>
                <a:gd name="connsiteY303" fmla="*/ 280327 h 1855498"/>
                <a:gd name="connsiteX304" fmla="*/ 2245954 w 4011346"/>
                <a:gd name="connsiteY304" fmla="*/ 240280 h 1855498"/>
                <a:gd name="connsiteX305" fmla="*/ 2209244 w 4011346"/>
                <a:gd name="connsiteY305" fmla="*/ 236943 h 1855498"/>
                <a:gd name="connsiteX306" fmla="*/ 2159186 w 4011346"/>
                <a:gd name="connsiteY306" fmla="*/ 226931 h 1855498"/>
                <a:gd name="connsiteX307" fmla="*/ 2132488 w 4011346"/>
                <a:gd name="connsiteY307" fmla="*/ 243617 h 1855498"/>
                <a:gd name="connsiteX308" fmla="*/ 2115802 w 4011346"/>
                <a:gd name="connsiteY308" fmla="*/ 256966 h 1855498"/>
                <a:gd name="connsiteX309" fmla="*/ 2115802 w 4011346"/>
                <a:gd name="connsiteY309" fmla="*/ 226931 h 1855498"/>
                <a:gd name="connsiteX310" fmla="*/ 2082430 w 4011346"/>
                <a:gd name="connsiteY310" fmla="*/ 223594 h 1855498"/>
                <a:gd name="connsiteX311" fmla="*/ 2045720 w 4011346"/>
                <a:gd name="connsiteY311" fmla="*/ 196896 h 1855498"/>
                <a:gd name="connsiteX312" fmla="*/ 2025697 w 4011346"/>
                <a:gd name="connsiteY312" fmla="*/ 226931 h 1855498"/>
                <a:gd name="connsiteX313" fmla="*/ 2055732 w 4011346"/>
                <a:gd name="connsiteY313" fmla="*/ 223594 h 1855498"/>
                <a:gd name="connsiteX314" fmla="*/ 2045720 w 4011346"/>
                <a:gd name="connsiteY314" fmla="*/ 250292 h 1855498"/>
                <a:gd name="connsiteX315" fmla="*/ 1988987 w 4011346"/>
                <a:gd name="connsiteY315" fmla="*/ 270315 h 1855498"/>
                <a:gd name="connsiteX316" fmla="*/ 1935592 w 4011346"/>
                <a:gd name="connsiteY316" fmla="*/ 280327 h 1855498"/>
                <a:gd name="connsiteX317" fmla="*/ 1995662 w 4011346"/>
                <a:gd name="connsiteY317" fmla="*/ 223594 h 1855498"/>
                <a:gd name="connsiteX318" fmla="*/ 2055732 w 4011346"/>
                <a:gd name="connsiteY318" fmla="*/ 153512 h 1855498"/>
                <a:gd name="connsiteX319" fmla="*/ 2055732 w 4011346"/>
                <a:gd name="connsiteY319" fmla="*/ 153512 h 1855498"/>
                <a:gd name="connsiteX320" fmla="*/ 1862173 w 4011346"/>
                <a:gd name="connsiteY320" fmla="*/ 53396 h 1855498"/>
                <a:gd name="connsiteX321" fmla="*/ 1768731 w 4011346"/>
                <a:gd name="connsiteY321" fmla="*/ 3338 h 1855498"/>
                <a:gd name="connsiteX322" fmla="*/ 1705322 w 4011346"/>
                <a:gd name="connsiteY322" fmla="*/ 26698 h 1855498"/>
                <a:gd name="connsiteX323" fmla="*/ 1685300 w 4011346"/>
                <a:gd name="connsiteY323" fmla="*/ 0 h 1855498"/>
                <a:gd name="connsiteX324" fmla="*/ 1615218 w 4011346"/>
                <a:gd name="connsiteY324" fmla="*/ 3338 h 1855498"/>
                <a:gd name="connsiteX325" fmla="*/ 1638579 w 4011346"/>
                <a:gd name="connsiteY325" fmla="*/ 33373 h 1855498"/>
                <a:gd name="connsiteX326" fmla="*/ 1528449 w 4011346"/>
                <a:gd name="connsiteY326" fmla="*/ 60069 h 1855498"/>
                <a:gd name="connsiteX327" fmla="*/ 1465043 w 4011346"/>
                <a:gd name="connsiteY327" fmla="*/ 143500 h 1855498"/>
                <a:gd name="connsiteX328" fmla="*/ 1448357 w 4011346"/>
                <a:gd name="connsiteY328" fmla="*/ 170198 h 1855498"/>
                <a:gd name="connsiteX329" fmla="*/ 1481729 w 4011346"/>
                <a:gd name="connsiteY329" fmla="*/ 203571 h 1855498"/>
                <a:gd name="connsiteX330" fmla="*/ 1481729 w 4011346"/>
                <a:gd name="connsiteY330" fmla="*/ 233606 h 1855498"/>
                <a:gd name="connsiteX331" fmla="*/ 1458368 w 4011346"/>
                <a:gd name="connsiteY331" fmla="*/ 236943 h 1855498"/>
                <a:gd name="connsiteX332" fmla="*/ 1458368 w 4011346"/>
                <a:gd name="connsiteY332" fmla="*/ 216919 h 1855498"/>
                <a:gd name="connsiteX333" fmla="*/ 1418322 w 4011346"/>
                <a:gd name="connsiteY333" fmla="*/ 226931 h 1855498"/>
                <a:gd name="connsiteX334" fmla="*/ 1368263 w 4011346"/>
                <a:gd name="connsiteY334" fmla="*/ 233606 h 1855498"/>
                <a:gd name="connsiteX335" fmla="*/ 1321542 w 4011346"/>
                <a:gd name="connsiteY335" fmla="*/ 240280 h 1855498"/>
                <a:gd name="connsiteX336" fmla="*/ 1318205 w 4011346"/>
                <a:gd name="connsiteY336" fmla="*/ 327048 h 1855498"/>
                <a:gd name="connsiteX337" fmla="*/ 1358252 w 4011346"/>
                <a:gd name="connsiteY337" fmla="*/ 350409 h 1855498"/>
                <a:gd name="connsiteX338" fmla="*/ 1374938 w 4011346"/>
                <a:gd name="connsiteY338" fmla="*/ 380444 h 1855498"/>
                <a:gd name="connsiteX339" fmla="*/ 1384949 w 4011346"/>
                <a:gd name="connsiteY339" fmla="*/ 403804 h 1855498"/>
                <a:gd name="connsiteX340" fmla="*/ 1394961 w 4011346"/>
                <a:gd name="connsiteY340" fmla="*/ 453863 h 1855498"/>
                <a:gd name="connsiteX341" fmla="*/ 1384949 w 4011346"/>
                <a:gd name="connsiteY341" fmla="*/ 483898 h 1855498"/>
                <a:gd name="connsiteX342" fmla="*/ 1358252 w 4011346"/>
                <a:gd name="connsiteY342" fmla="*/ 450525 h 1855498"/>
                <a:gd name="connsiteX343" fmla="*/ 1361589 w 4011346"/>
                <a:gd name="connsiteY343" fmla="*/ 420490 h 1855498"/>
                <a:gd name="connsiteX344" fmla="*/ 1351577 w 4011346"/>
                <a:gd name="connsiteY344" fmla="*/ 380444 h 1855498"/>
                <a:gd name="connsiteX345" fmla="*/ 1328217 w 4011346"/>
                <a:gd name="connsiteY345" fmla="*/ 387118 h 1855498"/>
                <a:gd name="connsiteX346" fmla="*/ 1281495 w 4011346"/>
                <a:gd name="connsiteY346" fmla="*/ 350409 h 1855498"/>
                <a:gd name="connsiteX347" fmla="*/ 1241449 w 4011346"/>
                <a:gd name="connsiteY347" fmla="*/ 347071 h 1855498"/>
                <a:gd name="connsiteX348" fmla="*/ 1241449 w 4011346"/>
                <a:gd name="connsiteY348" fmla="*/ 393792 h 1855498"/>
                <a:gd name="connsiteX349" fmla="*/ 1201402 w 4011346"/>
                <a:gd name="connsiteY349" fmla="*/ 373769 h 1855498"/>
                <a:gd name="connsiteX350" fmla="*/ 1228100 w 4011346"/>
                <a:gd name="connsiteY350" fmla="*/ 423827 h 1855498"/>
                <a:gd name="connsiteX351" fmla="*/ 1258135 w 4011346"/>
                <a:gd name="connsiteY351" fmla="*/ 433839 h 1855498"/>
                <a:gd name="connsiteX352" fmla="*/ 1258135 w 4011346"/>
                <a:gd name="connsiteY352" fmla="*/ 453863 h 1855498"/>
                <a:gd name="connsiteX353" fmla="*/ 1198065 w 4011346"/>
                <a:gd name="connsiteY353" fmla="*/ 430502 h 1855498"/>
                <a:gd name="connsiteX354" fmla="*/ 1181379 w 4011346"/>
                <a:gd name="connsiteY354" fmla="*/ 430502 h 1855498"/>
                <a:gd name="connsiteX355" fmla="*/ 1178041 w 4011346"/>
                <a:gd name="connsiteY355" fmla="*/ 387118 h 1855498"/>
                <a:gd name="connsiteX356" fmla="*/ 1171367 w 4011346"/>
                <a:gd name="connsiteY356" fmla="*/ 300350 h 1855498"/>
                <a:gd name="connsiteX357" fmla="*/ 1161355 w 4011346"/>
                <a:gd name="connsiteY357" fmla="*/ 370432 h 1855498"/>
                <a:gd name="connsiteX358" fmla="*/ 1137995 w 4011346"/>
                <a:gd name="connsiteY358" fmla="*/ 400467 h 1855498"/>
                <a:gd name="connsiteX359" fmla="*/ 1158018 w 4011346"/>
                <a:gd name="connsiteY359" fmla="*/ 447188 h 1855498"/>
                <a:gd name="connsiteX360" fmla="*/ 1158018 w 4011346"/>
                <a:gd name="connsiteY360" fmla="*/ 480560 h 1855498"/>
                <a:gd name="connsiteX361" fmla="*/ 1141332 w 4011346"/>
                <a:gd name="connsiteY361" fmla="*/ 530619 h 1855498"/>
                <a:gd name="connsiteX362" fmla="*/ 1154681 w 4011346"/>
                <a:gd name="connsiteY362" fmla="*/ 563991 h 1855498"/>
                <a:gd name="connsiteX363" fmla="*/ 1184716 w 4011346"/>
                <a:gd name="connsiteY363" fmla="*/ 570665 h 1855498"/>
                <a:gd name="connsiteX364" fmla="*/ 1221425 w 4011346"/>
                <a:gd name="connsiteY364" fmla="*/ 577340 h 1855498"/>
                <a:gd name="connsiteX365" fmla="*/ 1241449 w 4011346"/>
                <a:gd name="connsiteY365" fmla="*/ 600700 h 1855498"/>
                <a:gd name="connsiteX366" fmla="*/ 1258135 w 4011346"/>
                <a:gd name="connsiteY366" fmla="*/ 644084 h 1855498"/>
                <a:gd name="connsiteX367" fmla="*/ 1258135 w 4011346"/>
                <a:gd name="connsiteY367" fmla="*/ 644084 h 1855498"/>
                <a:gd name="connsiteX368" fmla="*/ 1254798 w 4011346"/>
                <a:gd name="connsiteY368" fmla="*/ 677457 h 1855498"/>
                <a:gd name="connsiteX369" fmla="*/ 1274821 w 4011346"/>
                <a:gd name="connsiteY369" fmla="*/ 697480 h 1855498"/>
                <a:gd name="connsiteX370" fmla="*/ 1244786 w 4011346"/>
                <a:gd name="connsiteY370" fmla="*/ 704155 h 1855498"/>
                <a:gd name="connsiteX371" fmla="*/ 1224763 w 4011346"/>
                <a:gd name="connsiteY371" fmla="*/ 664108 h 1855498"/>
                <a:gd name="connsiteX372" fmla="*/ 1224763 w 4011346"/>
                <a:gd name="connsiteY372" fmla="*/ 624061 h 1855498"/>
                <a:gd name="connsiteX373" fmla="*/ 1194727 w 4011346"/>
                <a:gd name="connsiteY373" fmla="*/ 587352 h 1855498"/>
                <a:gd name="connsiteX374" fmla="*/ 1164692 w 4011346"/>
                <a:gd name="connsiteY374" fmla="*/ 630736 h 1855498"/>
                <a:gd name="connsiteX375" fmla="*/ 1178041 w 4011346"/>
                <a:gd name="connsiteY375" fmla="*/ 674119 h 1855498"/>
                <a:gd name="connsiteX376" fmla="*/ 1137995 w 4011346"/>
                <a:gd name="connsiteY376" fmla="*/ 730852 h 1855498"/>
                <a:gd name="connsiteX377" fmla="*/ 1097948 w 4011346"/>
                <a:gd name="connsiteY377" fmla="*/ 787585 h 1855498"/>
                <a:gd name="connsiteX378" fmla="*/ 1007843 w 4011346"/>
                <a:gd name="connsiteY378" fmla="*/ 750876 h 1855498"/>
                <a:gd name="connsiteX379" fmla="*/ 1074587 w 4011346"/>
                <a:gd name="connsiteY379" fmla="*/ 747538 h 1855498"/>
                <a:gd name="connsiteX380" fmla="*/ 1107960 w 4011346"/>
                <a:gd name="connsiteY380" fmla="*/ 684131 h 1855498"/>
                <a:gd name="connsiteX381" fmla="*/ 1121309 w 4011346"/>
                <a:gd name="connsiteY381" fmla="*/ 640747 h 1855498"/>
                <a:gd name="connsiteX382" fmla="*/ 1127983 w 4011346"/>
                <a:gd name="connsiteY382" fmla="*/ 607375 h 1855498"/>
                <a:gd name="connsiteX383" fmla="*/ 1117971 w 4011346"/>
                <a:gd name="connsiteY383" fmla="*/ 590689 h 1855498"/>
                <a:gd name="connsiteX384" fmla="*/ 1114634 w 4011346"/>
                <a:gd name="connsiteY384" fmla="*/ 540630 h 1855498"/>
                <a:gd name="connsiteX385" fmla="*/ 1104622 w 4011346"/>
                <a:gd name="connsiteY385" fmla="*/ 460537 h 1855498"/>
                <a:gd name="connsiteX386" fmla="*/ 1101285 w 4011346"/>
                <a:gd name="connsiteY386" fmla="*/ 400467 h 1855498"/>
                <a:gd name="connsiteX387" fmla="*/ 1124646 w 4011346"/>
                <a:gd name="connsiteY387" fmla="*/ 307025 h 1855498"/>
                <a:gd name="connsiteX388" fmla="*/ 1031203 w 4011346"/>
                <a:gd name="connsiteY388" fmla="*/ 297013 h 1855498"/>
                <a:gd name="connsiteX389" fmla="*/ 1014517 w 4011346"/>
                <a:gd name="connsiteY389" fmla="*/ 353746 h 1855498"/>
                <a:gd name="connsiteX390" fmla="*/ 1024529 w 4011346"/>
                <a:gd name="connsiteY390" fmla="*/ 400467 h 1855498"/>
                <a:gd name="connsiteX391" fmla="*/ 981145 w 4011346"/>
                <a:gd name="connsiteY391" fmla="*/ 453863 h 1855498"/>
                <a:gd name="connsiteX392" fmla="*/ 991157 w 4011346"/>
                <a:gd name="connsiteY392" fmla="*/ 490572 h 1855498"/>
                <a:gd name="connsiteX393" fmla="*/ 981145 w 4011346"/>
                <a:gd name="connsiteY393" fmla="*/ 537293 h 1855498"/>
                <a:gd name="connsiteX394" fmla="*/ 1001168 w 4011346"/>
                <a:gd name="connsiteY394" fmla="*/ 560654 h 1855498"/>
                <a:gd name="connsiteX395" fmla="*/ 1017854 w 4011346"/>
                <a:gd name="connsiteY395" fmla="*/ 607375 h 1855498"/>
                <a:gd name="connsiteX396" fmla="*/ 1047890 w 4011346"/>
                <a:gd name="connsiteY396" fmla="*/ 594026 h 1855498"/>
                <a:gd name="connsiteX397" fmla="*/ 1014517 w 4011346"/>
                <a:gd name="connsiteY397" fmla="*/ 647422 h 1855498"/>
                <a:gd name="connsiteX398" fmla="*/ 957784 w 4011346"/>
                <a:gd name="connsiteY398" fmla="*/ 594026 h 1855498"/>
                <a:gd name="connsiteX399" fmla="*/ 884365 w 4011346"/>
                <a:gd name="connsiteY399" fmla="*/ 557317 h 1855498"/>
                <a:gd name="connsiteX400" fmla="*/ 824295 w 4011346"/>
                <a:gd name="connsiteY400" fmla="*/ 533956 h 1855498"/>
                <a:gd name="connsiteX401" fmla="*/ 810946 w 4011346"/>
                <a:gd name="connsiteY401" fmla="*/ 570665 h 1855498"/>
                <a:gd name="connsiteX402" fmla="*/ 827633 w 4011346"/>
                <a:gd name="connsiteY402" fmla="*/ 607375 h 1855498"/>
                <a:gd name="connsiteX403" fmla="*/ 814284 w 4011346"/>
                <a:gd name="connsiteY403" fmla="*/ 630736 h 1855498"/>
                <a:gd name="connsiteX404" fmla="*/ 800935 w 4011346"/>
                <a:gd name="connsiteY404" fmla="*/ 647422 h 1855498"/>
                <a:gd name="connsiteX405" fmla="*/ 770900 w 4011346"/>
                <a:gd name="connsiteY405" fmla="*/ 590689 h 1855498"/>
                <a:gd name="connsiteX406" fmla="*/ 744202 w 4011346"/>
                <a:gd name="connsiteY406" fmla="*/ 627398 h 1855498"/>
                <a:gd name="connsiteX407" fmla="*/ 707492 w 4011346"/>
                <a:gd name="connsiteY407" fmla="*/ 620724 h 1855498"/>
                <a:gd name="connsiteX408" fmla="*/ 654097 w 4011346"/>
                <a:gd name="connsiteY408" fmla="*/ 657433 h 1855498"/>
                <a:gd name="connsiteX409" fmla="*/ 644085 w 4011346"/>
                <a:gd name="connsiteY409" fmla="*/ 634073 h 1855498"/>
                <a:gd name="connsiteX410" fmla="*/ 654097 w 4011346"/>
                <a:gd name="connsiteY410" fmla="*/ 597363 h 1855498"/>
                <a:gd name="connsiteX411" fmla="*/ 614050 w 4011346"/>
                <a:gd name="connsiteY411" fmla="*/ 634073 h 1855498"/>
                <a:gd name="connsiteX412" fmla="*/ 594027 w 4011346"/>
                <a:gd name="connsiteY412" fmla="*/ 634073 h 1855498"/>
                <a:gd name="connsiteX413" fmla="*/ 533957 w 4011346"/>
                <a:gd name="connsiteY413" fmla="*/ 667445 h 1855498"/>
                <a:gd name="connsiteX414" fmla="*/ 510596 w 4011346"/>
                <a:gd name="connsiteY414" fmla="*/ 690806 h 1855498"/>
                <a:gd name="connsiteX415" fmla="*/ 500584 w 4011346"/>
                <a:gd name="connsiteY415" fmla="*/ 737527 h 1855498"/>
                <a:gd name="connsiteX416" fmla="*/ 450526 w 4011346"/>
                <a:gd name="connsiteY416" fmla="*/ 724178 h 1855498"/>
                <a:gd name="connsiteX417" fmla="*/ 433840 w 4011346"/>
                <a:gd name="connsiteY417" fmla="*/ 687468 h 1855498"/>
                <a:gd name="connsiteX418" fmla="*/ 467212 w 4011346"/>
                <a:gd name="connsiteY418" fmla="*/ 657433 h 1855498"/>
                <a:gd name="connsiteX419" fmla="*/ 453863 w 4011346"/>
                <a:gd name="connsiteY419" fmla="*/ 634073 h 1855498"/>
                <a:gd name="connsiteX420" fmla="*/ 390456 w 4011346"/>
                <a:gd name="connsiteY420" fmla="*/ 604038 h 1855498"/>
                <a:gd name="connsiteX421" fmla="*/ 417154 w 4011346"/>
                <a:gd name="connsiteY421" fmla="*/ 654096 h 1855498"/>
                <a:gd name="connsiteX422" fmla="*/ 407142 w 4011346"/>
                <a:gd name="connsiteY422" fmla="*/ 697480 h 1855498"/>
                <a:gd name="connsiteX423" fmla="*/ 413817 w 4011346"/>
                <a:gd name="connsiteY423" fmla="*/ 734190 h 1855498"/>
                <a:gd name="connsiteX424" fmla="*/ 427165 w 4011346"/>
                <a:gd name="connsiteY424" fmla="*/ 757550 h 1855498"/>
                <a:gd name="connsiteX425" fmla="*/ 413817 w 4011346"/>
                <a:gd name="connsiteY425" fmla="*/ 787585 h 1855498"/>
                <a:gd name="connsiteX426" fmla="*/ 390456 w 4011346"/>
                <a:gd name="connsiteY426" fmla="*/ 764225 h 1855498"/>
                <a:gd name="connsiteX427" fmla="*/ 360421 w 4011346"/>
                <a:gd name="connsiteY427" fmla="*/ 760887 h 1855498"/>
                <a:gd name="connsiteX428" fmla="*/ 333723 w 4011346"/>
                <a:gd name="connsiteY428" fmla="*/ 800934 h 1855498"/>
                <a:gd name="connsiteX429" fmla="*/ 307025 w 4011346"/>
                <a:gd name="connsiteY429" fmla="*/ 820957 h 1855498"/>
                <a:gd name="connsiteX430" fmla="*/ 320374 w 4011346"/>
                <a:gd name="connsiteY430" fmla="*/ 847655 h 1855498"/>
                <a:gd name="connsiteX431" fmla="*/ 303688 w 4011346"/>
                <a:gd name="connsiteY431" fmla="*/ 871016 h 1855498"/>
                <a:gd name="connsiteX432" fmla="*/ 233606 w 4011346"/>
                <a:gd name="connsiteY432" fmla="*/ 834306 h 1855498"/>
                <a:gd name="connsiteX433" fmla="*/ 243618 w 4011346"/>
                <a:gd name="connsiteY433" fmla="*/ 884365 h 1855498"/>
                <a:gd name="connsiteX434" fmla="*/ 263641 w 4011346"/>
                <a:gd name="connsiteY434" fmla="*/ 904388 h 1855498"/>
                <a:gd name="connsiteX435" fmla="*/ 250292 w 4011346"/>
                <a:gd name="connsiteY435" fmla="*/ 917737 h 1855498"/>
                <a:gd name="connsiteX436" fmla="*/ 193560 w 4011346"/>
                <a:gd name="connsiteY436" fmla="*/ 881027 h 1855498"/>
                <a:gd name="connsiteX437" fmla="*/ 170199 w 4011346"/>
                <a:gd name="connsiteY437" fmla="*/ 840981 h 1855498"/>
                <a:gd name="connsiteX438" fmla="*/ 170199 w 4011346"/>
                <a:gd name="connsiteY438" fmla="*/ 794260 h 1855498"/>
                <a:gd name="connsiteX439" fmla="*/ 133490 w 4011346"/>
                <a:gd name="connsiteY439" fmla="*/ 717503 h 1855498"/>
                <a:gd name="connsiteX440" fmla="*/ 196897 w 4011346"/>
                <a:gd name="connsiteY440" fmla="*/ 747538 h 1855498"/>
                <a:gd name="connsiteX441" fmla="*/ 256967 w 4011346"/>
                <a:gd name="connsiteY441" fmla="*/ 777573 h 1855498"/>
                <a:gd name="connsiteX442" fmla="*/ 293676 w 4011346"/>
                <a:gd name="connsiteY442" fmla="*/ 780911 h 1855498"/>
                <a:gd name="connsiteX443" fmla="*/ 327049 w 4011346"/>
                <a:gd name="connsiteY443" fmla="*/ 750876 h 1855498"/>
                <a:gd name="connsiteX444" fmla="*/ 343735 w 4011346"/>
                <a:gd name="connsiteY444" fmla="*/ 714166 h 1855498"/>
                <a:gd name="connsiteX445" fmla="*/ 333723 w 4011346"/>
                <a:gd name="connsiteY445" fmla="*/ 664108 h 1855498"/>
                <a:gd name="connsiteX446" fmla="*/ 290339 w 4011346"/>
                <a:gd name="connsiteY446" fmla="*/ 644084 h 1855498"/>
                <a:gd name="connsiteX447" fmla="*/ 236944 w 4011346"/>
                <a:gd name="connsiteY447" fmla="*/ 597363 h 1855498"/>
                <a:gd name="connsiteX448" fmla="*/ 133490 w 4011346"/>
                <a:gd name="connsiteY448" fmla="*/ 540630 h 1855498"/>
                <a:gd name="connsiteX0" fmla="*/ 133490 w 4011346"/>
                <a:gd name="connsiteY0" fmla="*/ 584014 h 1898882"/>
                <a:gd name="connsiteX1" fmla="*/ 46722 w 4011346"/>
                <a:gd name="connsiteY1" fmla="*/ 614049 h 1898882"/>
                <a:gd name="connsiteX2" fmla="*/ 33373 w 4011346"/>
                <a:gd name="connsiteY2" fmla="*/ 644084 h 1898882"/>
                <a:gd name="connsiteX3" fmla="*/ 43384 w 4011346"/>
                <a:gd name="connsiteY3" fmla="*/ 674120 h 1898882"/>
                <a:gd name="connsiteX4" fmla="*/ 60071 w 4011346"/>
                <a:gd name="connsiteY4" fmla="*/ 700817 h 1898882"/>
                <a:gd name="connsiteX5" fmla="*/ 73419 w 4011346"/>
                <a:gd name="connsiteY5" fmla="*/ 730852 h 1898882"/>
                <a:gd name="connsiteX6" fmla="*/ 56733 w 4011346"/>
                <a:gd name="connsiteY6" fmla="*/ 754213 h 1898882"/>
                <a:gd name="connsiteX7" fmla="*/ 76757 w 4011346"/>
                <a:gd name="connsiteY7" fmla="*/ 834306 h 1898882"/>
                <a:gd name="connsiteX8" fmla="*/ 66745 w 4011346"/>
                <a:gd name="connsiteY8" fmla="*/ 850993 h 1898882"/>
                <a:gd name="connsiteX9" fmla="*/ 70082 w 4011346"/>
                <a:gd name="connsiteY9" fmla="*/ 877690 h 1898882"/>
                <a:gd name="connsiteX10" fmla="*/ 70082 w 4011346"/>
                <a:gd name="connsiteY10" fmla="*/ 917737 h 1898882"/>
                <a:gd name="connsiteX11" fmla="*/ 80094 w 4011346"/>
                <a:gd name="connsiteY11" fmla="*/ 937760 h 1898882"/>
                <a:gd name="connsiteX12" fmla="*/ 76757 w 4011346"/>
                <a:gd name="connsiteY12" fmla="*/ 961121 h 1898882"/>
                <a:gd name="connsiteX13" fmla="*/ 106792 w 4011346"/>
                <a:gd name="connsiteY13" fmla="*/ 994493 h 1898882"/>
                <a:gd name="connsiteX14" fmla="*/ 106792 w 4011346"/>
                <a:gd name="connsiteY14" fmla="*/ 1024528 h 1898882"/>
                <a:gd name="connsiteX15" fmla="*/ 13349 w 4011346"/>
                <a:gd name="connsiteY15" fmla="*/ 1114633 h 1898882"/>
                <a:gd name="connsiteX16" fmla="*/ 33373 w 4011346"/>
                <a:gd name="connsiteY16" fmla="*/ 1148006 h 1898882"/>
                <a:gd name="connsiteX17" fmla="*/ 33373 w 4011346"/>
                <a:gd name="connsiteY17" fmla="*/ 1148006 h 1898882"/>
                <a:gd name="connsiteX18" fmla="*/ 16687 w 4011346"/>
                <a:gd name="connsiteY18" fmla="*/ 1178041 h 1898882"/>
                <a:gd name="connsiteX19" fmla="*/ 3338 w 4011346"/>
                <a:gd name="connsiteY19" fmla="*/ 1208076 h 1898882"/>
                <a:gd name="connsiteX20" fmla="*/ 0 w 4011346"/>
                <a:gd name="connsiteY20" fmla="*/ 1268146 h 1898882"/>
                <a:gd name="connsiteX21" fmla="*/ 16687 w 4011346"/>
                <a:gd name="connsiteY21" fmla="*/ 1311530 h 1898882"/>
                <a:gd name="connsiteX22" fmla="*/ 20024 w 4011346"/>
                <a:gd name="connsiteY22" fmla="*/ 1344902 h 1898882"/>
                <a:gd name="connsiteX23" fmla="*/ 56733 w 4011346"/>
                <a:gd name="connsiteY23" fmla="*/ 1354914 h 1898882"/>
                <a:gd name="connsiteX24" fmla="*/ 116803 w 4011346"/>
                <a:gd name="connsiteY24" fmla="*/ 1441682 h 1898882"/>
                <a:gd name="connsiteX25" fmla="*/ 96780 w 4011346"/>
                <a:gd name="connsiteY25" fmla="*/ 1465042 h 1898882"/>
                <a:gd name="connsiteX26" fmla="*/ 93443 w 4011346"/>
                <a:gd name="connsiteY26" fmla="*/ 1495077 h 1898882"/>
                <a:gd name="connsiteX27" fmla="*/ 120141 w 4011346"/>
                <a:gd name="connsiteY27" fmla="*/ 1498414 h 1898882"/>
                <a:gd name="connsiteX28" fmla="*/ 160187 w 4011346"/>
                <a:gd name="connsiteY28" fmla="*/ 1511763 h 1898882"/>
                <a:gd name="connsiteX29" fmla="*/ 186885 w 4011346"/>
                <a:gd name="connsiteY29" fmla="*/ 1525112 h 1898882"/>
                <a:gd name="connsiteX30" fmla="*/ 213583 w 4011346"/>
                <a:gd name="connsiteY30" fmla="*/ 1555147 h 1898882"/>
                <a:gd name="connsiteX31" fmla="*/ 243618 w 4011346"/>
                <a:gd name="connsiteY31" fmla="*/ 1558484 h 1898882"/>
                <a:gd name="connsiteX32" fmla="*/ 287002 w 4011346"/>
                <a:gd name="connsiteY32" fmla="*/ 1588520 h 1898882"/>
                <a:gd name="connsiteX33" fmla="*/ 310363 w 4011346"/>
                <a:gd name="connsiteY33" fmla="*/ 1598531 h 1898882"/>
                <a:gd name="connsiteX34" fmla="*/ 310363 w 4011346"/>
                <a:gd name="connsiteY34" fmla="*/ 1635241 h 1898882"/>
                <a:gd name="connsiteX35" fmla="*/ 270316 w 4011346"/>
                <a:gd name="connsiteY35" fmla="*/ 1675287 h 1898882"/>
                <a:gd name="connsiteX36" fmla="*/ 280327 w 4011346"/>
                <a:gd name="connsiteY36" fmla="*/ 1698648 h 1898882"/>
                <a:gd name="connsiteX37" fmla="*/ 273653 w 4011346"/>
                <a:gd name="connsiteY37" fmla="*/ 1718671 h 1898882"/>
                <a:gd name="connsiteX38" fmla="*/ 266979 w 4011346"/>
                <a:gd name="connsiteY38" fmla="*/ 1735357 h 1898882"/>
                <a:gd name="connsiteX39" fmla="*/ 240281 w 4011346"/>
                <a:gd name="connsiteY39" fmla="*/ 1775404 h 1898882"/>
                <a:gd name="connsiteX40" fmla="*/ 307025 w 4011346"/>
                <a:gd name="connsiteY40" fmla="*/ 1812114 h 1898882"/>
                <a:gd name="connsiteX41" fmla="*/ 337060 w 4011346"/>
                <a:gd name="connsiteY41" fmla="*/ 1818788 h 1898882"/>
                <a:gd name="connsiteX42" fmla="*/ 360421 w 4011346"/>
                <a:gd name="connsiteY42" fmla="*/ 1825463 h 1898882"/>
                <a:gd name="connsiteX43" fmla="*/ 380444 w 4011346"/>
                <a:gd name="connsiteY43" fmla="*/ 1832137 h 1898882"/>
                <a:gd name="connsiteX44" fmla="*/ 407142 w 4011346"/>
                <a:gd name="connsiteY44" fmla="*/ 1852160 h 1898882"/>
                <a:gd name="connsiteX45" fmla="*/ 437177 w 4011346"/>
                <a:gd name="connsiteY45" fmla="*/ 1848823 h 1898882"/>
                <a:gd name="connsiteX46" fmla="*/ 507259 w 4011346"/>
                <a:gd name="connsiteY46" fmla="*/ 1898882 h 1898882"/>
                <a:gd name="connsiteX47" fmla="*/ 517271 w 4011346"/>
                <a:gd name="connsiteY47" fmla="*/ 1885533 h 1898882"/>
                <a:gd name="connsiteX48" fmla="*/ 507259 w 4011346"/>
                <a:gd name="connsiteY48" fmla="*/ 1845486 h 1898882"/>
                <a:gd name="connsiteX49" fmla="*/ 500584 w 4011346"/>
                <a:gd name="connsiteY49" fmla="*/ 1812114 h 1898882"/>
                <a:gd name="connsiteX50" fmla="*/ 483898 w 4011346"/>
                <a:gd name="connsiteY50" fmla="*/ 1768730 h 1898882"/>
                <a:gd name="connsiteX51" fmla="*/ 513933 w 4011346"/>
                <a:gd name="connsiteY51" fmla="*/ 1748706 h 1898882"/>
                <a:gd name="connsiteX52" fmla="*/ 547306 w 4011346"/>
                <a:gd name="connsiteY52" fmla="*/ 1725346 h 1898882"/>
                <a:gd name="connsiteX53" fmla="*/ 527282 w 4011346"/>
                <a:gd name="connsiteY53" fmla="*/ 1708660 h 1898882"/>
                <a:gd name="connsiteX54" fmla="*/ 517271 w 4011346"/>
                <a:gd name="connsiteY54" fmla="*/ 1675287 h 1898882"/>
                <a:gd name="connsiteX55" fmla="*/ 480561 w 4011346"/>
                <a:gd name="connsiteY55" fmla="*/ 1658601 h 1898882"/>
                <a:gd name="connsiteX56" fmla="*/ 470549 w 4011346"/>
                <a:gd name="connsiteY56" fmla="*/ 1638578 h 1898882"/>
                <a:gd name="connsiteX57" fmla="*/ 480561 w 4011346"/>
                <a:gd name="connsiteY57" fmla="*/ 1608543 h 1898882"/>
                <a:gd name="connsiteX58" fmla="*/ 490573 w 4011346"/>
                <a:gd name="connsiteY58" fmla="*/ 1568496 h 1898882"/>
                <a:gd name="connsiteX59" fmla="*/ 513933 w 4011346"/>
                <a:gd name="connsiteY59" fmla="*/ 1588520 h 1898882"/>
                <a:gd name="connsiteX60" fmla="*/ 520608 w 4011346"/>
                <a:gd name="connsiteY60" fmla="*/ 1571833 h 1898882"/>
                <a:gd name="connsiteX61" fmla="*/ 543968 w 4011346"/>
                <a:gd name="connsiteY61" fmla="*/ 1535124 h 1898882"/>
                <a:gd name="connsiteX62" fmla="*/ 574003 w 4011346"/>
                <a:gd name="connsiteY62" fmla="*/ 1518438 h 1898882"/>
                <a:gd name="connsiteX63" fmla="*/ 590690 w 4011346"/>
                <a:gd name="connsiteY63" fmla="*/ 1531787 h 1898882"/>
                <a:gd name="connsiteX64" fmla="*/ 610713 w 4011346"/>
                <a:gd name="connsiteY64" fmla="*/ 1505089 h 1898882"/>
                <a:gd name="connsiteX65" fmla="*/ 630736 w 4011346"/>
                <a:gd name="connsiteY65" fmla="*/ 1531787 h 1898882"/>
                <a:gd name="connsiteX66" fmla="*/ 657434 w 4011346"/>
                <a:gd name="connsiteY66" fmla="*/ 1555147 h 1898882"/>
                <a:gd name="connsiteX67" fmla="*/ 674120 w 4011346"/>
                <a:gd name="connsiteY67" fmla="*/ 1561822 h 1898882"/>
                <a:gd name="connsiteX68" fmla="*/ 697481 w 4011346"/>
                <a:gd name="connsiteY68" fmla="*/ 1561822 h 1898882"/>
                <a:gd name="connsiteX69" fmla="*/ 717504 w 4011346"/>
                <a:gd name="connsiteY69" fmla="*/ 1548473 h 1898882"/>
                <a:gd name="connsiteX70" fmla="*/ 744202 w 4011346"/>
                <a:gd name="connsiteY70" fmla="*/ 1548473 h 1898882"/>
                <a:gd name="connsiteX71" fmla="*/ 760888 w 4011346"/>
                <a:gd name="connsiteY71" fmla="*/ 1545136 h 1898882"/>
                <a:gd name="connsiteX72" fmla="*/ 790923 w 4011346"/>
                <a:gd name="connsiteY72" fmla="*/ 1578508 h 1898882"/>
                <a:gd name="connsiteX73" fmla="*/ 797598 w 4011346"/>
                <a:gd name="connsiteY73" fmla="*/ 1551810 h 1898882"/>
                <a:gd name="connsiteX74" fmla="*/ 817621 w 4011346"/>
                <a:gd name="connsiteY74" fmla="*/ 1568496 h 1898882"/>
                <a:gd name="connsiteX75" fmla="*/ 837644 w 4011346"/>
                <a:gd name="connsiteY75" fmla="*/ 1545136 h 1898882"/>
                <a:gd name="connsiteX76" fmla="*/ 827633 w 4011346"/>
                <a:gd name="connsiteY76" fmla="*/ 1525112 h 1898882"/>
                <a:gd name="connsiteX77" fmla="*/ 810946 w 4011346"/>
                <a:gd name="connsiteY77" fmla="*/ 1511763 h 1898882"/>
                <a:gd name="connsiteX78" fmla="*/ 810946 w 4011346"/>
                <a:gd name="connsiteY78" fmla="*/ 1485066 h 1898882"/>
                <a:gd name="connsiteX79" fmla="*/ 810946 w 4011346"/>
                <a:gd name="connsiteY79" fmla="*/ 1471717 h 1898882"/>
                <a:gd name="connsiteX80" fmla="*/ 830970 w 4011346"/>
                <a:gd name="connsiteY80" fmla="*/ 1468379 h 1898882"/>
                <a:gd name="connsiteX81" fmla="*/ 840981 w 4011346"/>
                <a:gd name="connsiteY81" fmla="*/ 1465042 h 1898882"/>
                <a:gd name="connsiteX82" fmla="*/ 820958 w 4011346"/>
                <a:gd name="connsiteY82" fmla="*/ 1428333 h 1898882"/>
                <a:gd name="connsiteX83" fmla="*/ 854330 w 4011346"/>
                <a:gd name="connsiteY83" fmla="*/ 1421658 h 1898882"/>
                <a:gd name="connsiteX84" fmla="*/ 891040 w 4011346"/>
                <a:gd name="connsiteY84" fmla="*/ 1428333 h 1898882"/>
                <a:gd name="connsiteX85" fmla="*/ 964459 w 4011346"/>
                <a:gd name="connsiteY85" fmla="*/ 1384949 h 1898882"/>
                <a:gd name="connsiteX86" fmla="*/ 1001168 w 4011346"/>
                <a:gd name="connsiteY86" fmla="*/ 1384949 h 1898882"/>
                <a:gd name="connsiteX87" fmla="*/ 1027866 w 4011346"/>
                <a:gd name="connsiteY87" fmla="*/ 1361588 h 1898882"/>
                <a:gd name="connsiteX88" fmla="*/ 1047890 w 4011346"/>
                <a:gd name="connsiteY88" fmla="*/ 1371600 h 1898882"/>
                <a:gd name="connsiteX89" fmla="*/ 1067913 w 4011346"/>
                <a:gd name="connsiteY89" fmla="*/ 1381611 h 1898882"/>
                <a:gd name="connsiteX90" fmla="*/ 1087936 w 4011346"/>
                <a:gd name="connsiteY90" fmla="*/ 1408309 h 1898882"/>
                <a:gd name="connsiteX91" fmla="*/ 1074587 w 4011346"/>
                <a:gd name="connsiteY91" fmla="*/ 1421658 h 1898882"/>
                <a:gd name="connsiteX92" fmla="*/ 1104622 w 4011346"/>
                <a:gd name="connsiteY92" fmla="*/ 1421658 h 1898882"/>
                <a:gd name="connsiteX93" fmla="*/ 1107960 w 4011346"/>
                <a:gd name="connsiteY93" fmla="*/ 1438344 h 1898882"/>
                <a:gd name="connsiteX94" fmla="*/ 1121309 w 4011346"/>
                <a:gd name="connsiteY94" fmla="*/ 1421658 h 1898882"/>
                <a:gd name="connsiteX95" fmla="*/ 1134657 w 4011346"/>
                <a:gd name="connsiteY95" fmla="*/ 1435007 h 1898882"/>
                <a:gd name="connsiteX96" fmla="*/ 1134657 w 4011346"/>
                <a:gd name="connsiteY96" fmla="*/ 1455030 h 1898882"/>
                <a:gd name="connsiteX97" fmla="*/ 1148006 w 4011346"/>
                <a:gd name="connsiteY97" fmla="*/ 1451693 h 1898882"/>
                <a:gd name="connsiteX98" fmla="*/ 1208076 w 4011346"/>
                <a:gd name="connsiteY98" fmla="*/ 1404972 h 1898882"/>
                <a:gd name="connsiteX99" fmla="*/ 1211414 w 4011346"/>
                <a:gd name="connsiteY99" fmla="*/ 1424995 h 1898882"/>
                <a:gd name="connsiteX100" fmla="*/ 1244786 w 4011346"/>
                <a:gd name="connsiteY100" fmla="*/ 1445019 h 1898882"/>
                <a:gd name="connsiteX101" fmla="*/ 1264809 w 4011346"/>
                <a:gd name="connsiteY101" fmla="*/ 1475054 h 1898882"/>
                <a:gd name="connsiteX102" fmla="*/ 1298181 w 4011346"/>
                <a:gd name="connsiteY102" fmla="*/ 1581845 h 1898882"/>
                <a:gd name="connsiteX103" fmla="*/ 1308193 w 4011346"/>
                <a:gd name="connsiteY103" fmla="*/ 1538461 h 1898882"/>
                <a:gd name="connsiteX104" fmla="*/ 1344903 w 4011346"/>
                <a:gd name="connsiteY104" fmla="*/ 1558484 h 1898882"/>
                <a:gd name="connsiteX105" fmla="*/ 1388287 w 4011346"/>
                <a:gd name="connsiteY105" fmla="*/ 1558484 h 1898882"/>
                <a:gd name="connsiteX106" fmla="*/ 1394961 w 4011346"/>
                <a:gd name="connsiteY106" fmla="*/ 1581845 h 1898882"/>
                <a:gd name="connsiteX107" fmla="*/ 1435008 w 4011346"/>
                <a:gd name="connsiteY107" fmla="*/ 1605206 h 1898882"/>
                <a:gd name="connsiteX108" fmla="*/ 1465043 w 4011346"/>
                <a:gd name="connsiteY108" fmla="*/ 1605206 h 1898882"/>
                <a:gd name="connsiteX109" fmla="*/ 1491741 w 4011346"/>
                <a:gd name="connsiteY109" fmla="*/ 1618555 h 1898882"/>
                <a:gd name="connsiteX110" fmla="*/ 1535125 w 4011346"/>
                <a:gd name="connsiteY110" fmla="*/ 1575171 h 1898882"/>
                <a:gd name="connsiteX111" fmla="*/ 1571834 w 4011346"/>
                <a:gd name="connsiteY111" fmla="*/ 1555147 h 1898882"/>
                <a:gd name="connsiteX112" fmla="*/ 1608544 w 4011346"/>
                <a:gd name="connsiteY112" fmla="*/ 1558484 h 1898882"/>
                <a:gd name="connsiteX113" fmla="*/ 1655265 w 4011346"/>
                <a:gd name="connsiteY113" fmla="*/ 1571833 h 1898882"/>
                <a:gd name="connsiteX114" fmla="*/ 1681963 w 4011346"/>
                <a:gd name="connsiteY114" fmla="*/ 1588520 h 1898882"/>
                <a:gd name="connsiteX115" fmla="*/ 1735358 w 4011346"/>
                <a:gd name="connsiteY115" fmla="*/ 1581845 h 1898882"/>
                <a:gd name="connsiteX116" fmla="*/ 1745370 w 4011346"/>
                <a:gd name="connsiteY116" fmla="*/ 1561822 h 1898882"/>
                <a:gd name="connsiteX117" fmla="*/ 1738695 w 4011346"/>
                <a:gd name="connsiteY117" fmla="*/ 1541798 h 1898882"/>
                <a:gd name="connsiteX118" fmla="*/ 1765393 w 4011346"/>
                <a:gd name="connsiteY118" fmla="*/ 1515101 h 1898882"/>
                <a:gd name="connsiteX119" fmla="*/ 1778742 w 4011346"/>
                <a:gd name="connsiteY119" fmla="*/ 1511763 h 1898882"/>
                <a:gd name="connsiteX120" fmla="*/ 1812114 w 4011346"/>
                <a:gd name="connsiteY120" fmla="*/ 1528449 h 1898882"/>
                <a:gd name="connsiteX121" fmla="*/ 1852161 w 4011346"/>
                <a:gd name="connsiteY121" fmla="*/ 1541798 h 1898882"/>
                <a:gd name="connsiteX122" fmla="*/ 1858836 w 4011346"/>
                <a:gd name="connsiteY122" fmla="*/ 1568496 h 1898882"/>
                <a:gd name="connsiteX123" fmla="*/ 1872184 w 4011346"/>
                <a:gd name="connsiteY123" fmla="*/ 1575171 h 1898882"/>
                <a:gd name="connsiteX124" fmla="*/ 1902219 w 4011346"/>
                <a:gd name="connsiteY124" fmla="*/ 1578508 h 1898882"/>
                <a:gd name="connsiteX125" fmla="*/ 1932254 w 4011346"/>
                <a:gd name="connsiteY125" fmla="*/ 1561822 h 1898882"/>
                <a:gd name="connsiteX126" fmla="*/ 1962290 w 4011346"/>
                <a:gd name="connsiteY126" fmla="*/ 1575171 h 1898882"/>
                <a:gd name="connsiteX127" fmla="*/ 1985650 w 4011346"/>
                <a:gd name="connsiteY127" fmla="*/ 1588520 h 1898882"/>
                <a:gd name="connsiteX128" fmla="*/ 1995662 w 4011346"/>
                <a:gd name="connsiteY128" fmla="*/ 1598531 h 1898882"/>
                <a:gd name="connsiteX129" fmla="*/ 2032371 w 4011346"/>
                <a:gd name="connsiteY129" fmla="*/ 1618555 h 1898882"/>
                <a:gd name="connsiteX130" fmla="*/ 2069081 w 4011346"/>
                <a:gd name="connsiteY130" fmla="*/ 1615217 h 1898882"/>
                <a:gd name="connsiteX131" fmla="*/ 2142500 w 4011346"/>
                <a:gd name="connsiteY131" fmla="*/ 1571833 h 1898882"/>
                <a:gd name="connsiteX132" fmla="*/ 2195895 w 4011346"/>
                <a:gd name="connsiteY132" fmla="*/ 1585182 h 1898882"/>
                <a:gd name="connsiteX133" fmla="*/ 2225930 w 4011346"/>
                <a:gd name="connsiteY133" fmla="*/ 1595194 h 1898882"/>
                <a:gd name="connsiteX134" fmla="*/ 2259303 w 4011346"/>
                <a:gd name="connsiteY134" fmla="*/ 1581845 h 1898882"/>
                <a:gd name="connsiteX135" fmla="*/ 2262640 w 4011346"/>
                <a:gd name="connsiteY135" fmla="*/ 1555147 h 1898882"/>
                <a:gd name="connsiteX136" fmla="*/ 2282663 w 4011346"/>
                <a:gd name="connsiteY136" fmla="*/ 1525112 h 1898882"/>
                <a:gd name="connsiteX137" fmla="*/ 2299349 w 4011346"/>
                <a:gd name="connsiteY137" fmla="*/ 1471717 h 1898882"/>
                <a:gd name="connsiteX138" fmla="*/ 2282663 w 4011346"/>
                <a:gd name="connsiteY138" fmla="*/ 1475054 h 1898882"/>
                <a:gd name="connsiteX139" fmla="*/ 2312698 w 4011346"/>
                <a:gd name="connsiteY139" fmla="*/ 1448356 h 1898882"/>
                <a:gd name="connsiteX140" fmla="*/ 2339396 w 4011346"/>
                <a:gd name="connsiteY140" fmla="*/ 1445019 h 1898882"/>
                <a:gd name="connsiteX141" fmla="*/ 2396129 w 4011346"/>
                <a:gd name="connsiteY141" fmla="*/ 1455030 h 1898882"/>
                <a:gd name="connsiteX142" fmla="*/ 2436176 w 4011346"/>
                <a:gd name="connsiteY142" fmla="*/ 1481728 h 1898882"/>
                <a:gd name="connsiteX143" fmla="*/ 2462873 w 4011346"/>
                <a:gd name="connsiteY143" fmla="*/ 1511763 h 1898882"/>
                <a:gd name="connsiteX144" fmla="*/ 2469548 w 4011346"/>
                <a:gd name="connsiteY144" fmla="*/ 1548473 h 1898882"/>
                <a:gd name="connsiteX145" fmla="*/ 2476222 w 4011346"/>
                <a:gd name="connsiteY145" fmla="*/ 1588520 h 1898882"/>
                <a:gd name="connsiteX146" fmla="*/ 2486234 w 4011346"/>
                <a:gd name="connsiteY146" fmla="*/ 1608543 h 1898882"/>
                <a:gd name="connsiteX147" fmla="*/ 2529618 w 4011346"/>
                <a:gd name="connsiteY147" fmla="*/ 1621892 h 1898882"/>
                <a:gd name="connsiteX148" fmla="*/ 2549641 w 4011346"/>
                <a:gd name="connsiteY148" fmla="*/ 1641915 h 1898882"/>
                <a:gd name="connsiteX149" fmla="*/ 2562990 w 4011346"/>
                <a:gd name="connsiteY149" fmla="*/ 1675287 h 1898882"/>
                <a:gd name="connsiteX150" fmla="*/ 2586351 w 4011346"/>
                <a:gd name="connsiteY150" fmla="*/ 1668613 h 1898882"/>
                <a:gd name="connsiteX151" fmla="*/ 2606374 w 4011346"/>
                <a:gd name="connsiteY151" fmla="*/ 1658601 h 1898882"/>
                <a:gd name="connsiteX152" fmla="*/ 2639746 w 4011346"/>
                <a:gd name="connsiteY152" fmla="*/ 1641915 h 1898882"/>
                <a:gd name="connsiteX153" fmla="*/ 2643084 w 4011346"/>
                <a:gd name="connsiteY153" fmla="*/ 1658601 h 1898882"/>
                <a:gd name="connsiteX154" fmla="*/ 2626398 w 4011346"/>
                <a:gd name="connsiteY154" fmla="*/ 1688636 h 1898882"/>
                <a:gd name="connsiteX155" fmla="*/ 2616386 w 4011346"/>
                <a:gd name="connsiteY155" fmla="*/ 1725346 h 1898882"/>
                <a:gd name="connsiteX156" fmla="*/ 2603037 w 4011346"/>
                <a:gd name="connsiteY156" fmla="*/ 1778741 h 1898882"/>
                <a:gd name="connsiteX157" fmla="*/ 2579676 w 4011346"/>
                <a:gd name="connsiteY157" fmla="*/ 1752044 h 1898882"/>
                <a:gd name="connsiteX158" fmla="*/ 2552979 w 4011346"/>
                <a:gd name="connsiteY158" fmla="*/ 1775404 h 1898882"/>
                <a:gd name="connsiteX159" fmla="*/ 2559653 w 4011346"/>
                <a:gd name="connsiteY159" fmla="*/ 1802102 h 1898882"/>
                <a:gd name="connsiteX160" fmla="*/ 2559653 w 4011346"/>
                <a:gd name="connsiteY160" fmla="*/ 1838811 h 1898882"/>
                <a:gd name="connsiteX161" fmla="*/ 2549641 w 4011346"/>
                <a:gd name="connsiteY161" fmla="*/ 1858835 h 1898882"/>
                <a:gd name="connsiteX162" fmla="*/ 2589688 w 4011346"/>
                <a:gd name="connsiteY162" fmla="*/ 1838811 h 1898882"/>
                <a:gd name="connsiteX163" fmla="*/ 2626398 w 4011346"/>
                <a:gd name="connsiteY163" fmla="*/ 1848823 h 1898882"/>
                <a:gd name="connsiteX164" fmla="*/ 2653095 w 4011346"/>
                <a:gd name="connsiteY164" fmla="*/ 1825463 h 1898882"/>
                <a:gd name="connsiteX165" fmla="*/ 2683130 w 4011346"/>
                <a:gd name="connsiteY165" fmla="*/ 1772067 h 1898882"/>
                <a:gd name="connsiteX166" fmla="*/ 2753212 w 4011346"/>
                <a:gd name="connsiteY166" fmla="*/ 1685299 h 1898882"/>
                <a:gd name="connsiteX167" fmla="*/ 2783247 w 4011346"/>
                <a:gd name="connsiteY167" fmla="*/ 1615217 h 1898882"/>
                <a:gd name="connsiteX168" fmla="*/ 2803271 w 4011346"/>
                <a:gd name="connsiteY168" fmla="*/ 1511763 h 1898882"/>
                <a:gd name="connsiteX169" fmla="*/ 2793259 w 4011346"/>
                <a:gd name="connsiteY169" fmla="*/ 1461705 h 1898882"/>
                <a:gd name="connsiteX170" fmla="*/ 2769898 w 4011346"/>
                <a:gd name="connsiteY170" fmla="*/ 1428333 h 1898882"/>
                <a:gd name="connsiteX171" fmla="*/ 2726514 w 4011346"/>
                <a:gd name="connsiteY171" fmla="*/ 1428333 h 1898882"/>
                <a:gd name="connsiteX172" fmla="*/ 2699817 w 4011346"/>
                <a:gd name="connsiteY172" fmla="*/ 1428333 h 1898882"/>
                <a:gd name="connsiteX173" fmla="*/ 2683130 w 4011346"/>
                <a:gd name="connsiteY173" fmla="*/ 1408309 h 1898882"/>
                <a:gd name="connsiteX174" fmla="*/ 2669781 w 4011346"/>
                <a:gd name="connsiteY174" fmla="*/ 1388286 h 1898882"/>
                <a:gd name="connsiteX175" fmla="*/ 2763224 w 4011346"/>
                <a:gd name="connsiteY175" fmla="*/ 1271483 h 1898882"/>
                <a:gd name="connsiteX176" fmla="*/ 2846654 w 4011346"/>
                <a:gd name="connsiteY176" fmla="*/ 1204739 h 1898882"/>
                <a:gd name="connsiteX177" fmla="*/ 2890038 w 4011346"/>
                <a:gd name="connsiteY177" fmla="*/ 1181378 h 1898882"/>
                <a:gd name="connsiteX178" fmla="*/ 2933422 w 4011346"/>
                <a:gd name="connsiteY178" fmla="*/ 1201401 h 1898882"/>
                <a:gd name="connsiteX179" fmla="*/ 2950109 w 4011346"/>
                <a:gd name="connsiteY179" fmla="*/ 1184715 h 1898882"/>
                <a:gd name="connsiteX180" fmla="*/ 2993492 w 4011346"/>
                <a:gd name="connsiteY180" fmla="*/ 1201401 h 1898882"/>
                <a:gd name="connsiteX181" fmla="*/ 3006841 w 4011346"/>
                <a:gd name="connsiteY181" fmla="*/ 1168029 h 1898882"/>
                <a:gd name="connsiteX182" fmla="*/ 3053563 w 4011346"/>
                <a:gd name="connsiteY182" fmla="*/ 1178041 h 1898882"/>
                <a:gd name="connsiteX183" fmla="*/ 3070249 w 4011346"/>
                <a:gd name="connsiteY183" fmla="*/ 1194727 h 1898882"/>
                <a:gd name="connsiteX184" fmla="*/ 3060237 w 4011346"/>
                <a:gd name="connsiteY184" fmla="*/ 1214750 h 1898882"/>
                <a:gd name="connsiteX185" fmla="*/ 3123644 w 4011346"/>
                <a:gd name="connsiteY185" fmla="*/ 1198064 h 1898882"/>
                <a:gd name="connsiteX186" fmla="*/ 3140330 w 4011346"/>
                <a:gd name="connsiteY186" fmla="*/ 1184715 h 1898882"/>
                <a:gd name="connsiteX187" fmla="*/ 3123644 w 4011346"/>
                <a:gd name="connsiteY187" fmla="*/ 1171366 h 1898882"/>
                <a:gd name="connsiteX188" fmla="*/ 3143668 w 4011346"/>
                <a:gd name="connsiteY188" fmla="*/ 1131320 h 1898882"/>
                <a:gd name="connsiteX189" fmla="*/ 3190389 w 4011346"/>
                <a:gd name="connsiteY189" fmla="*/ 1061238 h 1898882"/>
                <a:gd name="connsiteX190" fmla="*/ 3233773 w 4011346"/>
                <a:gd name="connsiteY190" fmla="*/ 1057901 h 1898882"/>
                <a:gd name="connsiteX191" fmla="*/ 3273819 w 4011346"/>
                <a:gd name="connsiteY191" fmla="*/ 1067912 h 1898882"/>
                <a:gd name="connsiteX192" fmla="*/ 3277157 w 4011346"/>
                <a:gd name="connsiteY192" fmla="*/ 1124645 h 1898882"/>
                <a:gd name="connsiteX193" fmla="*/ 3320541 w 4011346"/>
                <a:gd name="connsiteY193" fmla="*/ 1081261 h 1898882"/>
                <a:gd name="connsiteX194" fmla="*/ 3343901 w 4011346"/>
                <a:gd name="connsiteY194" fmla="*/ 1064575 h 1898882"/>
                <a:gd name="connsiteX195" fmla="*/ 3350576 w 4011346"/>
                <a:gd name="connsiteY195" fmla="*/ 1031203 h 1898882"/>
                <a:gd name="connsiteX196" fmla="*/ 3377273 w 4011346"/>
                <a:gd name="connsiteY196" fmla="*/ 1014517 h 1898882"/>
                <a:gd name="connsiteX197" fmla="*/ 3407309 w 4011346"/>
                <a:gd name="connsiteY197" fmla="*/ 1024528 h 1898882"/>
                <a:gd name="connsiteX198" fmla="*/ 3373936 w 4011346"/>
                <a:gd name="connsiteY198" fmla="*/ 1054563 h 1898882"/>
                <a:gd name="connsiteX199" fmla="*/ 3360587 w 4011346"/>
                <a:gd name="connsiteY199" fmla="*/ 1104622 h 1898882"/>
                <a:gd name="connsiteX200" fmla="*/ 3323878 w 4011346"/>
                <a:gd name="connsiteY200" fmla="*/ 1144668 h 1898882"/>
                <a:gd name="connsiteX201" fmla="*/ 3210412 w 4011346"/>
                <a:gd name="connsiteY201" fmla="*/ 1241448 h 1898882"/>
                <a:gd name="connsiteX202" fmla="*/ 3163691 w 4011346"/>
                <a:gd name="connsiteY202" fmla="*/ 1311530 h 1898882"/>
                <a:gd name="connsiteX203" fmla="*/ 3160354 w 4011346"/>
                <a:gd name="connsiteY203" fmla="*/ 1384949 h 1898882"/>
                <a:gd name="connsiteX204" fmla="*/ 3170365 w 4011346"/>
                <a:gd name="connsiteY204" fmla="*/ 1475054 h 1898882"/>
                <a:gd name="connsiteX205" fmla="*/ 3190389 w 4011346"/>
                <a:gd name="connsiteY205" fmla="*/ 1538461 h 1898882"/>
                <a:gd name="connsiteX206" fmla="*/ 3217087 w 4011346"/>
                <a:gd name="connsiteY206" fmla="*/ 1528449 h 1898882"/>
                <a:gd name="connsiteX207" fmla="*/ 3240447 w 4011346"/>
                <a:gd name="connsiteY207" fmla="*/ 1461705 h 1898882"/>
                <a:gd name="connsiteX208" fmla="*/ 3270482 w 4011346"/>
                <a:gd name="connsiteY208" fmla="*/ 1458368 h 1898882"/>
                <a:gd name="connsiteX209" fmla="*/ 3287168 w 4011346"/>
                <a:gd name="connsiteY209" fmla="*/ 1398298 h 1898882"/>
                <a:gd name="connsiteX210" fmla="*/ 3313866 w 4011346"/>
                <a:gd name="connsiteY210" fmla="*/ 1388286 h 1898882"/>
                <a:gd name="connsiteX211" fmla="*/ 3313866 w 4011346"/>
                <a:gd name="connsiteY211" fmla="*/ 1358251 h 1898882"/>
                <a:gd name="connsiteX212" fmla="*/ 3337227 w 4011346"/>
                <a:gd name="connsiteY212" fmla="*/ 1321541 h 1898882"/>
                <a:gd name="connsiteX213" fmla="*/ 3330552 w 4011346"/>
                <a:gd name="connsiteY213" fmla="*/ 1278157 h 1898882"/>
                <a:gd name="connsiteX214" fmla="*/ 3333890 w 4011346"/>
                <a:gd name="connsiteY214" fmla="*/ 1248122 h 1898882"/>
                <a:gd name="connsiteX215" fmla="*/ 3323878 w 4011346"/>
                <a:gd name="connsiteY215" fmla="*/ 1238111 h 1898882"/>
                <a:gd name="connsiteX216" fmla="*/ 3363925 w 4011346"/>
                <a:gd name="connsiteY216" fmla="*/ 1151343 h 1898882"/>
                <a:gd name="connsiteX217" fmla="*/ 3383948 w 4011346"/>
                <a:gd name="connsiteY217" fmla="*/ 1161355 h 1898882"/>
                <a:gd name="connsiteX218" fmla="*/ 3410646 w 4011346"/>
                <a:gd name="connsiteY218" fmla="*/ 1134657 h 1898882"/>
                <a:gd name="connsiteX219" fmla="*/ 3420657 w 4011346"/>
                <a:gd name="connsiteY219" fmla="*/ 1161355 h 1898882"/>
                <a:gd name="connsiteX220" fmla="*/ 3447355 w 4011346"/>
                <a:gd name="connsiteY220" fmla="*/ 1144668 h 1898882"/>
                <a:gd name="connsiteX221" fmla="*/ 3477390 w 4011346"/>
                <a:gd name="connsiteY221" fmla="*/ 1134657 h 1898882"/>
                <a:gd name="connsiteX222" fmla="*/ 3514100 w 4011346"/>
                <a:gd name="connsiteY222" fmla="*/ 1161355 h 1898882"/>
                <a:gd name="connsiteX223" fmla="*/ 3574170 w 4011346"/>
                <a:gd name="connsiteY223" fmla="*/ 1094610 h 1898882"/>
                <a:gd name="connsiteX224" fmla="*/ 3637577 w 4011346"/>
                <a:gd name="connsiteY224" fmla="*/ 1047889 h 1898882"/>
                <a:gd name="connsiteX225" fmla="*/ 3690973 w 4011346"/>
                <a:gd name="connsiteY225" fmla="*/ 1011179 h 1898882"/>
                <a:gd name="connsiteX226" fmla="*/ 3741031 w 4011346"/>
                <a:gd name="connsiteY226" fmla="*/ 1037877 h 1898882"/>
                <a:gd name="connsiteX227" fmla="*/ 3751043 w 4011346"/>
                <a:gd name="connsiteY227" fmla="*/ 1011179 h 1898882"/>
                <a:gd name="connsiteX228" fmla="*/ 3727682 w 4011346"/>
                <a:gd name="connsiteY228" fmla="*/ 944435 h 1898882"/>
                <a:gd name="connsiteX229" fmla="*/ 3700984 w 4011346"/>
                <a:gd name="connsiteY229" fmla="*/ 927749 h 1898882"/>
                <a:gd name="connsiteX230" fmla="*/ 3697647 w 4011346"/>
                <a:gd name="connsiteY230" fmla="*/ 897714 h 1898882"/>
                <a:gd name="connsiteX231" fmla="*/ 3751043 w 4011346"/>
                <a:gd name="connsiteY231" fmla="*/ 904388 h 1898882"/>
                <a:gd name="connsiteX232" fmla="*/ 3774403 w 4011346"/>
                <a:gd name="connsiteY232" fmla="*/ 861004 h 1898882"/>
                <a:gd name="connsiteX233" fmla="*/ 3767729 w 4011346"/>
                <a:gd name="connsiteY233" fmla="*/ 834306 h 1898882"/>
                <a:gd name="connsiteX234" fmla="*/ 3794427 w 4011346"/>
                <a:gd name="connsiteY234" fmla="*/ 800934 h 1898882"/>
                <a:gd name="connsiteX235" fmla="*/ 3804438 w 4011346"/>
                <a:gd name="connsiteY235" fmla="*/ 844318 h 1898882"/>
                <a:gd name="connsiteX236" fmla="*/ 3827799 w 4011346"/>
                <a:gd name="connsiteY236" fmla="*/ 861004 h 1898882"/>
                <a:gd name="connsiteX237" fmla="*/ 3874520 w 4011346"/>
                <a:gd name="connsiteY237" fmla="*/ 881028 h 1898882"/>
                <a:gd name="connsiteX238" fmla="*/ 3894544 w 4011346"/>
                <a:gd name="connsiteY238" fmla="*/ 907725 h 1898882"/>
                <a:gd name="connsiteX239" fmla="*/ 3941265 w 4011346"/>
                <a:gd name="connsiteY239" fmla="*/ 931086 h 1898882"/>
                <a:gd name="connsiteX240" fmla="*/ 3947939 w 4011346"/>
                <a:gd name="connsiteY240" fmla="*/ 917737 h 1898882"/>
                <a:gd name="connsiteX241" fmla="*/ 3957951 w 4011346"/>
                <a:gd name="connsiteY241" fmla="*/ 854330 h 1898882"/>
                <a:gd name="connsiteX242" fmla="*/ 4004672 w 4011346"/>
                <a:gd name="connsiteY242" fmla="*/ 847655 h 1898882"/>
                <a:gd name="connsiteX243" fmla="*/ 4011346 w 4011346"/>
                <a:gd name="connsiteY243" fmla="*/ 814283 h 1898882"/>
                <a:gd name="connsiteX244" fmla="*/ 3967963 w 4011346"/>
                <a:gd name="connsiteY244" fmla="*/ 777574 h 1898882"/>
                <a:gd name="connsiteX245" fmla="*/ 3921241 w 4011346"/>
                <a:gd name="connsiteY245" fmla="*/ 760887 h 1898882"/>
                <a:gd name="connsiteX246" fmla="*/ 3907892 w 4011346"/>
                <a:gd name="connsiteY246" fmla="*/ 764225 h 1898882"/>
                <a:gd name="connsiteX247" fmla="*/ 3907892 w 4011346"/>
                <a:gd name="connsiteY247" fmla="*/ 797597 h 1898882"/>
                <a:gd name="connsiteX248" fmla="*/ 3887869 w 4011346"/>
                <a:gd name="connsiteY248" fmla="*/ 790922 h 1898882"/>
                <a:gd name="connsiteX249" fmla="*/ 3874520 w 4011346"/>
                <a:gd name="connsiteY249" fmla="*/ 737527 h 1898882"/>
                <a:gd name="connsiteX250" fmla="*/ 3817787 w 4011346"/>
                <a:gd name="connsiteY250" fmla="*/ 674120 h 1898882"/>
                <a:gd name="connsiteX251" fmla="*/ 3717671 w 4011346"/>
                <a:gd name="connsiteY251" fmla="*/ 597363 h 1898882"/>
                <a:gd name="connsiteX252" fmla="*/ 3664275 w 4011346"/>
                <a:gd name="connsiteY252" fmla="*/ 577340 h 1898882"/>
                <a:gd name="connsiteX253" fmla="*/ 3584181 w 4011346"/>
                <a:gd name="connsiteY253" fmla="*/ 570666 h 1898882"/>
                <a:gd name="connsiteX254" fmla="*/ 3520774 w 4011346"/>
                <a:gd name="connsiteY254" fmla="*/ 553979 h 1898882"/>
                <a:gd name="connsiteX255" fmla="*/ 3530786 w 4011346"/>
                <a:gd name="connsiteY255" fmla="*/ 594026 h 1898882"/>
                <a:gd name="connsiteX256" fmla="*/ 3537460 w 4011346"/>
                <a:gd name="connsiteY256" fmla="*/ 620724 h 1898882"/>
                <a:gd name="connsiteX257" fmla="*/ 3507425 w 4011346"/>
                <a:gd name="connsiteY257" fmla="*/ 644084 h 1898882"/>
                <a:gd name="connsiteX258" fmla="*/ 3477390 w 4011346"/>
                <a:gd name="connsiteY258" fmla="*/ 617387 h 1898882"/>
                <a:gd name="connsiteX259" fmla="*/ 3477390 w 4011346"/>
                <a:gd name="connsiteY259" fmla="*/ 597363 h 1898882"/>
                <a:gd name="connsiteX260" fmla="*/ 3504088 w 4011346"/>
                <a:gd name="connsiteY260" fmla="*/ 577340 h 1898882"/>
                <a:gd name="connsiteX261" fmla="*/ 3467379 w 4011346"/>
                <a:gd name="connsiteY261" fmla="*/ 563991 h 1898882"/>
                <a:gd name="connsiteX262" fmla="*/ 3450692 w 4011346"/>
                <a:gd name="connsiteY262" fmla="*/ 590689 h 1898882"/>
                <a:gd name="connsiteX263" fmla="*/ 3440681 w 4011346"/>
                <a:gd name="connsiteY263" fmla="*/ 604038 h 1898882"/>
                <a:gd name="connsiteX264" fmla="*/ 3357250 w 4011346"/>
                <a:gd name="connsiteY264" fmla="*/ 590689 h 1898882"/>
                <a:gd name="connsiteX265" fmla="*/ 3297180 w 4011346"/>
                <a:gd name="connsiteY265" fmla="*/ 597363 h 1898882"/>
                <a:gd name="connsiteX266" fmla="*/ 3267145 w 4011346"/>
                <a:gd name="connsiteY266" fmla="*/ 574003 h 1898882"/>
                <a:gd name="connsiteX267" fmla="*/ 3267145 w 4011346"/>
                <a:gd name="connsiteY267" fmla="*/ 537293 h 1898882"/>
                <a:gd name="connsiteX268" fmla="*/ 3203738 w 4011346"/>
                <a:gd name="connsiteY268" fmla="*/ 480560 h 1898882"/>
                <a:gd name="connsiteX269" fmla="*/ 3076923 w 4011346"/>
                <a:gd name="connsiteY269" fmla="*/ 487235 h 1898882"/>
                <a:gd name="connsiteX270" fmla="*/ 3043551 w 4011346"/>
                <a:gd name="connsiteY270" fmla="*/ 463874 h 1898882"/>
                <a:gd name="connsiteX271" fmla="*/ 3000167 w 4011346"/>
                <a:gd name="connsiteY271" fmla="*/ 417153 h 1898882"/>
                <a:gd name="connsiteX272" fmla="*/ 3013516 w 4011346"/>
                <a:gd name="connsiteY272" fmla="*/ 410479 h 1898882"/>
                <a:gd name="connsiteX273" fmla="*/ 3000167 w 4011346"/>
                <a:gd name="connsiteY273" fmla="*/ 390455 h 1898882"/>
                <a:gd name="connsiteX274" fmla="*/ 2970132 w 4011346"/>
                <a:gd name="connsiteY274" fmla="*/ 387118 h 1898882"/>
                <a:gd name="connsiteX275" fmla="*/ 2920073 w 4011346"/>
                <a:gd name="connsiteY275" fmla="*/ 433839 h 1898882"/>
                <a:gd name="connsiteX276" fmla="*/ 2920073 w 4011346"/>
                <a:gd name="connsiteY276" fmla="*/ 433839 h 1898882"/>
                <a:gd name="connsiteX277" fmla="*/ 2916736 w 4011346"/>
                <a:gd name="connsiteY277" fmla="*/ 383781 h 1898882"/>
                <a:gd name="connsiteX278" fmla="*/ 2936760 w 4011346"/>
                <a:gd name="connsiteY278" fmla="*/ 380444 h 1898882"/>
                <a:gd name="connsiteX279" fmla="*/ 2866678 w 4011346"/>
                <a:gd name="connsiteY279" fmla="*/ 350409 h 1898882"/>
                <a:gd name="connsiteX280" fmla="*/ 2813282 w 4011346"/>
                <a:gd name="connsiteY280" fmla="*/ 347071 h 1898882"/>
                <a:gd name="connsiteX281" fmla="*/ 2793259 w 4011346"/>
                <a:gd name="connsiteY281" fmla="*/ 370432 h 1898882"/>
                <a:gd name="connsiteX282" fmla="*/ 2743200 w 4011346"/>
                <a:gd name="connsiteY282" fmla="*/ 380444 h 1898882"/>
                <a:gd name="connsiteX283" fmla="*/ 2786584 w 4011346"/>
                <a:gd name="connsiteY283" fmla="*/ 390455 h 1898882"/>
                <a:gd name="connsiteX284" fmla="*/ 2763224 w 4011346"/>
                <a:gd name="connsiteY284" fmla="*/ 410479 h 1898882"/>
                <a:gd name="connsiteX285" fmla="*/ 2769898 w 4011346"/>
                <a:gd name="connsiteY285" fmla="*/ 460537 h 1898882"/>
                <a:gd name="connsiteX286" fmla="*/ 2749875 w 4011346"/>
                <a:gd name="connsiteY286" fmla="*/ 443851 h 1898882"/>
                <a:gd name="connsiteX287" fmla="*/ 2733189 w 4011346"/>
                <a:gd name="connsiteY287" fmla="*/ 457200 h 1898882"/>
                <a:gd name="connsiteX288" fmla="*/ 2666444 w 4011346"/>
                <a:gd name="connsiteY288" fmla="*/ 447188 h 1898882"/>
                <a:gd name="connsiteX289" fmla="*/ 2636409 w 4011346"/>
                <a:gd name="connsiteY289" fmla="*/ 457200 h 1898882"/>
                <a:gd name="connsiteX290" fmla="*/ 2603037 w 4011346"/>
                <a:gd name="connsiteY290" fmla="*/ 417153 h 1898882"/>
                <a:gd name="connsiteX291" fmla="*/ 2569665 w 4011346"/>
                <a:gd name="connsiteY291" fmla="*/ 500584 h 1898882"/>
                <a:gd name="connsiteX292" fmla="*/ 2552979 w 4011346"/>
                <a:gd name="connsiteY292" fmla="*/ 520607 h 1898882"/>
                <a:gd name="connsiteX293" fmla="*/ 2469548 w 4011346"/>
                <a:gd name="connsiteY293" fmla="*/ 383781 h 1898882"/>
                <a:gd name="connsiteX294" fmla="*/ 2446187 w 4011346"/>
                <a:gd name="connsiteY294" fmla="*/ 400467 h 1898882"/>
                <a:gd name="connsiteX295" fmla="*/ 2442850 w 4011346"/>
                <a:gd name="connsiteY295" fmla="*/ 367095 h 1898882"/>
                <a:gd name="connsiteX296" fmla="*/ 2449525 w 4011346"/>
                <a:gd name="connsiteY296" fmla="*/ 297013 h 1898882"/>
                <a:gd name="connsiteX297" fmla="*/ 2386117 w 4011346"/>
                <a:gd name="connsiteY297" fmla="*/ 270315 h 1898882"/>
                <a:gd name="connsiteX298" fmla="*/ 2369431 w 4011346"/>
                <a:gd name="connsiteY298" fmla="*/ 310362 h 1898882"/>
                <a:gd name="connsiteX299" fmla="*/ 2379443 w 4011346"/>
                <a:gd name="connsiteY299" fmla="*/ 333722 h 1898882"/>
                <a:gd name="connsiteX300" fmla="*/ 2376106 w 4011346"/>
                <a:gd name="connsiteY300" fmla="*/ 353746 h 1898882"/>
                <a:gd name="connsiteX301" fmla="*/ 2352745 w 4011346"/>
                <a:gd name="connsiteY301" fmla="*/ 330385 h 1898882"/>
                <a:gd name="connsiteX302" fmla="*/ 2316036 w 4011346"/>
                <a:gd name="connsiteY302" fmla="*/ 337060 h 1898882"/>
                <a:gd name="connsiteX303" fmla="*/ 2272652 w 4011346"/>
                <a:gd name="connsiteY303" fmla="*/ 323711 h 1898882"/>
                <a:gd name="connsiteX304" fmla="*/ 2245954 w 4011346"/>
                <a:gd name="connsiteY304" fmla="*/ 283664 h 1898882"/>
                <a:gd name="connsiteX305" fmla="*/ 2209244 w 4011346"/>
                <a:gd name="connsiteY305" fmla="*/ 280327 h 1898882"/>
                <a:gd name="connsiteX306" fmla="*/ 2159186 w 4011346"/>
                <a:gd name="connsiteY306" fmla="*/ 270315 h 1898882"/>
                <a:gd name="connsiteX307" fmla="*/ 2132488 w 4011346"/>
                <a:gd name="connsiteY307" fmla="*/ 287001 h 1898882"/>
                <a:gd name="connsiteX308" fmla="*/ 2115802 w 4011346"/>
                <a:gd name="connsiteY308" fmla="*/ 300350 h 1898882"/>
                <a:gd name="connsiteX309" fmla="*/ 2115802 w 4011346"/>
                <a:gd name="connsiteY309" fmla="*/ 270315 h 1898882"/>
                <a:gd name="connsiteX310" fmla="*/ 2082430 w 4011346"/>
                <a:gd name="connsiteY310" fmla="*/ 266978 h 1898882"/>
                <a:gd name="connsiteX311" fmla="*/ 2045720 w 4011346"/>
                <a:gd name="connsiteY311" fmla="*/ 240280 h 1898882"/>
                <a:gd name="connsiteX312" fmla="*/ 2025697 w 4011346"/>
                <a:gd name="connsiteY312" fmla="*/ 270315 h 1898882"/>
                <a:gd name="connsiteX313" fmla="*/ 2055732 w 4011346"/>
                <a:gd name="connsiteY313" fmla="*/ 266978 h 1898882"/>
                <a:gd name="connsiteX314" fmla="*/ 2045720 w 4011346"/>
                <a:gd name="connsiteY314" fmla="*/ 293676 h 1898882"/>
                <a:gd name="connsiteX315" fmla="*/ 1988987 w 4011346"/>
                <a:gd name="connsiteY315" fmla="*/ 313699 h 1898882"/>
                <a:gd name="connsiteX316" fmla="*/ 1935592 w 4011346"/>
                <a:gd name="connsiteY316" fmla="*/ 323711 h 1898882"/>
                <a:gd name="connsiteX317" fmla="*/ 1995662 w 4011346"/>
                <a:gd name="connsiteY317" fmla="*/ 266978 h 1898882"/>
                <a:gd name="connsiteX318" fmla="*/ 2055732 w 4011346"/>
                <a:gd name="connsiteY318" fmla="*/ 196896 h 1898882"/>
                <a:gd name="connsiteX319" fmla="*/ 2055732 w 4011346"/>
                <a:gd name="connsiteY319" fmla="*/ 196896 h 1898882"/>
                <a:gd name="connsiteX320" fmla="*/ 1782079 w 4011346"/>
                <a:gd name="connsiteY320" fmla="*/ 0 h 1898882"/>
                <a:gd name="connsiteX321" fmla="*/ 1768731 w 4011346"/>
                <a:gd name="connsiteY321" fmla="*/ 46722 h 1898882"/>
                <a:gd name="connsiteX322" fmla="*/ 1705322 w 4011346"/>
                <a:gd name="connsiteY322" fmla="*/ 70082 h 1898882"/>
                <a:gd name="connsiteX323" fmla="*/ 1685300 w 4011346"/>
                <a:gd name="connsiteY323" fmla="*/ 43384 h 1898882"/>
                <a:gd name="connsiteX324" fmla="*/ 1615218 w 4011346"/>
                <a:gd name="connsiteY324" fmla="*/ 46722 h 1898882"/>
                <a:gd name="connsiteX325" fmla="*/ 1638579 w 4011346"/>
                <a:gd name="connsiteY325" fmla="*/ 76757 h 1898882"/>
                <a:gd name="connsiteX326" fmla="*/ 1528449 w 4011346"/>
                <a:gd name="connsiteY326" fmla="*/ 103453 h 1898882"/>
                <a:gd name="connsiteX327" fmla="*/ 1465043 w 4011346"/>
                <a:gd name="connsiteY327" fmla="*/ 186884 h 1898882"/>
                <a:gd name="connsiteX328" fmla="*/ 1448357 w 4011346"/>
                <a:gd name="connsiteY328" fmla="*/ 213582 h 1898882"/>
                <a:gd name="connsiteX329" fmla="*/ 1481729 w 4011346"/>
                <a:gd name="connsiteY329" fmla="*/ 246955 h 1898882"/>
                <a:gd name="connsiteX330" fmla="*/ 1481729 w 4011346"/>
                <a:gd name="connsiteY330" fmla="*/ 276990 h 1898882"/>
                <a:gd name="connsiteX331" fmla="*/ 1458368 w 4011346"/>
                <a:gd name="connsiteY331" fmla="*/ 280327 h 1898882"/>
                <a:gd name="connsiteX332" fmla="*/ 1458368 w 4011346"/>
                <a:gd name="connsiteY332" fmla="*/ 260303 h 1898882"/>
                <a:gd name="connsiteX333" fmla="*/ 1418322 w 4011346"/>
                <a:gd name="connsiteY333" fmla="*/ 270315 h 1898882"/>
                <a:gd name="connsiteX334" fmla="*/ 1368263 w 4011346"/>
                <a:gd name="connsiteY334" fmla="*/ 276990 h 1898882"/>
                <a:gd name="connsiteX335" fmla="*/ 1321542 w 4011346"/>
                <a:gd name="connsiteY335" fmla="*/ 283664 h 1898882"/>
                <a:gd name="connsiteX336" fmla="*/ 1318205 w 4011346"/>
                <a:gd name="connsiteY336" fmla="*/ 370432 h 1898882"/>
                <a:gd name="connsiteX337" fmla="*/ 1358252 w 4011346"/>
                <a:gd name="connsiteY337" fmla="*/ 393793 h 1898882"/>
                <a:gd name="connsiteX338" fmla="*/ 1374938 w 4011346"/>
                <a:gd name="connsiteY338" fmla="*/ 423828 h 1898882"/>
                <a:gd name="connsiteX339" fmla="*/ 1384949 w 4011346"/>
                <a:gd name="connsiteY339" fmla="*/ 447188 h 1898882"/>
                <a:gd name="connsiteX340" fmla="*/ 1394961 w 4011346"/>
                <a:gd name="connsiteY340" fmla="*/ 497247 h 1898882"/>
                <a:gd name="connsiteX341" fmla="*/ 1384949 w 4011346"/>
                <a:gd name="connsiteY341" fmla="*/ 527282 h 1898882"/>
                <a:gd name="connsiteX342" fmla="*/ 1358252 w 4011346"/>
                <a:gd name="connsiteY342" fmla="*/ 493909 h 1898882"/>
                <a:gd name="connsiteX343" fmla="*/ 1361589 w 4011346"/>
                <a:gd name="connsiteY343" fmla="*/ 463874 h 1898882"/>
                <a:gd name="connsiteX344" fmla="*/ 1351577 w 4011346"/>
                <a:gd name="connsiteY344" fmla="*/ 423828 h 1898882"/>
                <a:gd name="connsiteX345" fmla="*/ 1328217 w 4011346"/>
                <a:gd name="connsiteY345" fmla="*/ 430502 h 1898882"/>
                <a:gd name="connsiteX346" fmla="*/ 1281495 w 4011346"/>
                <a:gd name="connsiteY346" fmla="*/ 393793 h 1898882"/>
                <a:gd name="connsiteX347" fmla="*/ 1241449 w 4011346"/>
                <a:gd name="connsiteY347" fmla="*/ 390455 h 1898882"/>
                <a:gd name="connsiteX348" fmla="*/ 1241449 w 4011346"/>
                <a:gd name="connsiteY348" fmla="*/ 437176 h 1898882"/>
                <a:gd name="connsiteX349" fmla="*/ 1201402 w 4011346"/>
                <a:gd name="connsiteY349" fmla="*/ 417153 h 1898882"/>
                <a:gd name="connsiteX350" fmla="*/ 1228100 w 4011346"/>
                <a:gd name="connsiteY350" fmla="*/ 467211 h 1898882"/>
                <a:gd name="connsiteX351" fmla="*/ 1258135 w 4011346"/>
                <a:gd name="connsiteY351" fmla="*/ 477223 h 1898882"/>
                <a:gd name="connsiteX352" fmla="*/ 1258135 w 4011346"/>
                <a:gd name="connsiteY352" fmla="*/ 497247 h 1898882"/>
                <a:gd name="connsiteX353" fmla="*/ 1198065 w 4011346"/>
                <a:gd name="connsiteY353" fmla="*/ 473886 h 1898882"/>
                <a:gd name="connsiteX354" fmla="*/ 1181379 w 4011346"/>
                <a:gd name="connsiteY354" fmla="*/ 473886 h 1898882"/>
                <a:gd name="connsiteX355" fmla="*/ 1178041 w 4011346"/>
                <a:gd name="connsiteY355" fmla="*/ 430502 h 1898882"/>
                <a:gd name="connsiteX356" fmla="*/ 1171367 w 4011346"/>
                <a:gd name="connsiteY356" fmla="*/ 343734 h 1898882"/>
                <a:gd name="connsiteX357" fmla="*/ 1161355 w 4011346"/>
                <a:gd name="connsiteY357" fmla="*/ 413816 h 1898882"/>
                <a:gd name="connsiteX358" fmla="*/ 1137995 w 4011346"/>
                <a:gd name="connsiteY358" fmla="*/ 443851 h 1898882"/>
                <a:gd name="connsiteX359" fmla="*/ 1158018 w 4011346"/>
                <a:gd name="connsiteY359" fmla="*/ 490572 h 1898882"/>
                <a:gd name="connsiteX360" fmla="*/ 1158018 w 4011346"/>
                <a:gd name="connsiteY360" fmla="*/ 523944 h 1898882"/>
                <a:gd name="connsiteX361" fmla="*/ 1141332 w 4011346"/>
                <a:gd name="connsiteY361" fmla="*/ 574003 h 1898882"/>
                <a:gd name="connsiteX362" fmla="*/ 1154681 w 4011346"/>
                <a:gd name="connsiteY362" fmla="*/ 607375 h 1898882"/>
                <a:gd name="connsiteX363" fmla="*/ 1184716 w 4011346"/>
                <a:gd name="connsiteY363" fmla="*/ 614049 h 1898882"/>
                <a:gd name="connsiteX364" fmla="*/ 1221425 w 4011346"/>
                <a:gd name="connsiteY364" fmla="*/ 620724 h 1898882"/>
                <a:gd name="connsiteX365" fmla="*/ 1241449 w 4011346"/>
                <a:gd name="connsiteY365" fmla="*/ 644084 h 1898882"/>
                <a:gd name="connsiteX366" fmla="*/ 1258135 w 4011346"/>
                <a:gd name="connsiteY366" fmla="*/ 687468 h 1898882"/>
                <a:gd name="connsiteX367" fmla="*/ 1258135 w 4011346"/>
                <a:gd name="connsiteY367" fmla="*/ 687468 h 1898882"/>
                <a:gd name="connsiteX368" fmla="*/ 1254798 w 4011346"/>
                <a:gd name="connsiteY368" fmla="*/ 720841 h 1898882"/>
                <a:gd name="connsiteX369" fmla="*/ 1274821 w 4011346"/>
                <a:gd name="connsiteY369" fmla="*/ 740864 h 1898882"/>
                <a:gd name="connsiteX370" fmla="*/ 1244786 w 4011346"/>
                <a:gd name="connsiteY370" fmla="*/ 747539 h 1898882"/>
                <a:gd name="connsiteX371" fmla="*/ 1224763 w 4011346"/>
                <a:gd name="connsiteY371" fmla="*/ 707492 h 1898882"/>
                <a:gd name="connsiteX372" fmla="*/ 1224763 w 4011346"/>
                <a:gd name="connsiteY372" fmla="*/ 667445 h 1898882"/>
                <a:gd name="connsiteX373" fmla="*/ 1194727 w 4011346"/>
                <a:gd name="connsiteY373" fmla="*/ 630736 h 1898882"/>
                <a:gd name="connsiteX374" fmla="*/ 1164692 w 4011346"/>
                <a:gd name="connsiteY374" fmla="*/ 674120 h 1898882"/>
                <a:gd name="connsiteX375" fmla="*/ 1178041 w 4011346"/>
                <a:gd name="connsiteY375" fmla="*/ 717503 h 1898882"/>
                <a:gd name="connsiteX376" fmla="*/ 1137995 w 4011346"/>
                <a:gd name="connsiteY376" fmla="*/ 774236 h 1898882"/>
                <a:gd name="connsiteX377" fmla="*/ 1097948 w 4011346"/>
                <a:gd name="connsiteY377" fmla="*/ 830969 h 1898882"/>
                <a:gd name="connsiteX378" fmla="*/ 1007843 w 4011346"/>
                <a:gd name="connsiteY378" fmla="*/ 794260 h 1898882"/>
                <a:gd name="connsiteX379" fmla="*/ 1074587 w 4011346"/>
                <a:gd name="connsiteY379" fmla="*/ 790922 h 1898882"/>
                <a:gd name="connsiteX380" fmla="*/ 1107960 w 4011346"/>
                <a:gd name="connsiteY380" fmla="*/ 727515 h 1898882"/>
                <a:gd name="connsiteX381" fmla="*/ 1121309 w 4011346"/>
                <a:gd name="connsiteY381" fmla="*/ 684131 h 1898882"/>
                <a:gd name="connsiteX382" fmla="*/ 1127983 w 4011346"/>
                <a:gd name="connsiteY382" fmla="*/ 650759 h 1898882"/>
                <a:gd name="connsiteX383" fmla="*/ 1117971 w 4011346"/>
                <a:gd name="connsiteY383" fmla="*/ 634073 h 1898882"/>
                <a:gd name="connsiteX384" fmla="*/ 1114634 w 4011346"/>
                <a:gd name="connsiteY384" fmla="*/ 584014 h 1898882"/>
                <a:gd name="connsiteX385" fmla="*/ 1104622 w 4011346"/>
                <a:gd name="connsiteY385" fmla="*/ 503921 h 1898882"/>
                <a:gd name="connsiteX386" fmla="*/ 1101285 w 4011346"/>
                <a:gd name="connsiteY386" fmla="*/ 443851 h 1898882"/>
                <a:gd name="connsiteX387" fmla="*/ 1124646 w 4011346"/>
                <a:gd name="connsiteY387" fmla="*/ 350409 h 1898882"/>
                <a:gd name="connsiteX388" fmla="*/ 1031203 w 4011346"/>
                <a:gd name="connsiteY388" fmla="*/ 340397 h 1898882"/>
                <a:gd name="connsiteX389" fmla="*/ 1014517 w 4011346"/>
                <a:gd name="connsiteY389" fmla="*/ 397130 h 1898882"/>
                <a:gd name="connsiteX390" fmla="*/ 1024529 w 4011346"/>
                <a:gd name="connsiteY390" fmla="*/ 443851 h 1898882"/>
                <a:gd name="connsiteX391" fmla="*/ 981145 w 4011346"/>
                <a:gd name="connsiteY391" fmla="*/ 497247 h 1898882"/>
                <a:gd name="connsiteX392" fmla="*/ 991157 w 4011346"/>
                <a:gd name="connsiteY392" fmla="*/ 533956 h 1898882"/>
                <a:gd name="connsiteX393" fmla="*/ 981145 w 4011346"/>
                <a:gd name="connsiteY393" fmla="*/ 580677 h 1898882"/>
                <a:gd name="connsiteX394" fmla="*/ 1001168 w 4011346"/>
                <a:gd name="connsiteY394" fmla="*/ 604038 h 1898882"/>
                <a:gd name="connsiteX395" fmla="*/ 1017854 w 4011346"/>
                <a:gd name="connsiteY395" fmla="*/ 650759 h 1898882"/>
                <a:gd name="connsiteX396" fmla="*/ 1047890 w 4011346"/>
                <a:gd name="connsiteY396" fmla="*/ 637410 h 1898882"/>
                <a:gd name="connsiteX397" fmla="*/ 1014517 w 4011346"/>
                <a:gd name="connsiteY397" fmla="*/ 690806 h 1898882"/>
                <a:gd name="connsiteX398" fmla="*/ 957784 w 4011346"/>
                <a:gd name="connsiteY398" fmla="*/ 637410 h 1898882"/>
                <a:gd name="connsiteX399" fmla="*/ 884365 w 4011346"/>
                <a:gd name="connsiteY399" fmla="*/ 600701 h 1898882"/>
                <a:gd name="connsiteX400" fmla="*/ 824295 w 4011346"/>
                <a:gd name="connsiteY400" fmla="*/ 577340 h 1898882"/>
                <a:gd name="connsiteX401" fmla="*/ 810946 w 4011346"/>
                <a:gd name="connsiteY401" fmla="*/ 614049 h 1898882"/>
                <a:gd name="connsiteX402" fmla="*/ 827633 w 4011346"/>
                <a:gd name="connsiteY402" fmla="*/ 650759 h 1898882"/>
                <a:gd name="connsiteX403" fmla="*/ 814284 w 4011346"/>
                <a:gd name="connsiteY403" fmla="*/ 674120 h 1898882"/>
                <a:gd name="connsiteX404" fmla="*/ 800935 w 4011346"/>
                <a:gd name="connsiteY404" fmla="*/ 690806 h 1898882"/>
                <a:gd name="connsiteX405" fmla="*/ 770900 w 4011346"/>
                <a:gd name="connsiteY405" fmla="*/ 634073 h 1898882"/>
                <a:gd name="connsiteX406" fmla="*/ 744202 w 4011346"/>
                <a:gd name="connsiteY406" fmla="*/ 670782 h 1898882"/>
                <a:gd name="connsiteX407" fmla="*/ 707492 w 4011346"/>
                <a:gd name="connsiteY407" fmla="*/ 664108 h 1898882"/>
                <a:gd name="connsiteX408" fmla="*/ 654097 w 4011346"/>
                <a:gd name="connsiteY408" fmla="*/ 700817 h 1898882"/>
                <a:gd name="connsiteX409" fmla="*/ 644085 w 4011346"/>
                <a:gd name="connsiteY409" fmla="*/ 677457 h 1898882"/>
                <a:gd name="connsiteX410" fmla="*/ 654097 w 4011346"/>
                <a:gd name="connsiteY410" fmla="*/ 640747 h 1898882"/>
                <a:gd name="connsiteX411" fmla="*/ 614050 w 4011346"/>
                <a:gd name="connsiteY411" fmla="*/ 677457 h 1898882"/>
                <a:gd name="connsiteX412" fmla="*/ 594027 w 4011346"/>
                <a:gd name="connsiteY412" fmla="*/ 677457 h 1898882"/>
                <a:gd name="connsiteX413" fmla="*/ 533957 w 4011346"/>
                <a:gd name="connsiteY413" fmla="*/ 710829 h 1898882"/>
                <a:gd name="connsiteX414" fmla="*/ 510596 w 4011346"/>
                <a:gd name="connsiteY414" fmla="*/ 734190 h 1898882"/>
                <a:gd name="connsiteX415" fmla="*/ 500584 w 4011346"/>
                <a:gd name="connsiteY415" fmla="*/ 780911 h 1898882"/>
                <a:gd name="connsiteX416" fmla="*/ 450526 w 4011346"/>
                <a:gd name="connsiteY416" fmla="*/ 767562 h 1898882"/>
                <a:gd name="connsiteX417" fmla="*/ 433840 w 4011346"/>
                <a:gd name="connsiteY417" fmla="*/ 730852 h 1898882"/>
                <a:gd name="connsiteX418" fmla="*/ 467212 w 4011346"/>
                <a:gd name="connsiteY418" fmla="*/ 700817 h 1898882"/>
                <a:gd name="connsiteX419" fmla="*/ 453863 w 4011346"/>
                <a:gd name="connsiteY419" fmla="*/ 677457 h 1898882"/>
                <a:gd name="connsiteX420" fmla="*/ 390456 w 4011346"/>
                <a:gd name="connsiteY420" fmla="*/ 647422 h 1898882"/>
                <a:gd name="connsiteX421" fmla="*/ 417154 w 4011346"/>
                <a:gd name="connsiteY421" fmla="*/ 697480 h 1898882"/>
                <a:gd name="connsiteX422" fmla="*/ 407142 w 4011346"/>
                <a:gd name="connsiteY422" fmla="*/ 740864 h 1898882"/>
                <a:gd name="connsiteX423" fmla="*/ 413817 w 4011346"/>
                <a:gd name="connsiteY423" fmla="*/ 777574 h 1898882"/>
                <a:gd name="connsiteX424" fmla="*/ 427165 w 4011346"/>
                <a:gd name="connsiteY424" fmla="*/ 800934 h 1898882"/>
                <a:gd name="connsiteX425" fmla="*/ 413817 w 4011346"/>
                <a:gd name="connsiteY425" fmla="*/ 830969 h 1898882"/>
                <a:gd name="connsiteX426" fmla="*/ 390456 w 4011346"/>
                <a:gd name="connsiteY426" fmla="*/ 807609 h 1898882"/>
                <a:gd name="connsiteX427" fmla="*/ 360421 w 4011346"/>
                <a:gd name="connsiteY427" fmla="*/ 804271 h 1898882"/>
                <a:gd name="connsiteX428" fmla="*/ 333723 w 4011346"/>
                <a:gd name="connsiteY428" fmla="*/ 844318 h 1898882"/>
                <a:gd name="connsiteX429" fmla="*/ 307025 w 4011346"/>
                <a:gd name="connsiteY429" fmla="*/ 864341 h 1898882"/>
                <a:gd name="connsiteX430" fmla="*/ 320374 w 4011346"/>
                <a:gd name="connsiteY430" fmla="*/ 891039 h 1898882"/>
                <a:gd name="connsiteX431" fmla="*/ 303688 w 4011346"/>
                <a:gd name="connsiteY431" fmla="*/ 914400 h 1898882"/>
                <a:gd name="connsiteX432" fmla="*/ 233606 w 4011346"/>
                <a:gd name="connsiteY432" fmla="*/ 877690 h 1898882"/>
                <a:gd name="connsiteX433" fmla="*/ 243618 w 4011346"/>
                <a:gd name="connsiteY433" fmla="*/ 927749 h 1898882"/>
                <a:gd name="connsiteX434" fmla="*/ 263641 w 4011346"/>
                <a:gd name="connsiteY434" fmla="*/ 947772 h 1898882"/>
                <a:gd name="connsiteX435" fmla="*/ 250292 w 4011346"/>
                <a:gd name="connsiteY435" fmla="*/ 961121 h 1898882"/>
                <a:gd name="connsiteX436" fmla="*/ 193560 w 4011346"/>
                <a:gd name="connsiteY436" fmla="*/ 924411 h 1898882"/>
                <a:gd name="connsiteX437" fmla="*/ 170199 w 4011346"/>
                <a:gd name="connsiteY437" fmla="*/ 884365 h 1898882"/>
                <a:gd name="connsiteX438" fmla="*/ 170199 w 4011346"/>
                <a:gd name="connsiteY438" fmla="*/ 837644 h 1898882"/>
                <a:gd name="connsiteX439" fmla="*/ 133490 w 4011346"/>
                <a:gd name="connsiteY439" fmla="*/ 760887 h 1898882"/>
                <a:gd name="connsiteX440" fmla="*/ 196897 w 4011346"/>
                <a:gd name="connsiteY440" fmla="*/ 790922 h 1898882"/>
                <a:gd name="connsiteX441" fmla="*/ 256967 w 4011346"/>
                <a:gd name="connsiteY441" fmla="*/ 820957 h 1898882"/>
                <a:gd name="connsiteX442" fmla="*/ 293676 w 4011346"/>
                <a:gd name="connsiteY442" fmla="*/ 824295 h 1898882"/>
                <a:gd name="connsiteX443" fmla="*/ 327049 w 4011346"/>
                <a:gd name="connsiteY443" fmla="*/ 794260 h 1898882"/>
                <a:gd name="connsiteX444" fmla="*/ 343735 w 4011346"/>
                <a:gd name="connsiteY444" fmla="*/ 757550 h 1898882"/>
                <a:gd name="connsiteX445" fmla="*/ 333723 w 4011346"/>
                <a:gd name="connsiteY445" fmla="*/ 707492 h 1898882"/>
                <a:gd name="connsiteX446" fmla="*/ 290339 w 4011346"/>
                <a:gd name="connsiteY446" fmla="*/ 687468 h 1898882"/>
                <a:gd name="connsiteX447" fmla="*/ 236944 w 4011346"/>
                <a:gd name="connsiteY447" fmla="*/ 640747 h 1898882"/>
                <a:gd name="connsiteX448" fmla="*/ 133490 w 4011346"/>
                <a:gd name="connsiteY448" fmla="*/ 584014 h 1898882"/>
                <a:gd name="connsiteX0" fmla="*/ 133490 w 4011346"/>
                <a:gd name="connsiteY0" fmla="*/ 584014 h 1898882"/>
                <a:gd name="connsiteX1" fmla="*/ 46722 w 4011346"/>
                <a:gd name="connsiteY1" fmla="*/ 614049 h 1898882"/>
                <a:gd name="connsiteX2" fmla="*/ 33373 w 4011346"/>
                <a:gd name="connsiteY2" fmla="*/ 644084 h 1898882"/>
                <a:gd name="connsiteX3" fmla="*/ 43384 w 4011346"/>
                <a:gd name="connsiteY3" fmla="*/ 674120 h 1898882"/>
                <a:gd name="connsiteX4" fmla="*/ 60071 w 4011346"/>
                <a:gd name="connsiteY4" fmla="*/ 700817 h 1898882"/>
                <a:gd name="connsiteX5" fmla="*/ 73419 w 4011346"/>
                <a:gd name="connsiteY5" fmla="*/ 730852 h 1898882"/>
                <a:gd name="connsiteX6" fmla="*/ 56733 w 4011346"/>
                <a:gd name="connsiteY6" fmla="*/ 754213 h 1898882"/>
                <a:gd name="connsiteX7" fmla="*/ 76757 w 4011346"/>
                <a:gd name="connsiteY7" fmla="*/ 834306 h 1898882"/>
                <a:gd name="connsiteX8" fmla="*/ 66745 w 4011346"/>
                <a:gd name="connsiteY8" fmla="*/ 850993 h 1898882"/>
                <a:gd name="connsiteX9" fmla="*/ 70082 w 4011346"/>
                <a:gd name="connsiteY9" fmla="*/ 877690 h 1898882"/>
                <a:gd name="connsiteX10" fmla="*/ 70082 w 4011346"/>
                <a:gd name="connsiteY10" fmla="*/ 917737 h 1898882"/>
                <a:gd name="connsiteX11" fmla="*/ 80094 w 4011346"/>
                <a:gd name="connsiteY11" fmla="*/ 937760 h 1898882"/>
                <a:gd name="connsiteX12" fmla="*/ 76757 w 4011346"/>
                <a:gd name="connsiteY12" fmla="*/ 961121 h 1898882"/>
                <a:gd name="connsiteX13" fmla="*/ 106792 w 4011346"/>
                <a:gd name="connsiteY13" fmla="*/ 994493 h 1898882"/>
                <a:gd name="connsiteX14" fmla="*/ 106792 w 4011346"/>
                <a:gd name="connsiteY14" fmla="*/ 1024528 h 1898882"/>
                <a:gd name="connsiteX15" fmla="*/ 13349 w 4011346"/>
                <a:gd name="connsiteY15" fmla="*/ 1114633 h 1898882"/>
                <a:gd name="connsiteX16" fmla="*/ 33373 w 4011346"/>
                <a:gd name="connsiteY16" fmla="*/ 1148006 h 1898882"/>
                <a:gd name="connsiteX17" fmla="*/ 33373 w 4011346"/>
                <a:gd name="connsiteY17" fmla="*/ 1148006 h 1898882"/>
                <a:gd name="connsiteX18" fmla="*/ 16687 w 4011346"/>
                <a:gd name="connsiteY18" fmla="*/ 1178041 h 1898882"/>
                <a:gd name="connsiteX19" fmla="*/ 3338 w 4011346"/>
                <a:gd name="connsiteY19" fmla="*/ 1208076 h 1898882"/>
                <a:gd name="connsiteX20" fmla="*/ 0 w 4011346"/>
                <a:gd name="connsiteY20" fmla="*/ 1268146 h 1898882"/>
                <a:gd name="connsiteX21" fmla="*/ 16687 w 4011346"/>
                <a:gd name="connsiteY21" fmla="*/ 1311530 h 1898882"/>
                <a:gd name="connsiteX22" fmla="*/ 20024 w 4011346"/>
                <a:gd name="connsiteY22" fmla="*/ 1344902 h 1898882"/>
                <a:gd name="connsiteX23" fmla="*/ 56733 w 4011346"/>
                <a:gd name="connsiteY23" fmla="*/ 1354914 h 1898882"/>
                <a:gd name="connsiteX24" fmla="*/ 116803 w 4011346"/>
                <a:gd name="connsiteY24" fmla="*/ 1441682 h 1898882"/>
                <a:gd name="connsiteX25" fmla="*/ 96780 w 4011346"/>
                <a:gd name="connsiteY25" fmla="*/ 1465042 h 1898882"/>
                <a:gd name="connsiteX26" fmla="*/ 93443 w 4011346"/>
                <a:gd name="connsiteY26" fmla="*/ 1495077 h 1898882"/>
                <a:gd name="connsiteX27" fmla="*/ 120141 w 4011346"/>
                <a:gd name="connsiteY27" fmla="*/ 1498414 h 1898882"/>
                <a:gd name="connsiteX28" fmla="*/ 160187 w 4011346"/>
                <a:gd name="connsiteY28" fmla="*/ 1511763 h 1898882"/>
                <a:gd name="connsiteX29" fmla="*/ 186885 w 4011346"/>
                <a:gd name="connsiteY29" fmla="*/ 1525112 h 1898882"/>
                <a:gd name="connsiteX30" fmla="*/ 213583 w 4011346"/>
                <a:gd name="connsiteY30" fmla="*/ 1555147 h 1898882"/>
                <a:gd name="connsiteX31" fmla="*/ 243618 w 4011346"/>
                <a:gd name="connsiteY31" fmla="*/ 1558484 h 1898882"/>
                <a:gd name="connsiteX32" fmla="*/ 287002 w 4011346"/>
                <a:gd name="connsiteY32" fmla="*/ 1588520 h 1898882"/>
                <a:gd name="connsiteX33" fmla="*/ 310363 w 4011346"/>
                <a:gd name="connsiteY33" fmla="*/ 1598531 h 1898882"/>
                <a:gd name="connsiteX34" fmla="*/ 310363 w 4011346"/>
                <a:gd name="connsiteY34" fmla="*/ 1635241 h 1898882"/>
                <a:gd name="connsiteX35" fmla="*/ 270316 w 4011346"/>
                <a:gd name="connsiteY35" fmla="*/ 1675287 h 1898882"/>
                <a:gd name="connsiteX36" fmla="*/ 280327 w 4011346"/>
                <a:gd name="connsiteY36" fmla="*/ 1698648 h 1898882"/>
                <a:gd name="connsiteX37" fmla="*/ 273653 w 4011346"/>
                <a:gd name="connsiteY37" fmla="*/ 1718671 h 1898882"/>
                <a:gd name="connsiteX38" fmla="*/ 266979 w 4011346"/>
                <a:gd name="connsiteY38" fmla="*/ 1735357 h 1898882"/>
                <a:gd name="connsiteX39" fmla="*/ 240281 w 4011346"/>
                <a:gd name="connsiteY39" fmla="*/ 1775404 h 1898882"/>
                <a:gd name="connsiteX40" fmla="*/ 307025 w 4011346"/>
                <a:gd name="connsiteY40" fmla="*/ 1812114 h 1898882"/>
                <a:gd name="connsiteX41" fmla="*/ 337060 w 4011346"/>
                <a:gd name="connsiteY41" fmla="*/ 1818788 h 1898882"/>
                <a:gd name="connsiteX42" fmla="*/ 360421 w 4011346"/>
                <a:gd name="connsiteY42" fmla="*/ 1825463 h 1898882"/>
                <a:gd name="connsiteX43" fmla="*/ 380444 w 4011346"/>
                <a:gd name="connsiteY43" fmla="*/ 1832137 h 1898882"/>
                <a:gd name="connsiteX44" fmla="*/ 407142 w 4011346"/>
                <a:gd name="connsiteY44" fmla="*/ 1852160 h 1898882"/>
                <a:gd name="connsiteX45" fmla="*/ 437177 w 4011346"/>
                <a:gd name="connsiteY45" fmla="*/ 1848823 h 1898882"/>
                <a:gd name="connsiteX46" fmla="*/ 507259 w 4011346"/>
                <a:gd name="connsiteY46" fmla="*/ 1898882 h 1898882"/>
                <a:gd name="connsiteX47" fmla="*/ 517271 w 4011346"/>
                <a:gd name="connsiteY47" fmla="*/ 1885533 h 1898882"/>
                <a:gd name="connsiteX48" fmla="*/ 507259 w 4011346"/>
                <a:gd name="connsiteY48" fmla="*/ 1845486 h 1898882"/>
                <a:gd name="connsiteX49" fmla="*/ 500584 w 4011346"/>
                <a:gd name="connsiteY49" fmla="*/ 1812114 h 1898882"/>
                <a:gd name="connsiteX50" fmla="*/ 483898 w 4011346"/>
                <a:gd name="connsiteY50" fmla="*/ 1768730 h 1898882"/>
                <a:gd name="connsiteX51" fmla="*/ 513933 w 4011346"/>
                <a:gd name="connsiteY51" fmla="*/ 1748706 h 1898882"/>
                <a:gd name="connsiteX52" fmla="*/ 547306 w 4011346"/>
                <a:gd name="connsiteY52" fmla="*/ 1725346 h 1898882"/>
                <a:gd name="connsiteX53" fmla="*/ 527282 w 4011346"/>
                <a:gd name="connsiteY53" fmla="*/ 1708660 h 1898882"/>
                <a:gd name="connsiteX54" fmla="*/ 517271 w 4011346"/>
                <a:gd name="connsiteY54" fmla="*/ 1675287 h 1898882"/>
                <a:gd name="connsiteX55" fmla="*/ 480561 w 4011346"/>
                <a:gd name="connsiteY55" fmla="*/ 1658601 h 1898882"/>
                <a:gd name="connsiteX56" fmla="*/ 470549 w 4011346"/>
                <a:gd name="connsiteY56" fmla="*/ 1638578 h 1898882"/>
                <a:gd name="connsiteX57" fmla="*/ 480561 w 4011346"/>
                <a:gd name="connsiteY57" fmla="*/ 1608543 h 1898882"/>
                <a:gd name="connsiteX58" fmla="*/ 490573 w 4011346"/>
                <a:gd name="connsiteY58" fmla="*/ 1568496 h 1898882"/>
                <a:gd name="connsiteX59" fmla="*/ 513933 w 4011346"/>
                <a:gd name="connsiteY59" fmla="*/ 1588520 h 1898882"/>
                <a:gd name="connsiteX60" fmla="*/ 520608 w 4011346"/>
                <a:gd name="connsiteY60" fmla="*/ 1571833 h 1898882"/>
                <a:gd name="connsiteX61" fmla="*/ 543968 w 4011346"/>
                <a:gd name="connsiteY61" fmla="*/ 1535124 h 1898882"/>
                <a:gd name="connsiteX62" fmla="*/ 574003 w 4011346"/>
                <a:gd name="connsiteY62" fmla="*/ 1518438 h 1898882"/>
                <a:gd name="connsiteX63" fmla="*/ 590690 w 4011346"/>
                <a:gd name="connsiteY63" fmla="*/ 1531787 h 1898882"/>
                <a:gd name="connsiteX64" fmla="*/ 610713 w 4011346"/>
                <a:gd name="connsiteY64" fmla="*/ 1505089 h 1898882"/>
                <a:gd name="connsiteX65" fmla="*/ 630736 w 4011346"/>
                <a:gd name="connsiteY65" fmla="*/ 1531787 h 1898882"/>
                <a:gd name="connsiteX66" fmla="*/ 657434 w 4011346"/>
                <a:gd name="connsiteY66" fmla="*/ 1555147 h 1898882"/>
                <a:gd name="connsiteX67" fmla="*/ 674120 w 4011346"/>
                <a:gd name="connsiteY67" fmla="*/ 1561822 h 1898882"/>
                <a:gd name="connsiteX68" fmla="*/ 697481 w 4011346"/>
                <a:gd name="connsiteY68" fmla="*/ 1561822 h 1898882"/>
                <a:gd name="connsiteX69" fmla="*/ 717504 w 4011346"/>
                <a:gd name="connsiteY69" fmla="*/ 1548473 h 1898882"/>
                <a:gd name="connsiteX70" fmla="*/ 744202 w 4011346"/>
                <a:gd name="connsiteY70" fmla="*/ 1548473 h 1898882"/>
                <a:gd name="connsiteX71" fmla="*/ 760888 w 4011346"/>
                <a:gd name="connsiteY71" fmla="*/ 1545136 h 1898882"/>
                <a:gd name="connsiteX72" fmla="*/ 790923 w 4011346"/>
                <a:gd name="connsiteY72" fmla="*/ 1578508 h 1898882"/>
                <a:gd name="connsiteX73" fmla="*/ 797598 w 4011346"/>
                <a:gd name="connsiteY73" fmla="*/ 1551810 h 1898882"/>
                <a:gd name="connsiteX74" fmla="*/ 817621 w 4011346"/>
                <a:gd name="connsiteY74" fmla="*/ 1568496 h 1898882"/>
                <a:gd name="connsiteX75" fmla="*/ 837644 w 4011346"/>
                <a:gd name="connsiteY75" fmla="*/ 1545136 h 1898882"/>
                <a:gd name="connsiteX76" fmla="*/ 827633 w 4011346"/>
                <a:gd name="connsiteY76" fmla="*/ 1525112 h 1898882"/>
                <a:gd name="connsiteX77" fmla="*/ 810946 w 4011346"/>
                <a:gd name="connsiteY77" fmla="*/ 1511763 h 1898882"/>
                <a:gd name="connsiteX78" fmla="*/ 810946 w 4011346"/>
                <a:gd name="connsiteY78" fmla="*/ 1485066 h 1898882"/>
                <a:gd name="connsiteX79" fmla="*/ 810946 w 4011346"/>
                <a:gd name="connsiteY79" fmla="*/ 1471717 h 1898882"/>
                <a:gd name="connsiteX80" fmla="*/ 830970 w 4011346"/>
                <a:gd name="connsiteY80" fmla="*/ 1468379 h 1898882"/>
                <a:gd name="connsiteX81" fmla="*/ 840981 w 4011346"/>
                <a:gd name="connsiteY81" fmla="*/ 1465042 h 1898882"/>
                <a:gd name="connsiteX82" fmla="*/ 820958 w 4011346"/>
                <a:gd name="connsiteY82" fmla="*/ 1428333 h 1898882"/>
                <a:gd name="connsiteX83" fmla="*/ 854330 w 4011346"/>
                <a:gd name="connsiteY83" fmla="*/ 1421658 h 1898882"/>
                <a:gd name="connsiteX84" fmla="*/ 891040 w 4011346"/>
                <a:gd name="connsiteY84" fmla="*/ 1428333 h 1898882"/>
                <a:gd name="connsiteX85" fmla="*/ 964459 w 4011346"/>
                <a:gd name="connsiteY85" fmla="*/ 1384949 h 1898882"/>
                <a:gd name="connsiteX86" fmla="*/ 1001168 w 4011346"/>
                <a:gd name="connsiteY86" fmla="*/ 1384949 h 1898882"/>
                <a:gd name="connsiteX87" fmla="*/ 1027866 w 4011346"/>
                <a:gd name="connsiteY87" fmla="*/ 1361588 h 1898882"/>
                <a:gd name="connsiteX88" fmla="*/ 1047890 w 4011346"/>
                <a:gd name="connsiteY88" fmla="*/ 1371600 h 1898882"/>
                <a:gd name="connsiteX89" fmla="*/ 1067913 w 4011346"/>
                <a:gd name="connsiteY89" fmla="*/ 1381611 h 1898882"/>
                <a:gd name="connsiteX90" fmla="*/ 1087936 w 4011346"/>
                <a:gd name="connsiteY90" fmla="*/ 1408309 h 1898882"/>
                <a:gd name="connsiteX91" fmla="*/ 1074587 w 4011346"/>
                <a:gd name="connsiteY91" fmla="*/ 1421658 h 1898882"/>
                <a:gd name="connsiteX92" fmla="*/ 1104622 w 4011346"/>
                <a:gd name="connsiteY92" fmla="*/ 1421658 h 1898882"/>
                <a:gd name="connsiteX93" fmla="*/ 1107960 w 4011346"/>
                <a:gd name="connsiteY93" fmla="*/ 1438344 h 1898882"/>
                <a:gd name="connsiteX94" fmla="*/ 1121309 w 4011346"/>
                <a:gd name="connsiteY94" fmla="*/ 1421658 h 1898882"/>
                <a:gd name="connsiteX95" fmla="*/ 1134657 w 4011346"/>
                <a:gd name="connsiteY95" fmla="*/ 1435007 h 1898882"/>
                <a:gd name="connsiteX96" fmla="*/ 1134657 w 4011346"/>
                <a:gd name="connsiteY96" fmla="*/ 1455030 h 1898882"/>
                <a:gd name="connsiteX97" fmla="*/ 1148006 w 4011346"/>
                <a:gd name="connsiteY97" fmla="*/ 1451693 h 1898882"/>
                <a:gd name="connsiteX98" fmla="*/ 1208076 w 4011346"/>
                <a:gd name="connsiteY98" fmla="*/ 1404972 h 1898882"/>
                <a:gd name="connsiteX99" fmla="*/ 1211414 w 4011346"/>
                <a:gd name="connsiteY99" fmla="*/ 1424995 h 1898882"/>
                <a:gd name="connsiteX100" fmla="*/ 1244786 w 4011346"/>
                <a:gd name="connsiteY100" fmla="*/ 1445019 h 1898882"/>
                <a:gd name="connsiteX101" fmla="*/ 1264809 w 4011346"/>
                <a:gd name="connsiteY101" fmla="*/ 1475054 h 1898882"/>
                <a:gd name="connsiteX102" fmla="*/ 1298181 w 4011346"/>
                <a:gd name="connsiteY102" fmla="*/ 1581845 h 1898882"/>
                <a:gd name="connsiteX103" fmla="*/ 1308193 w 4011346"/>
                <a:gd name="connsiteY103" fmla="*/ 1538461 h 1898882"/>
                <a:gd name="connsiteX104" fmla="*/ 1344903 w 4011346"/>
                <a:gd name="connsiteY104" fmla="*/ 1558484 h 1898882"/>
                <a:gd name="connsiteX105" fmla="*/ 1388287 w 4011346"/>
                <a:gd name="connsiteY105" fmla="*/ 1558484 h 1898882"/>
                <a:gd name="connsiteX106" fmla="*/ 1394961 w 4011346"/>
                <a:gd name="connsiteY106" fmla="*/ 1581845 h 1898882"/>
                <a:gd name="connsiteX107" fmla="*/ 1435008 w 4011346"/>
                <a:gd name="connsiteY107" fmla="*/ 1605206 h 1898882"/>
                <a:gd name="connsiteX108" fmla="*/ 1465043 w 4011346"/>
                <a:gd name="connsiteY108" fmla="*/ 1605206 h 1898882"/>
                <a:gd name="connsiteX109" fmla="*/ 1491741 w 4011346"/>
                <a:gd name="connsiteY109" fmla="*/ 1618555 h 1898882"/>
                <a:gd name="connsiteX110" fmla="*/ 1535125 w 4011346"/>
                <a:gd name="connsiteY110" fmla="*/ 1575171 h 1898882"/>
                <a:gd name="connsiteX111" fmla="*/ 1571834 w 4011346"/>
                <a:gd name="connsiteY111" fmla="*/ 1555147 h 1898882"/>
                <a:gd name="connsiteX112" fmla="*/ 1608544 w 4011346"/>
                <a:gd name="connsiteY112" fmla="*/ 1558484 h 1898882"/>
                <a:gd name="connsiteX113" fmla="*/ 1655265 w 4011346"/>
                <a:gd name="connsiteY113" fmla="*/ 1571833 h 1898882"/>
                <a:gd name="connsiteX114" fmla="*/ 1681963 w 4011346"/>
                <a:gd name="connsiteY114" fmla="*/ 1588520 h 1898882"/>
                <a:gd name="connsiteX115" fmla="*/ 1735358 w 4011346"/>
                <a:gd name="connsiteY115" fmla="*/ 1581845 h 1898882"/>
                <a:gd name="connsiteX116" fmla="*/ 1745370 w 4011346"/>
                <a:gd name="connsiteY116" fmla="*/ 1561822 h 1898882"/>
                <a:gd name="connsiteX117" fmla="*/ 1738695 w 4011346"/>
                <a:gd name="connsiteY117" fmla="*/ 1541798 h 1898882"/>
                <a:gd name="connsiteX118" fmla="*/ 1765393 w 4011346"/>
                <a:gd name="connsiteY118" fmla="*/ 1515101 h 1898882"/>
                <a:gd name="connsiteX119" fmla="*/ 1778742 w 4011346"/>
                <a:gd name="connsiteY119" fmla="*/ 1511763 h 1898882"/>
                <a:gd name="connsiteX120" fmla="*/ 1812114 w 4011346"/>
                <a:gd name="connsiteY120" fmla="*/ 1528449 h 1898882"/>
                <a:gd name="connsiteX121" fmla="*/ 1852161 w 4011346"/>
                <a:gd name="connsiteY121" fmla="*/ 1541798 h 1898882"/>
                <a:gd name="connsiteX122" fmla="*/ 1858836 w 4011346"/>
                <a:gd name="connsiteY122" fmla="*/ 1568496 h 1898882"/>
                <a:gd name="connsiteX123" fmla="*/ 1872184 w 4011346"/>
                <a:gd name="connsiteY123" fmla="*/ 1575171 h 1898882"/>
                <a:gd name="connsiteX124" fmla="*/ 1902219 w 4011346"/>
                <a:gd name="connsiteY124" fmla="*/ 1578508 h 1898882"/>
                <a:gd name="connsiteX125" fmla="*/ 1932254 w 4011346"/>
                <a:gd name="connsiteY125" fmla="*/ 1561822 h 1898882"/>
                <a:gd name="connsiteX126" fmla="*/ 1962290 w 4011346"/>
                <a:gd name="connsiteY126" fmla="*/ 1575171 h 1898882"/>
                <a:gd name="connsiteX127" fmla="*/ 1985650 w 4011346"/>
                <a:gd name="connsiteY127" fmla="*/ 1588520 h 1898882"/>
                <a:gd name="connsiteX128" fmla="*/ 1995662 w 4011346"/>
                <a:gd name="connsiteY128" fmla="*/ 1598531 h 1898882"/>
                <a:gd name="connsiteX129" fmla="*/ 2032371 w 4011346"/>
                <a:gd name="connsiteY129" fmla="*/ 1618555 h 1898882"/>
                <a:gd name="connsiteX130" fmla="*/ 2069081 w 4011346"/>
                <a:gd name="connsiteY130" fmla="*/ 1615217 h 1898882"/>
                <a:gd name="connsiteX131" fmla="*/ 2142500 w 4011346"/>
                <a:gd name="connsiteY131" fmla="*/ 1571833 h 1898882"/>
                <a:gd name="connsiteX132" fmla="*/ 2195895 w 4011346"/>
                <a:gd name="connsiteY132" fmla="*/ 1585182 h 1898882"/>
                <a:gd name="connsiteX133" fmla="*/ 2225930 w 4011346"/>
                <a:gd name="connsiteY133" fmla="*/ 1595194 h 1898882"/>
                <a:gd name="connsiteX134" fmla="*/ 2259303 w 4011346"/>
                <a:gd name="connsiteY134" fmla="*/ 1581845 h 1898882"/>
                <a:gd name="connsiteX135" fmla="*/ 2262640 w 4011346"/>
                <a:gd name="connsiteY135" fmla="*/ 1555147 h 1898882"/>
                <a:gd name="connsiteX136" fmla="*/ 2282663 w 4011346"/>
                <a:gd name="connsiteY136" fmla="*/ 1525112 h 1898882"/>
                <a:gd name="connsiteX137" fmla="*/ 2299349 w 4011346"/>
                <a:gd name="connsiteY137" fmla="*/ 1471717 h 1898882"/>
                <a:gd name="connsiteX138" fmla="*/ 2282663 w 4011346"/>
                <a:gd name="connsiteY138" fmla="*/ 1475054 h 1898882"/>
                <a:gd name="connsiteX139" fmla="*/ 2312698 w 4011346"/>
                <a:gd name="connsiteY139" fmla="*/ 1448356 h 1898882"/>
                <a:gd name="connsiteX140" fmla="*/ 2339396 w 4011346"/>
                <a:gd name="connsiteY140" fmla="*/ 1445019 h 1898882"/>
                <a:gd name="connsiteX141" fmla="*/ 2396129 w 4011346"/>
                <a:gd name="connsiteY141" fmla="*/ 1455030 h 1898882"/>
                <a:gd name="connsiteX142" fmla="*/ 2436176 w 4011346"/>
                <a:gd name="connsiteY142" fmla="*/ 1481728 h 1898882"/>
                <a:gd name="connsiteX143" fmla="*/ 2462873 w 4011346"/>
                <a:gd name="connsiteY143" fmla="*/ 1511763 h 1898882"/>
                <a:gd name="connsiteX144" fmla="*/ 2469548 w 4011346"/>
                <a:gd name="connsiteY144" fmla="*/ 1548473 h 1898882"/>
                <a:gd name="connsiteX145" fmla="*/ 2476222 w 4011346"/>
                <a:gd name="connsiteY145" fmla="*/ 1588520 h 1898882"/>
                <a:gd name="connsiteX146" fmla="*/ 2486234 w 4011346"/>
                <a:gd name="connsiteY146" fmla="*/ 1608543 h 1898882"/>
                <a:gd name="connsiteX147" fmla="*/ 2529618 w 4011346"/>
                <a:gd name="connsiteY147" fmla="*/ 1621892 h 1898882"/>
                <a:gd name="connsiteX148" fmla="*/ 2549641 w 4011346"/>
                <a:gd name="connsiteY148" fmla="*/ 1641915 h 1898882"/>
                <a:gd name="connsiteX149" fmla="*/ 2562990 w 4011346"/>
                <a:gd name="connsiteY149" fmla="*/ 1675287 h 1898882"/>
                <a:gd name="connsiteX150" fmla="*/ 2586351 w 4011346"/>
                <a:gd name="connsiteY150" fmla="*/ 1668613 h 1898882"/>
                <a:gd name="connsiteX151" fmla="*/ 2606374 w 4011346"/>
                <a:gd name="connsiteY151" fmla="*/ 1658601 h 1898882"/>
                <a:gd name="connsiteX152" fmla="*/ 2639746 w 4011346"/>
                <a:gd name="connsiteY152" fmla="*/ 1641915 h 1898882"/>
                <a:gd name="connsiteX153" fmla="*/ 2643084 w 4011346"/>
                <a:gd name="connsiteY153" fmla="*/ 1658601 h 1898882"/>
                <a:gd name="connsiteX154" fmla="*/ 2626398 w 4011346"/>
                <a:gd name="connsiteY154" fmla="*/ 1688636 h 1898882"/>
                <a:gd name="connsiteX155" fmla="*/ 2616386 w 4011346"/>
                <a:gd name="connsiteY155" fmla="*/ 1725346 h 1898882"/>
                <a:gd name="connsiteX156" fmla="*/ 2603037 w 4011346"/>
                <a:gd name="connsiteY156" fmla="*/ 1778741 h 1898882"/>
                <a:gd name="connsiteX157" fmla="*/ 2579676 w 4011346"/>
                <a:gd name="connsiteY157" fmla="*/ 1752044 h 1898882"/>
                <a:gd name="connsiteX158" fmla="*/ 2552979 w 4011346"/>
                <a:gd name="connsiteY158" fmla="*/ 1775404 h 1898882"/>
                <a:gd name="connsiteX159" fmla="*/ 2559653 w 4011346"/>
                <a:gd name="connsiteY159" fmla="*/ 1802102 h 1898882"/>
                <a:gd name="connsiteX160" fmla="*/ 2559653 w 4011346"/>
                <a:gd name="connsiteY160" fmla="*/ 1838811 h 1898882"/>
                <a:gd name="connsiteX161" fmla="*/ 2549641 w 4011346"/>
                <a:gd name="connsiteY161" fmla="*/ 1858835 h 1898882"/>
                <a:gd name="connsiteX162" fmla="*/ 2589688 w 4011346"/>
                <a:gd name="connsiteY162" fmla="*/ 1838811 h 1898882"/>
                <a:gd name="connsiteX163" fmla="*/ 2626398 w 4011346"/>
                <a:gd name="connsiteY163" fmla="*/ 1848823 h 1898882"/>
                <a:gd name="connsiteX164" fmla="*/ 2653095 w 4011346"/>
                <a:gd name="connsiteY164" fmla="*/ 1825463 h 1898882"/>
                <a:gd name="connsiteX165" fmla="*/ 2683130 w 4011346"/>
                <a:gd name="connsiteY165" fmla="*/ 1772067 h 1898882"/>
                <a:gd name="connsiteX166" fmla="*/ 2753212 w 4011346"/>
                <a:gd name="connsiteY166" fmla="*/ 1685299 h 1898882"/>
                <a:gd name="connsiteX167" fmla="*/ 2783247 w 4011346"/>
                <a:gd name="connsiteY167" fmla="*/ 1615217 h 1898882"/>
                <a:gd name="connsiteX168" fmla="*/ 2803271 w 4011346"/>
                <a:gd name="connsiteY168" fmla="*/ 1511763 h 1898882"/>
                <a:gd name="connsiteX169" fmla="*/ 2793259 w 4011346"/>
                <a:gd name="connsiteY169" fmla="*/ 1461705 h 1898882"/>
                <a:gd name="connsiteX170" fmla="*/ 2769898 w 4011346"/>
                <a:gd name="connsiteY170" fmla="*/ 1428333 h 1898882"/>
                <a:gd name="connsiteX171" fmla="*/ 2726514 w 4011346"/>
                <a:gd name="connsiteY171" fmla="*/ 1428333 h 1898882"/>
                <a:gd name="connsiteX172" fmla="*/ 2699817 w 4011346"/>
                <a:gd name="connsiteY172" fmla="*/ 1428333 h 1898882"/>
                <a:gd name="connsiteX173" fmla="*/ 2683130 w 4011346"/>
                <a:gd name="connsiteY173" fmla="*/ 1408309 h 1898882"/>
                <a:gd name="connsiteX174" fmla="*/ 2669781 w 4011346"/>
                <a:gd name="connsiteY174" fmla="*/ 1388286 h 1898882"/>
                <a:gd name="connsiteX175" fmla="*/ 2763224 w 4011346"/>
                <a:gd name="connsiteY175" fmla="*/ 1271483 h 1898882"/>
                <a:gd name="connsiteX176" fmla="*/ 2846654 w 4011346"/>
                <a:gd name="connsiteY176" fmla="*/ 1204739 h 1898882"/>
                <a:gd name="connsiteX177" fmla="*/ 2890038 w 4011346"/>
                <a:gd name="connsiteY177" fmla="*/ 1181378 h 1898882"/>
                <a:gd name="connsiteX178" fmla="*/ 2933422 w 4011346"/>
                <a:gd name="connsiteY178" fmla="*/ 1201401 h 1898882"/>
                <a:gd name="connsiteX179" fmla="*/ 2950109 w 4011346"/>
                <a:gd name="connsiteY179" fmla="*/ 1184715 h 1898882"/>
                <a:gd name="connsiteX180" fmla="*/ 2993492 w 4011346"/>
                <a:gd name="connsiteY180" fmla="*/ 1201401 h 1898882"/>
                <a:gd name="connsiteX181" fmla="*/ 3006841 w 4011346"/>
                <a:gd name="connsiteY181" fmla="*/ 1168029 h 1898882"/>
                <a:gd name="connsiteX182" fmla="*/ 3053563 w 4011346"/>
                <a:gd name="connsiteY182" fmla="*/ 1178041 h 1898882"/>
                <a:gd name="connsiteX183" fmla="*/ 3070249 w 4011346"/>
                <a:gd name="connsiteY183" fmla="*/ 1194727 h 1898882"/>
                <a:gd name="connsiteX184" fmla="*/ 3060237 w 4011346"/>
                <a:gd name="connsiteY184" fmla="*/ 1214750 h 1898882"/>
                <a:gd name="connsiteX185" fmla="*/ 3123644 w 4011346"/>
                <a:gd name="connsiteY185" fmla="*/ 1198064 h 1898882"/>
                <a:gd name="connsiteX186" fmla="*/ 3140330 w 4011346"/>
                <a:gd name="connsiteY186" fmla="*/ 1184715 h 1898882"/>
                <a:gd name="connsiteX187" fmla="*/ 3123644 w 4011346"/>
                <a:gd name="connsiteY187" fmla="*/ 1171366 h 1898882"/>
                <a:gd name="connsiteX188" fmla="*/ 3143668 w 4011346"/>
                <a:gd name="connsiteY188" fmla="*/ 1131320 h 1898882"/>
                <a:gd name="connsiteX189" fmla="*/ 3190389 w 4011346"/>
                <a:gd name="connsiteY189" fmla="*/ 1061238 h 1898882"/>
                <a:gd name="connsiteX190" fmla="*/ 3233773 w 4011346"/>
                <a:gd name="connsiteY190" fmla="*/ 1057901 h 1898882"/>
                <a:gd name="connsiteX191" fmla="*/ 3273819 w 4011346"/>
                <a:gd name="connsiteY191" fmla="*/ 1067912 h 1898882"/>
                <a:gd name="connsiteX192" fmla="*/ 3277157 w 4011346"/>
                <a:gd name="connsiteY192" fmla="*/ 1124645 h 1898882"/>
                <a:gd name="connsiteX193" fmla="*/ 3320541 w 4011346"/>
                <a:gd name="connsiteY193" fmla="*/ 1081261 h 1898882"/>
                <a:gd name="connsiteX194" fmla="*/ 3343901 w 4011346"/>
                <a:gd name="connsiteY194" fmla="*/ 1064575 h 1898882"/>
                <a:gd name="connsiteX195" fmla="*/ 3350576 w 4011346"/>
                <a:gd name="connsiteY195" fmla="*/ 1031203 h 1898882"/>
                <a:gd name="connsiteX196" fmla="*/ 3377273 w 4011346"/>
                <a:gd name="connsiteY196" fmla="*/ 1014517 h 1898882"/>
                <a:gd name="connsiteX197" fmla="*/ 3407309 w 4011346"/>
                <a:gd name="connsiteY197" fmla="*/ 1024528 h 1898882"/>
                <a:gd name="connsiteX198" fmla="*/ 3373936 w 4011346"/>
                <a:gd name="connsiteY198" fmla="*/ 1054563 h 1898882"/>
                <a:gd name="connsiteX199" fmla="*/ 3360587 w 4011346"/>
                <a:gd name="connsiteY199" fmla="*/ 1104622 h 1898882"/>
                <a:gd name="connsiteX200" fmla="*/ 3323878 w 4011346"/>
                <a:gd name="connsiteY200" fmla="*/ 1144668 h 1898882"/>
                <a:gd name="connsiteX201" fmla="*/ 3210412 w 4011346"/>
                <a:gd name="connsiteY201" fmla="*/ 1241448 h 1898882"/>
                <a:gd name="connsiteX202" fmla="*/ 3163691 w 4011346"/>
                <a:gd name="connsiteY202" fmla="*/ 1311530 h 1898882"/>
                <a:gd name="connsiteX203" fmla="*/ 3160354 w 4011346"/>
                <a:gd name="connsiteY203" fmla="*/ 1384949 h 1898882"/>
                <a:gd name="connsiteX204" fmla="*/ 3170365 w 4011346"/>
                <a:gd name="connsiteY204" fmla="*/ 1475054 h 1898882"/>
                <a:gd name="connsiteX205" fmla="*/ 3190389 w 4011346"/>
                <a:gd name="connsiteY205" fmla="*/ 1538461 h 1898882"/>
                <a:gd name="connsiteX206" fmla="*/ 3217087 w 4011346"/>
                <a:gd name="connsiteY206" fmla="*/ 1528449 h 1898882"/>
                <a:gd name="connsiteX207" fmla="*/ 3240447 w 4011346"/>
                <a:gd name="connsiteY207" fmla="*/ 1461705 h 1898882"/>
                <a:gd name="connsiteX208" fmla="*/ 3270482 w 4011346"/>
                <a:gd name="connsiteY208" fmla="*/ 1458368 h 1898882"/>
                <a:gd name="connsiteX209" fmla="*/ 3287168 w 4011346"/>
                <a:gd name="connsiteY209" fmla="*/ 1398298 h 1898882"/>
                <a:gd name="connsiteX210" fmla="*/ 3313866 w 4011346"/>
                <a:gd name="connsiteY210" fmla="*/ 1388286 h 1898882"/>
                <a:gd name="connsiteX211" fmla="*/ 3313866 w 4011346"/>
                <a:gd name="connsiteY211" fmla="*/ 1358251 h 1898882"/>
                <a:gd name="connsiteX212" fmla="*/ 3337227 w 4011346"/>
                <a:gd name="connsiteY212" fmla="*/ 1321541 h 1898882"/>
                <a:gd name="connsiteX213" fmla="*/ 3330552 w 4011346"/>
                <a:gd name="connsiteY213" fmla="*/ 1278157 h 1898882"/>
                <a:gd name="connsiteX214" fmla="*/ 3333890 w 4011346"/>
                <a:gd name="connsiteY214" fmla="*/ 1248122 h 1898882"/>
                <a:gd name="connsiteX215" fmla="*/ 3323878 w 4011346"/>
                <a:gd name="connsiteY215" fmla="*/ 1238111 h 1898882"/>
                <a:gd name="connsiteX216" fmla="*/ 3363925 w 4011346"/>
                <a:gd name="connsiteY216" fmla="*/ 1151343 h 1898882"/>
                <a:gd name="connsiteX217" fmla="*/ 3383948 w 4011346"/>
                <a:gd name="connsiteY217" fmla="*/ 1161355 h 1898882"/>
                <a:gd name="connsiteX218" fmla="*/ 3410646 w 4011346"/>
                <a:gd name="connsiteY218" fmla="*/ 1134657 h 1898882"/>
                <a:gd name="connsiteX219" fmla="*/ 3420657 w 4011346"/>
                <a:gd name="connsiteY219" fmla="*/ 1161355 h 1898882"/>
                <a:gd name="connsiteX220" fmla="*/ 3447355 w 4011346"/>
                <a:gd name="connsiteY220" fmla="*/ 1144668 h 1898882"/>
                <a:gd name="connsiteX221" fmla="*/ 3477390 w 4011346"/>
                <a:gd name="connsiteY221" fmla="*/ 1134657 h 1898882"/>
                <a:gd name="connsiteX222" fmla="*/ 3514100 w 4011346"/>
                <a:gd name="connsiteY222" fmla="*/ 1161355 h 1898882"/>
                <a:gd name="connsiteX223" fmla="*/ 3574170 w 4011346"/>
                <a:gd name="connsiteY223" fmla="*/ 1094610 h 1898882"/>
                <a:gd name="connsiteX224" fmla="*/ 3637577 w 4011346"/>
                <a:gd name="connsiteY224" fmla="*/ 1047889 h 1898882"/>
                <a:gd name="connsiteX225" fmla="*/ 3690973 w 4011346"/>
                <a:gd name="connsiteY225" fmla="*/ 1011179 h 1898882"/>
                <a:gd name="connsiteX226" fmla="*/ 3741031 w 4011346"/>
                <a:gd name="connsiteY226" fmla="*/ 1037877 h 1898882"/>
                <a:gd name="connsiteX227" fmla="*/ 3751043 w 4011346"/>
                <a:gd name="connsiteY227" fmla="*/ 1011179 h 1898882"/>
                <a:gd name="connsiteX228" fmla="*/ 3727682 w 4011346"/>
                <a:gd name="connsiteY228" fmla="*/ 944435 h 1898882"/>
                <a:gd name="connsiteX229" fmla="*/ 3700984 w 4011346"/>
                <a:gd name="connsiteY229" fmla="*/ 927749 h 1898882"/>
                <a:gd name="connsiteX230" fmla="*/ 3697647 w 4011346"/>
                <a:gd name="connsiteY230" fmla="*/ 897714 h 1898882"/>
                <a:gd name="connsiteX231" fmla="*/ 3751043 w 4011346"/>
                <a:gd name="connsiteY231" fmla="*/ 904388 h 1898882"/>
                <a:gd name="connsiteX232" fmla="*/ 3774403 w 4011346"/>
                <a:gd name="connsiteY232" fmla="*/ 861004 h 1898882"/>
                <a:gd name="connsiteX233" fmla="*/ 3767729 w 4011346"/>
                <a:gd name="connsiteY233" fmla="*/ 834306 h 1898882"/>
                <a:gd name="connsiteX234" fmla="*/ 3794427 w 4011346"/>
                <a:gd name="connsiteY234" fmla="*/ 800934 h 1898882"/>
                <a:gd name="connsiteX235" fmla="*/ 3804438 w 4011346"/>
                <a:gd name="connsiteY235" fmla="*/ 844318 h 1898882"/>
                <a:gd name="connsiteX236" fmla="*/ 3827799 w 4011346"/>
                <a:gd name="connsiteY236" fmla="*/ 861004 h 1898882"/>
                <a:gd name="connsiteX237" fmla="*/ 3874520 w 4011346"/>
                <a:gd name="connsiteY237" fmla="*/ 881028 h 1898882"/>
                <a:gd name="connsiteX238" fmla="*/ 3894544 w 4011346"/>
                <a:gd name="connsiteY238" fmla="*/ 907725 h 1898882"/>
                <a:gd name="connsiteX239" fmla="*/ 3941265 w 4011346"/>
                <a:gd name="connsiteY239" fmla="*/ 931086 h 1898882"/>
                <a:gd name="connsiteX240" fmla="*/ 3947939 w 4011346"/>
                <a:gd name="connsiteY240" fmla="*/ 917737 h 1898882"/>
                <a:gd name="connsiteX241" fmla="*/ 3957951 w 4011346"/>
                <a:gd name="connsiteY241" fmla="*/ 854330 h 1898882"/>
                <a:gd name="connsiteX242" fmla="*/ 4004672 w 4011346"/>
                <a:gd name="connsiteY242" fmla="*/ 847655 h 1898882"/>
                <a:gd name="connsiteX243" fmla="*/ 4011346 w 4011346"/>
                <a:gd name="connsiteY243" fmla="*/ 814283 h 1898882"/>
                <a:gd name="connsiteX244" fmla="*/ 3967963 w 4011346"/>
                <a:gd name="connsiteY244" fmla="*/ 777574 h 1898882"/>
                <a:gd name="connsiteX245" fmla="*/ 3921241 w 4011346"/>
                <a:gd name="connsiteY245" fmla="*/ 760887 h 1898882"/>
                <a:gd name="connsiteX246" fmla="*/ 3907892 w 4011346"/>
                <a:gd name="connsiteY246" fmla="*/ 764225 h 1898882"/>
                <a:gd name="connsiteX247" fmla="*/ 3907892 w 4011346"/>
                <a:gd name="connsiteY247" fmla="*/ 797597 h 1898882"/>
                <a:gd name="connsiteX248" fmla="*/ 3887869 w 4011346"/>
                <a:gd name="connsiteY248" fmla="*/ 790922 h 1898882"/>
                <a:gd name="connsiteX249" fmla="*/ 3874520 w 4011346"/>
                <a:gd name="connsiteY249" fmla="*/ 737527 h 1898882"/>
                <a:gd name="connsiteX250" fmla="*/ 3817787 w 4011346"/>
                <a:gd name="connsiteY250" fmla="*/ 674120 h 1898882"/>
                <a:gd name="connsiteX251" fmla="*/ 3717671 w 4011346"/>
                <a:gd name="connsiteY251" fmla="*/ 597363 h 1898882"/>
                <a:gd name="connsiteX252" fmla="*/ 3664275 w 4011346"/>
                <a:gd name="connsiteY252" fmla="*/ 577340 h 1898882"/>
                <a:gd name="connsiteX253" fmla="*/ 3584181 w 4011346"/>
                <a:gd name="connsiteY253" fmla="*/ 570666 h 1898882"/>
                <a:gd name="connsiteX254" fmla="*/ 3520774 w 4011346"/>
                <a:gd name="connsiteY254" fmla="*/ 553979 h 1898882"/>
                <a:gd name="connsiteX255" fmla="*/ 3530786 w 4011346"/>
                <a:gd name="connsiteY255" fmla="*/ 594026 h 1898882"/>
                <a:gd name="connsiteX256" fmla="*/ 3537460 w 4011346"/>
                <a:gd name="connsiteY256" fmla="*/ 620724 h 1898882"/>
                <a:gd name="connsiteX257" fmla="*/ 3507425 w 4011346"/>
                <a:gd name="connsiteY257" fmla="*/ 644084 h 1898882"/>
                <a:gd name="connsiteX258" fmla="*/ 3477390 w 4011346"/>
                <a:gd name="connsiteY258" fmla="*/ 617387 h 1898882"/>
                <a:gd name="connsiteX259" fmla="*/ 3477390 w 4011346"/>
                <a:gd name="connsiteY259" fmla="*/ 597363 h 1898882"/>
                <a:gd name="connsiteX260" fmla="*/ 3504088 w 4011346"/>
                <a:gd name="connsiteY260" fmla="*/ 577340 h 1898882"/>
                <a:gd name="connsiteX261" fmla="*/ 3467379 w 4011346"/>
                <a:gd name="connsiteY261" fmla="*/ 563991 h 1898882"/>
                <a:gd name="connsiteX262" fmla="*/ 3450692 w 4011346"/>
                <a:gd name="connsiteY262" fmla="*/ 590689 h 1898882"/>
                <a:gd name="connsiteX263" fmla="*/ 3440681 w 4011346"/>
                <a:gd name="connsiteY263" fmla="*/ 604038 h 1898882"/>
                <a:gd name="connsiteX264" fmla="*/ 3357250 w 4011346"/>
                <a:gd name="connsiteY264" fmla="*/ 590689 h 1898882"/>
                <a:gd name="connsiteX265" fmla="*/ 3297180 w 4011346"/>
                <a:gd name="connsiteY265" fmla="*/ 597363 h 1898882"/>
                <a:gd name="connsiteX266" fmla="*/ 3267145 w 4011346"/>
                <a:gd name="connsiteY266" fmla="*/ 574003 h 1898882"/>
                <a:gd name="connsiteX267" fmla="*/ 3267145 w 4011346"/>
                <a:gd name="connsiteY267" fmla="*/ 537293 h 1898882"/>
                <a:gd name="connsiteX268" fmla="*/ 3203738 w 4011346"/>
                <a:gd name="connsiteY268" fmla="*/ 480560 h 1898882"/>
                <a:gd name="connsiteX269" fmla="*/ 3076923 w 4011346"/>
                <a:gd name="connsiteY269" fmla="*/ 487235 h 1898882"/>
                <a:gd name="connsiteX270" fmla="*/ 3043551 w 4011346"/>
                <a:gd name="connsiteY270" fmla="*/ 463874 h 1898882"/>
                <a:gd name="connsiteX271" fmla="*/ 3000167 w 4011346"/>
                <a:gd name="connsiteY271" fmla="*/ 417153 h 1898882"/>
                <a:gd name="connsiteX272" fmla="*/ 3013516 w 4011346"/>
                <a:gd name="connsiteY272" fmla="*/ 410479 h 1898882"/>
                <a:gd name="connsiteX273" fmla="*/ 3000167 w 4011346"/>
                <a:gd name="connsiteY273" fmla="*/ 390455 h 1898882"/>
                <a:gd name="connsiteX274" fmla="*/ 2970132 w 4011346"/>
                <a:gd name="connsiteY274" fmla="*/ 387118 h 1898882"/>
                <a:gd name="connsiteX275" fmla="*/ 2920073 w 4011346"/>
                <a:gd name="connsiteY275" fmla="*/ 433839 h 1898882"/>
                <a:gd name="connsiteX276" fmla="*/ 2920073 w 4011346"/>
                <a:gd name="connsiteY276" fmla="*/ 433839 h 1898882"/>
                <a:gd name="connsiteX277" fmla="*/ 2916736 w 4011346"/>
                <a:gd name="connsiteY277" fmla="*/ 383781 h 1898882"/>
                <a:gd name="connsiteX278" fmla="*/ 2936760 w 4011346"/>
                <a:gd name="connsiteY278" fmla="*/ 380444 h 1898882"/>
                <a:gd name="connsiteX279" fmla="*/ 2866678 w 4011346"/>
                <a:gd name="connsiteY279" fmla="*/ 350409 h 1898882"/>
                <a:gd name="connsiteX280" fmla="*/ 2813282 w 4011346"/>
                <a:gd name="connsiteY280" fmla="*/ 347071 h 1898882"/>
                <a:gd name="connsiteX281" fmla="*/ 2793259 w 4011346"/>
                <a:gd name="connsiteY281" fmla="*/ 370432 h 1898882"/>
                <a:gd name="connsiteX282" fmla="*/ 2743200 w 4011346"/>
                <a:gd name="connsiteY282" fmla="*/ 380444 h 1898882"/>
                <a:gd name="connsiteX283" fmla="*/ 2786584 w 4011346"/>
                <a:gd name="connsiteY283" fmla="*/ 390455 h 1898882"/>
                <a:gd name="connsiteX284" fmla="*/ 2763224 w 4011346"/>
                <a:gd name="connsiteY284" fmla="*/ 410479 h 1898882"/>
                <a:gd name="connsiteX285" fmla="*/ 2769898 w 4011346"/>
                <a:gd name="connsiteY285" fmla="*/ 460537 h 1898882"/>
                <a:gd name="connsiteX286" fmla="*/ 2749875 w 4011346"/>
                <a:gd name="connsiteY286" fmla="*/ 443851 h 1898882"/>
                <a:gd name="connsiteX287" fmla="*/ 2733189 w 4011346"/>
                <a:gd name="connsiteY287" fmla="*/ 457200 h 1898882"/>
                <a:gd name="connsiteX288" fmla="*/ 2666444 w 4011346"/>
                <a:gd name="connsiteY288" fmla="*/ 447188 h 1898882"/>
                <a:gd name="connsiteX289" fmla="*/ 2636409 w 4011346"/>
                <a:gd name="connsiteY289" fmla="*/ 457200 h 1898882"/>
                <a:gd name="connsiteX290" fmla="*/ 2603037 w 4011346"/>
                <a:gd name="connsiteY290" fmla="*/ 417153 h 1898882"/>
                <a:gd name="connsiteX291" fmla="*/ 2569665 w 4011346"/>
                <a:gd name="connsiteY291" fmla="*/ 500584 h 1898882"/>
                <a:gd name="connsiteX292" fmla="*/ 2552979 w 4011346"/>
                <a:gd name="connsiteY292" fmla="*/ 520607 h 1898882"/>
                <a:gd name="connsiteX293" fmla="*/ 2469548 w 4011346"/>
                <a:gd name="connsiteY293" fmla="*/ 383781 h 1898882"/>
                <a:gd name="connsiteX294" fmla="*/ 2446187 w 4011346"/>
                <a:gd name="connsiteY294" fmla="*/ 400467 h 1898882"/>
                <a:gd name="connsiteX295" fmla="*/ 2442850 w 4011346"/>
                <a:gd name="connsiteY295" fmla="*/ 367095 h 1898882"/>
                <a:gd name="connsiteX296" fmla="*/ 2449525 w 4011346"/>
                <a:gd name="connsiteY296" fmla="*/ 297013 h 1898882"/>
                <a:gd name="connsiteX297" fmla="*/ 2386117 w 4011346"/>
                <a:gd name="connsiteY297" fmla="*/ 270315 h 1898882"/>
                <a:gd name="connsiteX298" fmla="*/ 2369431 w 4011346"/>
                <a:gd name="connsiteY298" fmla="*/ 310362 h 1898882"/>
                <a:gd name="connsiteX299" fmla="*/ 2379443 w 4011346"/>
                <a:gd name="connsiteY299" fmla="*/ 333722 h 1898882"/>
                <a:gd name="connsiteX300" fmla="*/ 2376106 w 4011346"/>
                <a:gd name="connsiteY300" fmla="*/ 353746 h 1898882"/>
                <a:gd name="connsiteX301" fmla="*/ 2352745 w 4011346"/>
                <a:gd name="connsiteY301" fmla="*/ 330385 h 1898882"/>
                <a:gd name="connsiteX302" fmla="*/ 2316036 w 4011346"/>
                <a:gd name="connsiteY302" fmla="*/ 337060 h 1898882"/>
                <a:gd name="connsiteX303" fmla="*/ 2272652 w 4011346"/>
                <a:gd name="connsiteY303" fmla="*/ 323711 h 1898882"/>
                <a:gd name="connsiteX304" fmla="*/ 2245954 w 4011346"/>
                <a:gd name="connsiteY304" fmla="*/ 283664 h 1898882"/>
                <a:gd name="connsiteX305" fmla="*/ 2209244 w 4011346"/>
                <a:gd name="connsiteY305" fmla="*/ 280327 h 1898882"/>
                <a:gd name="connsiteX306" fmla="*/ 2159186 w 4011346"/>
                <a:gd name="connsiteY306" fmla="*/ 270315 h 1898882"/>
                <a:gd name="connsiteX307" fmla="*/ 2132488 w 4011346"/>
                <a:gd name="connsiteY307" fmla="*/ 287001 h 1898882"/>
                <a:gd name="connsiteX308" fmla="*/ 2115802 w 4011346"/>
                <a:gd name="connsiteY308" fmla="*/ 300350 h 1898882"/>
                <a:gd name="connsiteX309" fmla="*/ 2115802 w 4011346"/>
                <a:gd name="connsiteY309" fmla="*/ 270315 h 1898882"/>
                <a:gd name="connsiteX310" fmla="*/ 2082430 w 4011346"/>
                <a:gd name="connsiteY310" fmla="*/ 266978 h 1898882"/>
                <a:gd name="connsiteX311" fmla="*/ 2045720 w 4011346"/>
                <a:gd name="connsiteY311" fmla="*/ 240280 h 1898882"/>
                <a:gd name="connsiteX312" fmla="*/ 2025697 w 4011346"/>
                <a:gd name="connsiteY312" fmla="*/ 270315 h 1898882"/>
                <a:gd name="connsiteX313" fmla="*/ 2055732 w 4011346"/>
                <a:gd name="connsiteY313" fmla="*/ 266978 h 1898882"/>
                <a:gd name="connsiteX314" fmla="*/ 2045720 w 4011346"/>
                <a:gd name="connsiteY314" fmla="*/ 293676 h 1898882"/>
                <a:gd name="connsiteX315" fmla="*/ 1988987 w 4011346"/>
                <a:gd name="connsiteY315" fmla="*/ 313699 h 1898882"/>
                <a:gd name="connsiteX316" fmla="*/ 1935592 w 4011346"/>
                <a:gd name="connsiteY316" fmla="*/ 323711 h 1898882"/>
                <a:gd name="connsiteX317" fmla="*/ 1995662 w 4011346"/>
                <a:gd name="connsiteY317" fmla="*/ 266978 h 1898882"/>
                <a:gd name="connsiteX318" fmla="*/ 2055732 w 4011346"/>
                <a:gd name="connsiteY318" fmla="*/ 196896 h 1898882"/>
                <a:gd name="connsiteX319" fmla="*/ 2055732 w 4011346"/>
                <a:gd name="connsiteY319" fmla="*/ 196896 h 1898882"/>
                <a:gd name="connsiteX320" fmla="*/ 1832138 w 4011346"/>
                <a:gd name="connsiteY320" fmla="*/ 36710 h 1898882"/>
                <a:gd name="connsiteX321" fmla="*/ 1782079 w 4011346"/>
                <a:gd name="connsiteY321" fmla="*/ 0 h 1898882"/>
                <a:gd name="connsiteX322" fmla="*/ 1768731 w 4011346"/>
                <a:gd name="connsiteY322" fmla="*/ 46722 h 1898882"/>
                <a:gd name="connsiteX323" fmla="*/ 1705322 w 4011346"/>
                <a:gd name="connsiteY323" fmla="*/ 70082 h 1898882"/>
                <a:gd name="connsiteX324" fmla="*/ 1685300 w 4011346"/>
                <a:gd name="connsiteY324" fmla="*/ 43384 h 1898882"/>
                <a:gd name="connsiteX325" fmla="*/ 1615218 w 4011346"/>
                <a:gd name="connsiteY325" fmla="*/ 46722 h 1898882"/>
                <a:gd name="connsiteX326" fmla="*/ 1638579 w 4011346"/>
                <a:gd name="connsiteY326" fmla="*/ 76757 h 1898882"/>
                <a:gd name="connsiteX327" fmla="*/ 1528449 w 4011346"/>
                <a:gd name="connsiteY327" fmla="*/ 103453 h 1898882"/>
                <a:gd name="connsiteX328" fmla="*/ 1465043 w 4011346"/>
                <a:gd name="connsiteY328" fmla="*/ 186884 h 1898882"/>
                <a:gd name="connsiteX329" fmla="*/ 1448357 w 4011346"/>
                <a:gd name="connsiteY329" fmla="*/ 213582 h 1898882"/>
                <a:gd name="connsiteX330" fmla="*/ 1481729 w 4011346"/>
                <a:gd name="connsiteY330" fmla="*/ 246955 h 1898882"/>
                <a:gd name="connsiteX331" fmla="*/ 1481729 w 4011346"/>
                <a:gd name="connsiteY331" fmla="*/ 276990 h 1898882"/>
                <a:gd name="connsiteX332" fmla="*/ 1458368 w 4011346"/>
                <a:gd name="connsiteY332" fmla="*/ 280327 h 1898882"/>
                <a:gd name="connsiteX333" fmla="*/ 1458368 w 4011346"/>
                <a:gd name="connsiteY333" fmla="*/ 260303 h 1898882"/>
                <a:gd name="connsiteX334" fmla="*/ 1418322 w 4011346"/>
                <a:gd name="connsiteY334" fmla="*/ 270315 h 1898882"/>
                <a:gd name="connsiteX335" fmla="*/ 1368263 w 4011346"/>
                <a:gd name="connsiteY335" fmla="*/ 276990 h 1898882"/>
                <a:gd name="connsiteX336" fmla="*/ 1321542 w 4011346"/>
                <a:gd name="connsiteY336" fmla="*/ 283664 h 1898882"/>
                <a:gd name="connsiteX337" fmla="*/ 1318205 w 4011346"/>
                <a:gd name="connsiteY337" fmla="*/ 370432 h 1898882"/>
                <a:gd name="connsiteX338" fmla="*/ 1358252 w 4011346"/>
                <a:gd name="connsiteY338" fmla="*/ 393793 h 1898882"/>
                <a:gd name="connsiteX339" fmla="*/ 1374938 w 4011346"/>
                <a:gd name="connsiteY339" fmla="*/ 423828 h 1898882"/>
                <a:gd name="connsiteX340" fmla="*/ 1384949 w 4011346"/>
                <a:gd name="connsiteY340" fmla="*/ 447188 h 1898882"/>
                <a:gd name="connsiteX341" fmla="*/ 1394961 w 4011346"/>
                <a:gd name="connsiteY341" fmla="*/ 497247 h 1898882"/>
                <a:gd name="connsiteX342" fmla="*/ 1384949 w 4011346"/>
                <a:gd name="connsiteY342" fmla="*/ 527282 h 1898882"/>
                <a:gd name="connsiteX343" fmla="*/ 1358252 w 4011346"/>
                <a:gd name="connsiteY343" fmla="*/ 493909 h 1898882"/>
                <a:gd name="connsiteX344" fmla="*/ 1361589 w 4011346"/>
                <a:gd name="connsiteY344" fmla="*/ 463874 h 1898882"/>
                <a:gd name="connsiteX345" fmla="*/ 1351577 w 4011346"/>
                <a:gd name="connsiteY345" fmla="*/ 423828 h 1898882"/>
                <a:gd name="connsiteX346" fmla="*/ 1328217 w 4011346"/>
                <a:gd name="connsiteY346" fmla="*/ 430502 h 1898882"/>
                <a:gd name="connsiteX347" fmla="*/ 1281495 w 4011346"/>
                <a:gd name="connsiteY347" fmla="*/ 393793 h 1898882"/>
                <a:gd name="connsiteX348" fmla="*/ 1241449 w 4011346"/>
                <a:gd name="connsiteY348" fmla="*/ 390455 h 1898882"/>
                <a:gd name="connsiteX349" fmla="*/ 1241449 w 4011346"/>
                <a:gd name="connsiteY349" fmla="*/ 437176 h 1898882"/>
                <a:gd name="connsiteX350" fmla="*/ 1201402 w 4011346"/>
                <a:gd name="connsiteY350" fmla="*/ 417153 h 1898882"/>
                <a:gd name="connsiteX351" fmla="*/ 1228100 w 4011346"/>
                <a:gd name="connsiteY351" fmla="*/ 467211 h 1898882"/>
                <a:gd name="connsiteX352" fmla="*/ 1258135 w 4011346"/>
                <a:gd name="connsiteY352" fmla="*/ 477223 h 1898882"/>
                <a:gd name="connsiteX353" fmla="*/ 1258135 w 4011346"/>
                <a:gd name="connsiteY353" fmla="*/ 497247 h 1898882"/>
                <a:gd name="connsiteX354" fmla="*/ 1198065 w 4011346"/>
                <a:gd name="connsiteY354" fmla="*/ 473886 h 1898882"/>
                <a:gd name="connsiteX355" fmla="*/ 1181379 w 4011346"/>
                <a:gd name="connsiteY355" fmla="*/ 473886 h 1898882"/>
                <a:gd name="connsiteX356" fmla="*/ 1178041 w 4011346"/>
                <a:gd name="connsiteY356" fmla="*/ 430502 h 1898882"/>
                <a:gd name="connsiteX357" fmla="*/ 1171367 w 4011346"/>
                <a:gd name="connsiteY357" fmla="*/ 343734 h 1898882"/>
                <a:gd name="connsiteX358" fmla="*/ 1161355 w 4011346"/>
                <a:gd name="connsiteY358" fmla="*/ 413816 h 1898882"/>
                <a:gd name="connsiteX359" fmla="*/ 1137995 w 4011346"/>
                <a:gd name="connsiteY359" fmla="*/ 443851 h 1898882"/>
                <a:gd name="connsiteX360" fmla="*/ 1158018 w 4011346"/>
                <a:gd name="connsiteY360" fmla="*/ 490572 h 1898882"/>
                <a:gd name="connsiteX361" fmla="*/ 1158018 w 4011346"/>
                <a:gd name="connsiteY361" fmla="*/ 523944 h 1898882"/>
                <a:gd name="connsiteX362" fmla="*/ 1141332 w 4011346"/>
                <a:gd name="connsiteY362" fmla="*/ 574003 h 1898882"/>
                <a:gd name="connsiteX363" fmla="*/ 1154681 w 4011346"/>
                <a:gd name="connsiteY363" fmla="*/ 607375 h 1898882"/>
                <a:gd name="connsiteX364" fmla="*/ 1184716 w 4011346"/>
                <a:gd name="connsiteY364" fmla="*/ 614049 h 1898882"/>
                <a:gd name="connsiteX365" fmla="*/ 1221425 w 4011346"/>
                <a:gd name="connsiteY365" fmla="*/ 620724 h 1898882"/>
                <a:gd name="connsiteX366" fmla="*/ 1241449 w 4011346"/>
                <a:gd name="connsiteY366" fmla="*/ 644084 h 1898882"/>
                <a:gd name="connsiteX367" fmla="*/ 1258135 w 4011346"/>
                <a:gd name="connsiteY367" fmla="*/ 687468 h 1898882"/>
                <a:gd name="connsiteX368" fmla="*/ 1258135 w 4011346"/>
                <a:gd name="connsiteY368" fmla="*/ 687468 h 1898882"/>
                <a:gd name="connsiteX369" fmla="*/ 1254798 w 4011346"/>
                <a:gd name="connsiteY369" fmla="*/ 720841 h 1898882"/>
                <a:gd name="connsiteX370" fmla="*/ 1274821 w 4011346"/>
                <a:gd name="connsiteY370" fmla="*/ 740864 h 1898882"/>
                <a:gd name="connsiteX371" fmla="*/ 1244786 w 4011346"/>
                <a:gd name="connsiteY371" fmla="*/ 747539 h 1898882"/>
                <a:gd name="connsiteX372" fmla="*/ 1224763 w 4011346"/>
                <a:gd name="connsiteY372" fmla="*/ 707492 h 1898882"/>
                <a:gd name="connsiteX373" fmla="*/ 1224763 w 4011346"/>
                <a:gd name="connsiteY373" fmla="*/ 667445 h 1898882"/>
                <a:gd name="connsiteX374" fmla="*/ 1194727 w 4011346"/>
                <a:gd name="connsiteY374" fmla="*/ 630736 h 1898882"/>
                <a:gd name="connsiteX375" fmla="*/ 1164692 w 4011346"/>
                <a:gd name="connsiteY375" fmla="*/ 674120 h 1898882"/>
                <a:gd name="connsiteX376" fmla="*/ 1178041 w 4011346"/>
                <a:gd name="connsiteY376" fmla="*/ 717503 h 1898882"/>
                <a:gd name="connsiteX377" fmla="*/ 1137995 w 4011346"/>
                <a:gd name="connsiteY377" fmla="*/ 774236 h 1898882"/>
                <a:gd name="connsiteX378" fmla="*/ 1097948 w 4011346"/>
                <a:gd name="connsiteY378" fmla="*/ 830969 h 1898882"/>
                <a:gd name="connsiteX379" fmla="*/ 1007843 w 4011346"/>
                <a:gd name="connsiteY379" fmla="*/ 794260 h 1898882"/>
                <a:gd name="connsiteX380" fmla="*/ 1074587 w 4011346"/>
                <a:gd name="connsiteY380" fmla="*/ 790922 h 1898882"/>
                <a:gd name="connsiteX381" fmla="*/ 1107960 w 4011346"/>
                <a:gd name="connsiteY381" fmla="*/ 727515 h 1898882"/>
                <a:gd name="connsiteX382" fmla="*/ 1121309 w 4011346"/>
                <a:gd name="connsiteY382" fmla="*/ 684131 h 1898882"/>
                <a:gd name="connsiteX383" fmla="*/ 1127983 w 4011346"/>
                <a:gd name="connsiteY383" fmla="*/ 650759 h 1898882"/>
                <a:gd name="connsiteX384" fmla="*/ 1117971 w 4011346"/>
                <a:gd name="connsiteY384" fmla="*/ 634073 h 1898882"/>
                <a:gd name="connsiteX385" fmla="*/ 1114634 w 4011346"/>
                <a:gd name="connsiteY385" fmla="*/ 584014 h 1898882"/>
                <a:gd name="connsiteX386" fmla="*/ 1104622 w 4011346"/>
                <a:gd name="connsiteY386" fmla="*/ 503921 h 1898882"/>
                <a:gd name="connsiteX387" fmla="*/ 1101285 w 4011346"/>
                <a:gd name="connsiteY387" fmla="*/ 443851 h 1898882"/>
                <a:gd name="connsiteX388" fmla="*/ 1124646 w 4011346"/>
                <a:gd name="connsiteY388" fmla="*/ 350409 h 1898882"/>
                <a:gd name="connsiteX389" fmla="*/ 1031203 w 4011346"/>
                <a:gd name="connsiteY389" fmla="*/ 340397 h 1898882"/>
                <a:gd name="connsiteX390" fmla="*/ 1014517 w 4011346"/>
                <a:gd name="connsiteY390" fmla="*/ 397130 h 1898882"/>
                <a:gd name="connsiteX391" fmla="*/ 1024529 w 4011346"/>
                <a:gd name="connsiteY391" fmla="*/ 443851 h 1898882"/>
                <a:gd name="connsiteX392" fmla="*/ 981145 w 4011346"/>
                <a:gd name="connsiteY392" fmla="*/ 497247 h 1898882"/>
                <a:gd name="connsiteX393" fmla="*/ 991157 w 4011346"/>
                <a:gd name="connsiteY393" fmla="*/ 533956 h 1898882"/>
                <a:gd name="connsiteX394" fmla="*/ 981145 w 4011346"/>
                <a:gd name="connsiteY394" fmla="*/ 580677 h 1898882"/>
                <a:gd name="connsiteX395" fmla="*/ 1001168 w 4011346"/>
                <a:gd name="connsiteY395" fmla="*/ 604038 h 1898882"/>
                <a:gd name="connsiteX396" fmla="*/ 1017854 w 4011346"/>
                <a:gd name="connsiteY396" fmla="*/ 650759 h 1898882"/>
                <a:gd name="connsiteX397" fmla="*/ 1047890 w 4011346"/>
                <a:gd name="connsiteY397" fmla="*/ 637410 h 1898882"/>
                <a:gd name="connsiteX398" fmla="*/ 1014517 w 4011346"/>
                <a:gd name="connsiteY398" fmla="*/ 690806 h 1898882"/>
                <a:gd name="connsiteX399" fmla="*/ 957784 w 4011346"/>
                <a:gd name="connsiteY399" fmla="*/ 637410 h 1898882"/>
                <a:gd name="connsiteX400" fmla="*/ 884365 w 4011346"/>
                <a:gd name="connsiteY400" fmla="*/ 600701 h 1898882"/>
                <a:gd name="connsiteX401" fmla="*/ 824295 w 4011346"/>
                <a:gd name="connsiteY401" fmla="*/ 577340 h 1898882"/>
                <a:gd name="connsiteX402" fmla="*/ 810946 w 4011346"/>
                <a:gd name="connsiteY402" fmla="*/ 614049 h 1898882"/>
                <a:gd name="connsiteX403" fmla="*/ 827633 w 4011346"/>
                <a:gd name="connsiteY403" fmla="*/ 650759 h 1898882"/>
                <a:gd name="connsiteX404" fmla="*/ 814284 w 4011346"/>
                <a:gd name="connsiteY404" fmla="*/ 674120 h 1898882"/>
                <a:gd name="connsiteX405" fmla="*/ 800935 w 4011346"/>
                <a:gd name="connsiteY405" fmla="*/ 690806 h 1898882"/>
                <a:gd name="connsiteX406" fmla="*/ 770900 w 4011346"/>
                <a:gd name="connsiteY406" fmla="*/ 634073 h 1898882"/>
                <a:gd name="connsiteX407" fmla="*/ 744202 w 4011346"/>
                <a:gd name="connsiteY407" fmla="*/ 670782 h 1898882"/>
                <a:gd name="connsiteX408" fmla="*/ 707492 w 4011346"/>
                <a:gd name="connsiteY408" fmla="*/ 664108 h 1898882"/>
                <a:gd name="connsiteX409" fmla="*/ 654097 w 4011346"/>
                <a:gd name="connsiteY409" fmla="*/ 700817 h 1898882"/>
                <a:gd name="connsiteX410" fmla="*/ 644085 w 4011346"/>
                <a:gd name="connsiteY410" fmla="*/ 677457 h 1898882"/>
                <a:gd name="connsiteX411" fmla="*/ 654097 w 4011346"/>
                <a:gd name="connsiteY411" fmla="*/ 640747 h 1898882"/>
                <a:gd name="connsiteX412" fmla="*/ 614050 w 4011346"/>
                <a:gd name="connsiteY412" fmla="*/ 677457 h 1898882"/>
                <a:gd name="connsiteX413" fmla="*/ 594027 w 4011346"/>
                <a:gd name="connsiteY413" fmla="*/ 677457 h 1898882"/>
                <a:gd name="connsiteX414" fmla="*/ 533957 w 4011346"/>
                <a:gd name="connsiteY414" fmla="*/ 710829 h 1898882"/>
                <a:gd name="connsiteX415" fmla="*/ 510596 w 4011346"/>
                <a:gd name="connsiteY415" fmla="*/ 734190 h 1898882"/>
                <a:gd name="connsiteX416" fmla="*/ 500584 w 4011346"/>
                <a:gd name="connsiteY416" fmla="*/ 780911 h 1898882"/>
                <a:gd name="connsiteX417" fmla="*/ 450526 w 4011346"/>
                <a:gd name="connsiteY417" fmla="*/ 767562 h 1898882"/>
                <a:gd name="connsiteX418" fmla="*/ 433840 w 4011346"/>
                <a:gd name="connsiteY418" fmla="*/ 730852 h 1898882"/>
                <a:gd name="connsiteX419" fmla="*/ 467212 w 4011346"/>
                <a:gd name="connsiteY419" fmla="*/ 700817 h 1898882"/>
                <a:gd name="connsiteX420" fmla="*/ 453863 w 4011346"/>
                <a:gd name="connsiteY420" fmla="*/ 677457 h 1898882"/>
                <a:gd name="connsiteX421" fmla="*/ 390456 w 4011346"/>
                <a:gd name="connsiteY421" fmla="*/ 647422 h 1898882"/>
                <a:gd name="connsiteX422" fmla="*/ 417154 w 4011346"/>
                <a:gd name="connsiteY422" fmla="*/ 697480 h 1898882"/>
                <a:gd name="connsiteX423" fmla="*/ 407142 w 4011346"/>
                <a:gd name="connsiteY423" fmla="*/ 740864 h 1898882"/>
                <a:gd name="connsiteX424" fmla="*/ 413817 w 4011346"/>
                <a:gd name="connsiteY424" fmla="*/ 777574 h 1898882"/>
                <a:gd name="connsiteX425" fmla="*/ 427165 w 4011346"/>
                <a:gd name="connsiteY425" fmla="*/ 800934 h 1898882"/>
                <a:gd name="connsiteX426" fmla="*/ 413817 w 4011346"/>
                <a:gd name="connsiteY426" fmla="*/ 830969 h 1898882"/>
                <a:gd name="connsiteX427" fmla="*/ 390456 w 4011346"/>
                <a:gd name="connsiteY427" fmla="*/ 807609 h 1898882"/>
                <a:gd name="connsiteX428" fmla="*/ 360421 w 4011346"/>
                <a:gd name="connsiteY428" fmla="*/ 804271 h 1898882"/>
                <a:gd name="connsiteX429" fmla="*/ 333723 w 4011346"/>
                <a:gd name="connsiteY429" fmla="*/ 844318 h 1898882"/>
                <a:gd name="connsiteX430" fmla="*/ 307025 w 4011346"/>
                <a:gd name="connsiteY430" fmla="*/ 864341 h 1898882"/>
                <a:gd name="connsiteX431" fmla="*/ 320374 w 4011346"/>
                <a:gd name="connsiteY431" fmla="*/ 891039 h 1898882"/>
                <a:gd name="connsiteX432" fmla="*/ 303688 w 4011346"/>
                <a:gd name="connsiteY432" fmla="*/ 914400 h 1898882"/>
                <a:gd name="connsiteX433" fmla="*/ 233606 w 4011346"/>
                <a:gd name="connsiteY433" fmla="*/ 877690 h 1898882"/>
                <a:gd name="connsiteX434" fmla="*/ 243618 w 4011346"/>
                <a:gd name="connsiteY434" fmla="*/ 927749 h 1898882"/>
                <a:gd name="connsiteX435" fmla="*/ 263641 w 4011346"/>
                <a:gd name="connsiteY435" fmla="*/ 947772 h 1898882"/>
                <a:gd name="connsiteX436" fmla="*/ 250292 w 4011346"/>
                <a:gd name="connsiteY436" fmla="*/ 961121 h 1898882"/>
                <a:gd name="connsiteX437" fmla="*/ 193560 w 4011346"/>
                <a:gd name="connsiteY437" fmla="*/ 924411 h 1898882"/>
                <a:gd name="connsiteX438" fmla="*/ 170199 w 4011346"/>
                <a:gd name="connsiteY438" fmla="*/ 884365 h 1898882"/>
                <a:gd name="connsiteX439" fmla="*/ 170199 w 4011346"/>
                <a:gd name="connsiteY439" fmla="*/ 837644 h 1898882"/>
                <a:gd name="connsiteX440" fmla="*/ 133490 w 4011346"/>
                <a:gd name="connsiteY440" fmla="*/ 760887 h 1898882"/>
                <a:gd name="connsiteX441" fmla="*/ 196897 w 4011346"/>
                <a:gd name="connsiteY441" fmla="*/ 790922 h 1898882"/>
                <a:gd name="connsiteX442" fmla="*/ 256967 w 4011346"/>
                <a:gd name="connsiteY442" fmla="*/ 820957 h 1898882"/>
                <a:gd name="connsiteX443" fmla="*/ 293676 w 4011346"/>
                <a:gd name="connsiteY443" fmla="*/ 824295 h 1898882"/>
                <a:gd name="connsiteX444" fmla="*/ 327049 w 4011346"/>
                <a:gd name="connsiteY444" fmla="*/ 794260 h 1898882"/>
                <a:gd name="connsiteX445" fmla="*/ 343735 w 4011346"/>
                <a:gd name="connsiteY445" fmla="*/ 757550 h 1898882"/>
                <a:gd name="connsiteX446" fmla="*/ 333723 w 4011346"/>
                <a:gd name="connsiteY446" fmla="*/ 707492 h 1898882"/>
                <a:gd name="connsiteX447" fmla="*/ 290339 w 4011346"/>
                <a:gd name="connsiteY447" fmla="*/ 687468 h 1898882"/>
                <a:gd name="connsiteX448" fmla="*/ 236944 w 4011346"/>
                <a:gd name="connsiteY448" fmla="*/ 640747 h 1898882"/>
                <a:gd name="connsiteX449" fmla="*/ 133490 w 4011346"/>
                <a:gd name="connsiteY449" fmla="*/ 584014 h 1898882"/>
                <a:gd name="connsiteX0" fmla="*/ 133490 w 4011346"/>
                <a:gd name="connsiteY0" fmla="*/ 584014 h 1898882"/>
                <a:gd name="connsiteX1" fmla="*/ 46722 w 4011346"/>
                <a:gd name="connsiteY1" fmla="*/ 614049 h 1898882"/>
                <a:gd name="connsiteX2" fmla="*/ 33373 w 4011346"/>
                <a:gd name="connsiteY2" fmla="*/ 644084 h 1898882"/>
                <a:gd name="connsiteX3" fmla="*/ 43384 w 4011346"/>
                <a:gd name="connsiteY3" fmla="*/ 674120 h 1898882"/>
                <a:gd name="connsiteX4" fmla="*/ 60071 w 4011346"/>
                <a:gd name="connsiteY4" fmla="*/ 700817 h 1898882"/>
                <a:gd name="connsiteX5" fmla="*/ 73419 w 4011346"/>
                <a:gd name="connsiteY5" fmla="*/ 730852 h 1898882"/>
                <a:gd name="connsiteX6" fmla="*/ 56733 w 4011346"/>
                <a:gd name="connsiteY6" fmla="*/ 754213 h 1898882"/>
                <a:gd name="connsiteX7" fmla="*/ 76757 w 4011346"/>
                <a:gd name="connsiteY7" fmla="*/ 834306 h 1898882"/>
                <a:gd name="connsiteX8" fmla="*/ 66745 w 4011346"/>
                <a:gd name="connsiteY8" fmla="*/ 850993 h 1898882"/>
                <a:gd name="connsiteX9" fmla="*/ 70082 w 4011346"/>
                <a:gd name="connsiteY9" fmla="*/ 877690 h 1898882"/>
                <a:gd name="connsiteX10" fmla="*/ 70082 w 4011346"/>
                <a:gd name="connsiteY10" fmla="*/ 917737 h 1898882"/>
                <a:gd name="connsiteX11" fmla="*/ 80094 w 4011346"/>
                <a:gd name="connsiteY11" fmla="*/ 937760 h 1898882"/>
                <a:gd name="connsiteX12" fmla="*/ 76757 w 4011346"/>
                <a:gd name="connsiteY12" fmla="*/ 961121 h 1898882"/>
                <a:gd name="connsiteX13" fmla="*/ 106792 w 4011346"/>
                <a:gd name="connsiteY13" fmla="*/ 994493 h 1898882"/>
                <a:gd name="connsiteX14" fmla="*/ 106792 w 4011346"/>
                <a:gd name="connsiteY14" fmla="*/ 1024528 h 1898882"/>
                <a:gd name="connsiteX15" fmla="*/ 13349 w 4011346"/>
                <a:gd name="connsiteY15" fmla="*/ 1114633 h 1898882"/>
                <a:gd name="connsiteX16" fmla="*/ 33373 w 4011346"/>
                <a:gd name="connsiteY16" fmla="*/ 1148006 h 1898882"/>
                <a:gd name="connsiteX17" fmla="*/ 33373 w 4011346"/>
                <a:gd name="connsiteY17" fmla="*/ 1148006 h 1898882"/>
                <a:gd name="connsiteX18" fmla="*/ 16687 w 4011346"/>
                <a:gd name="connsiteY18" fmla="*/ 1178041 h 1898882"/>
                <a:gd name="connsiteX19" fmla="*/ 3338 w 4011346"/>
                <a:gd name="connsiteY19" fmla="*/ 1208076 h 1898882"/>
                <a:gd name="connsiteX20" fmla="*/ 0 w 4011346"/>
                <a:gd name="connsiteY20" fmla="*/ 1268146 h 1898882"/>
                <a:gd name="connsiteX21" fmla="*/ 16687 w 4011346"/>
                <a:gd name="connsiteY21" fmla="*/ 1311530 h 1898882"/>
                <a:gd name="connsiteX22" fmla="*/ 20024 w 4011346"/>
                <a:gd name="connsiteY22" fmla="*/ 1344902 h 1898882"/>
                <a:gd name="connsiteX23" fmla="*/ 56733 w 4011346"/>
                <a:gd name="connsiteY23" fmla="*/ 1354914 h 1898882"/>
                <a:gd name="connsiteX24" fmla="*/ 116803 w 4011346"/>
                <a:gd name="connsiteY24" fmla="*/ 1441682 h 1898882"/>
                <a:gd name="connsiteX25" fmla="*/ 96780 w 4011346"/>
                <a:gd name="connsiteY25" fmla="*/ 1465042 h 1898882"/>
                <a:gd name="connsiteX26" fmla="*/ 93443 w 4011346"/>
                <a:gd name="connsiteY26" fmla="*/ 1495077 h 1898882"/>
                <a:gd name="connsiteX27" fmla="*/ 120141 w 4011346"/>
                <a:gd name="connsiteY27" fmla="*/ 1498414 h 1898882"/>
                <a:gd name="connsiteX28" fmla="*/ 160187 w 4011346"/>
                <a:gd name="connsiteY28" fmla="*/ 1511763 h 1898882"/>
                <a:gd name="connsiteX29" fmla="*/ 186885 w 4011346"/>
                <a:gd name="connsiteY29" fmla="*/ 1525112 h 1898882"/>
                <a:gd name="connsiteX30" fmla="*/ 213583 w 4011346"/>
                <a:gd name="connsiteY30" fmla="*/ 1555147 h 1898882"/>
                <a:gd name="connsiteX31" fmla="*/ 243618 w 4011346"/>
                <a:gd name="connsiteY31" fmla="*/ 1558484 h 1898882"/>
                <a:gd name="connsiteX32" fmla="*/ 287002 w 4011346"/>
                <a:gd name="connsiteY32" fmla="*/ 1588520 h 1898882"/>
                <a:gd name="connsiteX33" fmla="*/ 310363 w 4011346"/>
                <a:gd name="connsiteY33" fmla="*/ 1598531 h 1898882"/>
                <a:gd name="connsiteX34" fmla="*/ 310363 w 4011346"/>
                <a:gd name="connsiteY34" fmla="*/ 1635241 h 1898882"/>
                <a:gd name="connsiteX35" fmla="*/ 270316 w 4011346"/>
                <a:gd name="connsiteY35" fmla="*/ 1675287 h 1898882"/>
                <a:gd name="connsiteX36" fmla="*/ 280327 w 4011346"/>
                <a:gd name="connsiteY36" fmla="*/ 1698648 h 1898882"/>
                <a:gd name="connsiteX37" fmla="*/ 273653 w 4011346"/>
                <a:gd name="connsiteY37" fmla="*/ 1718671 h 1898882"/>
                <a:gd name="connsiteX38" fmla="*/ 266979 w 4011346"/>
                <a:gd name="connsiteY38" fmla="*/ 1735357 h 1898882"/>
                <a:gd name="connsiteX39" fmla="*/ 240281 w 4011346"/>
                <a:gd name="connsiteY39" fmla="*/ 1775404 h 1898882"/>
                <a:gd name="connsiteX40" fmla="*/ 307025 w 4011346"/>
                <a:gd name="connsiteY40" fmla="*/ 1812114 h 1898882"/>
                <a:gd name="connsiteX41" fmla="*/ 337060 w 4011346"/>
                <a:gd name="connsiteY41" fmla="*/ 1818788 h 1898882"/>
                <a:gd name="connsiteX42" fmla="*/ 360421 w 4011346"/>
                <a:gd name="connsiteY42" fmla="*/ 1825463 h 1898882"/>
                <a:gd name="connsiteX43" fmla="*/ 380444 w 4011346"/>
                <a:gd name="connsiteY43" fmla="*/ 1832137 h 1898882"/>
                <a:gd name="connsiteX44" fmla="*/ 407142 w 4011346"/>
                <a:gd name="connsiteY44" fmla="*/ 1852160 h 1898882"/>
                <a:gd name="connsiteX45" fmla="*/ 437177 w 4011346"/>
                <a:gd name="connsiteY45" fmla="*/ 1848823 h 1898882"/>
                <a:gd name="connsiteX46" fmla="*/ 507259 w 4011346"/>
                <a:gd name="connsiteY46" fmla="*/ 1898882 h 1898882"/>
                <a:gd name="connsiteX47" fmla="*/ 517271 w 4011346"/>
                <a:gd name="connsiteY47" fmla="*/ 1885533 h 1898882"/>
                <a:gd name="connsiteX48" fmla="*/ 507259 w 4011346"/>
                <a:gd name="connsiteY48" fmla="*/ 1845486 h 1898882"/>
                <a:gd name="connsiteX49" fmla="*/ 500584 w 4011346"/>
                <a:gd name="connsiteY49" fmla="*/ 1812114 h 1898882"/>
                <a:gd name="connsiteX50" fmla="*/ 483898 w 4011346"/>
                <a:gd name="connsiteY50" fmla="*/ 1768730 h 1898882"/>
                <a:gd name="connsiteX51" fmla="*/ 513933 w 4011346"/>
                <a:gd name="connsiteY51" fmla="*/ 1748706 h 1898882"/>
                <a:gd name="connsiteX52" fmla="*/ 547306 w 4011346"/>
                <a:gd name="connsiteY52" fmla="*/ 1725346 h 1898882"/>
                <a:gd name="connsiteX53" fmla="*/ 527282 w 4011346"/>
                <a:gd name="connsiteY53" fmla="*/ 1708660 h 1898882"/>
                <a:gd name="connsiteX54" fmla="*/ 517271 w 4011346"/>
                <a:gd name="connsiteY54" fmla="*/ 1675287 h 1898882"/>
                <a:gd name="connsiteX55" fmla="*/ 480561 w 4011346"/>
                <a:gd name="connsiteY55" fmla="*/ 1658601 h 1898882"/>
                <a:gd name="connsiteX56" fmla="*/ 470549 w 4011346"/>
                <a:gd name="connsiteY56" fmla="*/ 1638578 h 1898882"/>
                <a:gd name="connsiteX57" fmla="*/ 480561 w 4011346"/>
                <a:gd name="connsiteY57" fmla="*/ 1608543 h 1898882"/>
                <a:gd name="connsiteX58" fmla="*/ 490573 w 4011346"/>
                <a:gd name="connsiteY58" fmla="*/ 1568496 h 1898882"/>
                <a:gd name="connsiteX59" fmla="*/ 513933 w 4011346"/>
                <a:gd name="connsiteY59" fmla="*/ 1588520 h 1898882"/>
                <a:gd name="connsiteX60" fmla="*/ 520608 w 4011346"/>
                <a:gd name="connsiteY60" fmla="*/ 1571833 h 1898882"/>
                <a:gd name="connsiteX61" fmla="*/ 543968 w 4011346"/>
                <a:gd name="connsiteY61" fmla="*/ 1535124 h 1898882"/>
                <a:gd name="connsiteX62" fmla="*/ 574003 w 4011346"/>
                <a:gd name="connsiteY62" fmla="*/ 1518438 h 1898882"/>
                <a:gd name="connsiteX63" fmla="*/ 590690 w 4011346"/>
                <a:gd name="connsiteY63" fmla="*/ 1531787 h 1898882"/>
                <a:gd name="connsiteX64" fmla="*/ 610713 w 4011346"/>
                <a:gd name="connsiteY64" fmla="*/ 1505089 h 1898882"/>
                <a:gd name="connsiteX65" fmla="*/ 630736 w 4011346"/>
                <a:gd name="connsiteY65" fmla="*/ 1531787 h 1898882"/>
                <a:gd name="connsiteX66" fmla="*/ 657434 w 4011346"/>
                <a:gd name="connsiteY66" fmla="*/ 1555147 h 1898882"/>
                <a:gd name="connsiteX67" fmla="*/ 674120 w 4011346"/>
                <a:gd name="connsiteY67" fmla="*/ 1561822 h 1898882"/>
                <a:gd name="connsiteX68" fmla="*/ 697481 w 4011346"/>
                <a:gd name="connsiteY68" fmla="*/ 1561822 h 1898882"/>
                <a:gd name="connsiteX69" fmla="*/ 717504 w 4011346"/>
                <a:gd name="connsiteY69" fmla="*/ 1548473 h 1898882"/>
                <a:gd name="connsiteX70" fmla="*/ 744202 w 4011346"/>
                <a:gd name="connsiteY70" fmla="*/ 1548473 h 1898882"/>
                <a:gd name="connsiteX71" fmla="*/ 760888 w 4011346"/>
                <a:gd name="connsiteY71" fmla="*/ 1545136 h 1898882"/>
                <a:gd name="connsiteX72" fmla="*/ 790923 w 4011346"/>
                <a:gd name="connsiteY72" fmla="*/ 1578508 h 1898882"/>
                <a:gd name="connsiteX73" fmla="*/ 797598 w 4011346"/>
                <a:gd name="connsiteY73" fmla="*/ 1551810 h 1898882"/>
                <a:gd name="connsiteX74" fmla="*/ 817621 w 4011346"/>
                <a:gd name="connsiteY74" fmla="*/ 1568496 h 1898882"/>
                <a:gd name="connsiteX75" fmla="*/ 837644 w 4011346"/>
                <a:gd name="connsiteY75" fmla="*/ 1545136 h 1898882"/>
                <a:gd name="connsiteX76" fmla="*/ 827633 w 4011346"/>
                <a:gd name="connsiteY76" fmla="*/ 1525112 h 1898882"/>
                <a:gd name="connsiteX77" fmla="*/ 810946 w 4011346"/>
                <a:gd name="connsiteY77" fmla="*/ 1511763 h 1898882"/>
                <a:gd name="connsiteX78" fmla="*/ 810946 w 4011346"/>
                <a:gd name="connsiteY78" fmla="*/ 1485066 h 1898882"/>
                <a:gd name="connsiteX79" fmla="*/ 810946 w 4011346"/>
                <a:gd name="connsiteY79" fmla="*/ 1471717 h 1898882"/>
                <a:gd name="connsiteX80" fmla="*/ 830970 w 4011346"/>
                <a:gd name="connsiteY80" fmla="*/ 1468379 h 1898882"/>
                <a:gd name="connsiteX81" fmla="*/ 840981 w 4011346"/>
                <a:gd name="connsiteY81" fmla="*/ 1465042 h 1898882"/>
                <a:gd name="connsiteX82" fmla="*/ 820958 w 4011346"/>
                <a:gd name="connsiteY82" fmla="*/ 1428333 h 1898882"/>
                <a:gd name="connsiteX83" fmla="*/ 854330 w 4011346"/>
                <a:gd name="connsiteY83" fmla="*/ 1421658 h 1898882"/>
                <a:gd name="connsiteX84" fmla="*/ 891040 w 4011346"/>
                <a:gd name="connsiteY84" fmla="*/ 1428333 h 1898882"/>
                <a:gd name="connsiteX85" fmla="*/ 964459 w 4011346"/>
                <a:gd name="connsiteY85" fmla="*/ 1384949 h 1898882"/>
                <a:gd name="connsiteX86" fmla="*/ 1001168 w 4011346"/>
                <a:gd name="connsiteY86" fmla="*/ 1384949 h 1898882"/>
                <a:gd name="connsiteX87" fmla="*/ 1027866 w 4011346"/>
                <a:gd name="connsiteY87" fmla="*/ 1361588 h 1898882"/>
                <a:gd name="connsiteX88" fmla="*/ 1047890 w 4011346"/>
                <a:gd name="connsiteY88" fmla="*/ 1371600 h 1898882"/>
                <a:gd name="connsiteX89" fmla="*/ 1067913 w 4011346"/>
                <a:gd name="connsiteY89" fmla="*/ 1381611 h 1898882"/>
                <a:gd name="connsiteX90" fmla="*/ 1087936 w 4011346"/>
                <a:gd name="connsiteY90" fmla="*/ 1408309 h 1898882"/>
                <a:gd name="connsiteX91" fmla="*/ 1074587 w 4011346"/>
                <a:gd name="connsiteY91" fmla="*/ 1421658 h 1898882"/>
                <a:gd name="connsiteX92" fmla="*/ 1104622 w 4011346"/>
                <a:gd name="connsiteY92" fmla="*/ 1421658 h 1898882"/>
                <a:gd name="connsiteX93" fmla="*/ 1107960 w 4011346"/>
                <a:gd name="connsiteY93" fmla="*/ 1438344 h 1898882"/>
                <a:gd name="connsiteX94" fmla="*/ 1121309 w 4011346"/>
                <a:gd name="connsiteY94" fmla="*/ 1421658 h 1898882"/>
                <a:gd name="connsiteX95" fmla="*/ 1134657 w 4011346"/>
                <a:gd name="connsiteY95" fmla="*/ 1435007 h 1898882"/>
                <a:gd name="connsiteX96" fmla="*/ 1134657 w 4011346"/>
                <a:gd name="connsiteY96" fmla="*/ 1455030 h 1898882"/>
                <a:gd name="connsiteX97" fmla="*/ 1148006 w 4011346"/>
                <a:gd name="connsiteY97" fmla="*/ 1451693 h 1898882"/>
                <a:gd name="connsiteX98" fmla="*/ 1208076 w 4011346"/>
                <a:gd name="connsiteY98" fmla="*/ 1404972 h 1898882"/>
                <a:gd name="connsiteX99" fmla="*/ 1211414 w 4011346"/>
                <a:gd name="connsiteY99" fmla="*/ 1424995 h 1898882"/>
                <a:gd name="connsiteX100" fmla="*/ 1244786 w 4011346"/>
                <a:gd name="connsiteY100" fmla="*/ 1445019 h 1898882"/>
                <a:gd name="connsiteX101" fmla="*/ 1264809 w 4011346"/>
                <a:gd name="connsiteY101" fmla="*/ 1475054 h 1898882"/>
                <a:gd name="connsiteX102" fmla="*/ 1298181 w 4011346"/>
                <a:gd name="connsiteY102" fmla="*/ 1581845 h 1898882"/>
                <a:gd name="connsiteX103" fmla="*/ 1308193 w 4011346"/>
                <a:gd name="connsiteY103" fmla="*/ 1538461 h 1898882"/>
                <a:gd name="connsiteX104" fmla="*/ 1344903 w 4011346"/>
                <a:gd name="connsiteY104" fmla="*/ 1558484 h 1898882"/>
                <a:gd name="connsiteX105" fmla="*/ 1388287 w 4011346"/>
                <a:gd name="connsiteY105" fmla="*/ 1558484 h 1898882"/>
                <a:gd name="connsiteX106" fmla="*/ 1394961 w 4011346"/>
                <a:gd name="connsiteY106" fmla="*/ 1581845 h 1898882"/>
                <a:gd name="connsiteX107" fmla="*/ 1435008 w 4011346"/>
                <a:gd name="connsiteY107" fmla="*/ 1605206 h 1898882"/>
                <a:gd name="connsiteX108" fmla="*/ 1465043 w 4011346"/>
                <a:gd name="connsiteY108" fmla="*/ 1605206 h 1898882"/>
                <a:gd name="connsiteX109" fmla="*/ 1491741 w 4011346"/>
                <a:gd name="connsiteY109" fmla="*/ 1618555 h 1898882"/>
                <a:gd name="connsiteX110" fmla="*/ 1535125 w 4011346"/>
                <a:gd name="connsiteY110" fmla="*/ 1575171 h 1898882"/>
                <a:gd name="connsiteX111" fmla="*/ 1571834 w 4011346"/>
                <a:gd name="connsiteY111" fmla="*/ 1555147 h 1898882"/>
                <a:gd name="connsiteX112" fmla="*/ 1608544 w 4011346"/>
                <a:gd name="connsiteY112" fmla="*/ 1558484 h 1898882"/>
                <a:gd name="connsiteX113" fmla="*/ 1655265 w 4011346"/>
                <a:gd name="connsiteY113" fmla="*/ 1571833 h 1898882"/>
                <a:gd name="connsiteX114" fmla="*/ 1681963 w 4011346"/>
                <a:gd name="connsiteY114" fmla="*/ 1588520 h 1898882"/>
                <a:gd name="connsiteX115" fmla="*/ 1735358 w 4011346"/>
                <a:gd name="connsiteY115" fmla="*/ 1581845 h 1898882"/>
                <a:gd name="connsiteX116" fmla="*/ 1745370 w 4011346"/>
                <a:gd name="connsiteY116" fmla="*/ 1561822 h 1898882"/>
                <a:gd name="connsiteX117" fmla="*/ 1738695 w 4011346"/>
                <a:gd name="connsiteY117" fmla="*/ 1541798 h 1898882"/>
                <a:gd name="connsiteX118" fmla="*/ 1765393 w 4011346"/>
                <a:gd name="connsiteY118" fmla="*/ 1515101 h 1898882"/>
                <a:gd name="connsiteX119" fmla="*/ 1778742 w 4011346"/>
                <a:gd name="connsiteY119" fmla="*/ 1511763 h 1898882"/>
                <a:gd name="connsiteX120" fmla="*/ 1812114 w 4011346"/>
                <a:gd name="connsiteY120" fmla="*/ 1528449 h 1898882"/>
                <a:gd name="connsiteX121" fmla="*/ 1852161 w 4011346"/>
                <a:gd name="connsiteY121" fmla="*/ 1541798 h 1898882"/>
                <a:gd name="connsiteX122" fmla="*/ 1858836 w 4011346"/>
                <a:gd name="connsiteY122" fmla="*/ 1568496 h 1898882"/>
                <a:gd name="connsiteX123" fmla="*/ 1872184 w 4011346"/>
                <a:gd name="connsiteY123" fmla="*/ 1575171 h 1898882"/>
                <a:gd name="connsiteX124" fmla="*/ 1902219 w 4011346"/>
                <a:gd name="connsiteY124" fmla="*/ 1578508 h 1898882"/>
                <a:gd name="connsiteX125" fmla="*/ 1932254 w 4011346"/>
                <a:gd name="connsiteY125" fmla="*/ 1561822 h 1898882"/>
                <a:gd name="connsiteX126" fmla="*/ 1962290 w 4011346"/>
                <a:gd name="connsiteY126" fmla="*/ 1575171 h 1898882"/>
                <a:gd name="connsiteX127" fmla="*/ 1985650 w 4011346"/>
                <a:gd name="connsiteY127" fmla="*/ 1588520 h 1898882"/>
                <a:gd name="connsiteX128" fmla="*/ 1995662 w 4011346"/>
                <a:gd name="connsiteY128" fmla="*/ 1598531 h 1898882"/>
                <a:gd name="connsiteX129" fmla="*/ 2032371 w 4011346"/>
                <a:gd name="connsiteY129" fmla="*/ 1618555 h 1898882"/>
                <a:gd name="connsiteX130" fmla="*/ 2069081 w 4011346"/>
                <a:gd name="connsiteY130" fmla="*/ 1615217 h 1898882"/>
                <a:gd name="connsiteX131" fmla="*/ 2142500 w 4011346"/>
                <a:gd name="connsiteY131" fmla="*/ 1571833 h 1898882"/>
                <a:gd name="connsiteX132" fmla="*/ 2195895 w 4011346"/>
                <a:gd name="connsiteY132" fmla="*/ 1585182 h 1898882"/>
                <a:gd name="connsiteX133" fmla="*/ 2225930 w 4011346"/>
                <a:gd name="connsiteY133" fmla="*/ 1595194 h 1898882"/>
                <a:gd name="connsiteX134" fmla="*/ 2259303 w 4011346"/>
                <a:gd name="connsiteY134" fmla="*/ 1581845 h 1898882"/>
                <a:gd name="connsiteX135" fmla="*/ 2262640 w 4011346"/>
                <a:gd name="connsiteY135" fmla="*/ 1555147 h 1898882"/>
                <a:gd name="connsiteX136" fmla="*/ 2282663 w 4011346"/>
                <a:gd name="connsiteY136" fmla="*/ 1525112 h 1898882"/>
                <a:gd name="connsiteX137" fmla="*/ 2299349 w 4011346"/>
                <a:gd name="connsiteY137" fmla="*/ 1471717 h 1898882"/>
                <a:gd name="connsiteX138" fmla="*/ 2282663 w 4011346"/>
                <a:gd name="connsiteY138" fmla="*/ 1475054 h 1898882"/>
                <a:gd name="connsiteX139" fmla="*/ 2312698 w 4011346"/>
                <a:gd name="connsiteY139" fmla="*/ 1448356 h 1898882"/>
                <a:gd name="connsiteX140" fmla="*/ 2339396 w 4011346"/>
                <a:gd name="connsiteY140" fmla="*/ 1445019 h 1898882"/>
                <a:gd name="connsiteX141" fmla="*/ 2396129 w 4011346"/>
                <a:gd name="connsiteY141" fmla="*/ 1455030 h 1898882"/>
                <a:gd name="connsiteX142" fmla="*/ 2436176 w 4011346"/>
                <a:gd name="connsiteY142" fmla="*/ 1481728 h 1898882"/>
                <a:gd name="connsiteX143" fmla="*/ 2462873 w 4011346"/>
                <a:gd name="connsiteY143" fmla="*/ 1511763 h 1898882"/>
                <a:gd name="connsiteX144" fmla="*/ 2469548 w 4011346"/>
                <a:gd name="connsiteY144" fmla="*/ 1548473 h 1898882"/>
                <a:gd name="connsiteX145" fmla="*/ 2476222 w 4011346"/>
                <a:gd name="connsiteY145" fmla="*/ 1588520 h 1898882"/>
                <a:gd name="connsiteX146" fmla="*/ 2486234 w 4011346"/>
                <a:gd name="connsiteY146" fmla="*/ 1608543 h 1898882"/>
                <a:gd name="connsiteX147" fmla="*/ 2529618 w 4011346"/>
                <a:gd name="connsiteY147" fmla="*/ 1621892 h 1898882"/>
                <a:gd name="connsiteX148" fmla="*/ 2549641 w 4011346"/>
                <a:gd name="connsiteY148" fmla="*/ 1641915 h 1898882"/>
                <a:gd name="connsiteX149" fmla="*/ 2562990 w 4011346"/>
                <a:gd name="connsiteY149" fmla="*/ 1675287 h 1898882"/>
                <a:gd name="connsiteX150" fmla="*/ 2586351 w 4011346"/>
                <a:gd name="connsiteY150" fmla="*/ 1668613 h 1898882"/>
                <a:gd name="connsiteX151" fmla="*/ 2606374 w 4011346"/>
                <a:gd name="connsiteY151" fmla="*/ 1658601 h 1898882"/>
                <a:gd name="connsiteX152" fmla="*/ 2639746 w 4011346"/>
                <a:gd name="connsiteY152" fmla="*/ 1641915 h 1898882"/>
                <a:gd name="connsiteX153" fmla="*/ 2643084 w 4011346"/>
                <a:gd name="connsiteY153" fmla="*/ 1658601 h 1898882"/>
                <a:gd name="connsiteX154" fmla="*/ 2626398 w 4011346"/>
                <a:gd name="connsiteY154" fmla="*/ 1688636 h 1898882"/>
                <a:gd name="connsiteX155" fmla="*/ 2616386 w 4011346"/>
                <a:gd name="connsiteY155" fmla="*/ 1725346 h 1898882"/>
                <a:gd name="connsiteX156" fmla="*/ 2603037 w 4011346"/>
                <a:gd name="connsiteY156" fmla="*/ 1778741 h 1898882"/>
                <a:gd name="connsiteX157" fmla="*/ 2579676 w 4011346"/>
                <a:gd name="connsiteY157" fmla="*/ 1752044 h 1898882"/>
                <a:gd name="connsiteX158" fmla="*/ 2552979 w 4011346"/>
                <a:gd name="connsiteY158" fmla="*/ 1775404 h 1898882"/>
                <a:gd name="connsiteX159" fmla="*/ 2559653 w 4011346"/>
                <a:gd name="connsiteY159" fmla="*/ 1802102 h 1898882"/>
                <a:gd name="connsiteX160" fmla="*/ 2559653 w 4011346"/>
                <a:gd name="connsiteY160" fmla="*/ 1838811 h 1898882"/>
                <a:gd name="connsiteX161" fmla="*/ 2549641 w 4011346"/>
                <a:gd name="connsiteY161" fmla="*/ 1858835 h 1898882"/>
                <a:gd name="connsiteX162" fmla="*/ 2589688 w 4011346"/>
                <a:gd name="connsiteY162" fmla="*/ 1838811 h 1898882"/>
                <a:gd name="connsiteX163" fmla="*/ 2626398 w 4011346"/>
                <a:gd name="connsiteY163" fmla="*/ 1848823 h 1898882"/>
                <a:gd name="connsiteX164" fmla="*/ 2653095 w 4011346"/>
                <a:gd name="connsiteY164" fmla="*/ 1825463 h 1898882"/>
                <a:gd name="connsiteX165" fmla="*/ 2683130 w 4011346"/>
                <a:gd name="connsiteY165" fmla="*/ 1772067 h 1898882"/>
                <a:gd name="connsiteX166" fmla="*/ 2753212 w 4011346"/>
                <a:gd name="connsiteY166" fmla="*/ 1685299 h 1898882"/>
                <a:gd name="connsiteX167" fmla="*/ 2783247 w 4011346"/>
                <a:gd name="connsiteY167" fmla="*/ 1615217 h 1898882"/>
                <a:gd name="connsiteX168" fmla="*/ 2803271 w 4011346"/>
                <a:gd name="connsiteY168" fmla="*/ 1511763 h 1898882"/>
                <a:gd name="connsiteX169" fmla="*/ 2793259 w 4011346"/>
                <a:gd name="connsiteY169" fmla="*/ 1461705 h 1898882"/>
                <a:gd name="connsiteX170" fmla="*/ 2769898 w 4011346"/>
                <a:gd name="connsiteY170" fmla="*/ 1428333 h 1898882"/>
                <a:gd name="connsiteX171" fmla="*/ 2726514 w 4011346"/>
                <a:gd name="connsiteY171" fmla="*/ 1428333 h 1898882"/>
                <a:gd name="connsiteX172" fmla="*/ 2699817 w 4011346"/>
                <a:gd name="connsiteY172" fmla="*/ 1428333 h 1898882"/>
                <a:gd name="connsiteX173" fmla="*/ 2683130 w 4011346"/>
                <a:gd name="connsiteY173" fmla="*/ 1408309 h 1898882"/>
                <a:gd name="connsiteX174" fmla="*/ 2669781 w 4011346"/>
                <a:gd name="connsiteY174" fmla="*/ 1388286 h 1898882"/>
                <a:gd name="connsiteX175" fmla="*/ 2763224 w 4011346"/>
                <a:gd name="connsiteY175" fmla="*/ 1271483 h 1898882"/>
                <a:gd name="connsiteX176" fmla="*/ 2846654 w 4011346"/>
                <a:gd name="connsiteY176" fmla="*/ 1204739 h 1898882"/>
                <a:gd name="connsiteX177" fmla="*/ 2890038 w 4011346"/>
                <a:gd name="connsiteY177" fmla="*/ 1181378 h 1898882"/>
                <a:gd name="connsiteX178" fmla="*/ 2933422 w 4011346"/>
                <a:gd name="connsiteY178" fmla="*/ 1201401 h 1898882"/>
                <a:gd name="connsiteX179" fmla="*/ 2950109 w 4011346"/>
                <a:gd name="connsiteY179" fmla="*/ 1184715 h 1898882"/>
                <a:gd name="connsiteX180" fmla="*/ 2993492 w 4011346"/>
                <a:gd name="connsiteY180" fmla="*/ 1201401 h 1898882"/>
                <a:gd name="connsiteX181" fmla="*/ 3006841 w 4011346"/>
                <a:gd name="connsiteY181" fmla="*/ 1168029 h 1898882"/>
                <a:gd name="connsiteX182" fmla="*/ 3053563 w 4011346"/>
                <a:gd name="connsiteY182" fmla="*/ 1178041 h 1898882"/>
                <a:gd name="connsiteX183" fmla="*/ 3070249 w 4011346"/>
                <a:gd name="connsiteY183" fmla="*/ 1194727 h 1898882"/>
                <a:gd name="connsiteX184" fmla="*/ 3060237 w 4011346"/>
                <a:gd name="connsiteY184" fmla="*/ 1214750 h 1898882"/>
                <a:gd name="connsiteX185" fmla="*/ 3123644 w 4011346"/>
                <a:gd name="connsiteY185" fmla="*/ 1198064 h 1898882"/>
                <a:gd name="connsiteX186" fmla="*/ 3140330 w 4011346"/>
                <a:gd name="connsiteY186" fmla="*/ 1184715 h 1898882"/>
                <a:gd name="connsiteX187" fmla="*/ 3123644 w 4011346"/>
                <a:gd name="connsiteY187" fmla="*/ 1171366 h 1898882"/>
                <a:gd name="connsiteX188" fmla="*/ 3143668 w 4011346"/>
                <a:gd name="connsiteY188" fmla="*/ 1131320 h 1898882"/>
                <a:gd name="connsiteX189" fmla="*/ 3190389 w 4011346"/>
                <a:gd name="connsiteY189" fmla="*/ 1061238 h 1898882"/>
                <a:gd name="connsiteX190" fmla="*/ 3233773 w 4011346"/>
                <a:gd name="connsiteY190" fmla="*/ 1057901 h 1898882"/>
                <a:gd name="connsiteX191" fmla="*/ 3273819 w 4011346"/>
                <a:gd name="connsiteY191" fmla="*/ 1067912 h 1898882"/>
                <a:gd name="connsiteX192" fmla="*/ 3277157 w 4011346"/>
                <a:gd name="connsiteY192" fmla="*/ 1124645 h 1898882"/>
                <a:gd name="connsiteX193" fmla="*/ 3320541 w 4011346"/>
                <a:gd name="connsiteY193" fmla="*/ 1081261 h 1898882"/>
                <a:gd name="connsiteX194" fmla="*/ 3343901 w 4011346"/>
                <a:gd name="connsiteY194" fmla="*/ 1064575 h 1898882"/>
                <a:gd name="connsiteX195" fmla="*/ 3350576 w 4011346"/>
                <a:gd name="connsiteY195" fmla="*/ 1031203 h 1898882"/>
                <a:gd name="connsiteX196" fmla="*/ 3377273 w 4011346"/>
                <a:gd name="connsiteY196" fmla="*/ 1014517 h 1898882"/>
                <a:gd name="connsiteX197" fmla="*/ 3407309 w 4011346"/>
                <a:gd name="connsiteY197" fmla="*/ 1024528 h 1898882"/>
                <a:gd name="connsiteX198" fmla="*/ 3373936 w 4011346"/>
                <a:gd name="connsiteY198" fmla="*/ 1054563 h 1898882"/>
                <a:gd name="connsiteX199" fmla="*/ 3360587 w 4011346"/>
                <a:gd name="connsiteY199" fmla="*/ 1104622 h 1898882"/>
                <a:gd name="connsiteX200" fmla="*/ 3323878 w 4011346"/>
                <a:gd name="connsiteY200" fmla="*/ 1144668 h 1898882"/>
                <a:gd name="connsiteX201" fmla="*/ 3210412 w 4011346"/>
                <a:gd name="connsiteY201" fmla="*/ 1241448 h 1898882"/>
                <a:gd name="connsiteX202" fmla="*/ 3163691 w 4011346"/>
                <a:gd name="connsiteY202" fmla="*/ 1311530 h 1898882"/>
                <a:gd name="connsiteX203" fmla="*/ 3160354 w 4011346"/>
                <a:gd name="connsiteY203" fmla="*/ 1384949 h 1898882"/>
                <a:gd name="connsiteX204" fmla="*/ 3170365 w 4011346"/>
                <a:gd name="connsiteY204" fmla="*/ 1475054 h 1898882"/>
                <a:gd name="connsiteX205" fmla="*/ 3190389 w 4011346"/>
                <a:gd name="connsiteY205" fmla="*/ 1538461 h 1898882"/>
                <a:gd name="connsiteX206" fmla="*/ 3217087 w 4011346"/>
                <a:gd name="connsiteY206" fmla="*/ 1528449 h 1898882"/>
                <a:gd name="connsiteX207" fmla="*/ 3240447 w 4011346"/>
                <a:gd name="connsiteY207" fmla="*/ 1461705 h 1898882"/>
                <a:gd name="connsiteX208" fmla="*/ 3270482 w 4011346"/>
                <a:gd name="connsiteY208" fmla="*/ 1458368 h 1898882"/>
                <a:gd name="connsiteX209" fmla="*/ 3287168 w 4011346"/>
                <a:gd name="connsiteY209" fmla="*/ 1398298 h 1898882"/>
                <a:gd name="connsiteX210" fmla="*/ 3313866 w 4011346"/>
                <a:gd name="connsiteY210" fmla="*/ 1388286 h 1898882"/>
                <a:gd name="connsiteX211" fmla="*/ 3313866 w 4011346"/>
                <a:gd name="connsiteY211" fmla="*/ 1358251 h 1898882"/>
                <a:gd name="connsiteX212" fmla="*/ 3337227 w 4011346"/>
                <a:gd name="connsiteY212" fmla="*/ 1321541 h 1898882"/>
                <a:gd name="connsiteX213" fmla="*/ 3330552 w 4011346"/>
                <a:gd name="connsiteY213" fmla="*/ 1278157 h 1898882"/>
                <a:gd name="connsiteX214" fmla="*/ 3333890 w 4011346"/>
                <a:gd name="connsiteY214" fmla="*/ 1248122 h 1898882"/>
                <a:gd name="connsiteX215" fmla="*/ 3323878 w 4011346"/>
                <a:gd name="connsiteY215" fmla="*/ 1238111 h 1898882"/>
                <a:gd name="connsiteX216" fmla="*/ 3363925 w 4011346"/>
                <a:gd name="connsiteY216" fmla="*/ 1151343 h 1898882"/>
                <a:gd name="connsiteX217" fmla="*/ 3383948 w 4011346"/>
                <a:gd name="connsiteY217" fmla="*/ 1161355 h 1898882"/>
                <a:gd name="connsiteX218" fmla="*/ 3410646 w 4011346"/>
                <a:gd name="connsiteY218" fmla="*/ 1134657 h 1898882"/>
                <a:gd name="connsiteX219" fmla="*/ 3420657 w 4011346"/>
                <a:gd name="connsiteY219" fmla="*/ 1161355 h 1898882"/>
                <a:gd name="connsiteX220" fmla="*/ 3447355 w 4011346"/>
                <a:gd name="connsiteY220" fmla="*/ 1144668 h 1898882"/>
                <a:gd name="connsiteX221" fmla="*/ 3477390 w 4011346"/>
                <a:gd name="connsiteY221" fmla="*/ 1134657 h 1898882"/>
                <a:gd name="connsiteX222" fmla="*/ 3514100 w 4011346"/>
                <a:gd name="connsiteY222" fmla="*/ 1161355 h 1898882"/>
                <a:gd name="connsiteX223" fmla="*/ 3574170 w 4011346"/>
                <a:gd name="connsiteY223" fmla="*/ 1094610 h 1898882"/>
                <a:gd name="connsiteX224" fmla="*/ 3637577 w 4011346"/>
                <a:gd name="connsiteY224" fmla="*/ 1047889 h 1898882"/>
                <a:gd name="connsiteX225" fmla="*/ 3690973 w 4011346"/>
                <a:gd name="connsiteY225" fmla="*/ 1011179 h 1898882"/>
                <a:gd name="connsiteX226" fmla="*/ 3741031 w 4011346"/>
                <a:gd name="connsiteY226" fmla="*/ 1037877 h 1898882"/>
                <a:gd name="connsiteX227" fmla="*/ 3751043 w 4011346"/>
                <a:gd name="connsiteY227" fmla="*/ 1011179 h 1898882"/>
                <a:gd name="connsiteX228" fmla="*/ 3727682 w 4011346"/>
                <a:gd name="connsiteY228" fmla="*/ 944435 h 1898882"/>
                <a:gd name="connsiteX229" fmla="*/ 3700984 w 4011346"/>
                <a:gd name="connsiteY229" fmla="*/ 927749 h 1898882"/>
                <a:gd name="connsiteX230" fmla="*/ 3697647 w 4011346"/>
                <a:gd name="connsiteY230" fmla="*/ 897714 h 1898882"/>
                <a:gd name="connsiteX231" fmla="*/ 3751043 w 4011346"/>
                <a:gd name="connsiteY231" fmla="*/ 904388 h 1898882"/>
                <a:gd name="connsiteX232" fmla="*/ 3774403 w 4011346"/>
                <a:gd name="connsiteY232" fmla="*/ 861004 h 1898882"/>
                <a:gd name="connsiteX233" fmla="*/ 3767729 w 4011346"/>
                <a:gd name="connsiteY233" fmla="*/ 834306 h 1898882"/>
                <a:gd name="connsiteX234" fmla="*/ 3794427 w 4011346"/>
                <a:gd name="connsiteY234" fmla="*/ 800934 h 1898882"/>
                <a:gd name="connsiteX235" fmla="*/ 3804438 w 4011346"/>
                <a:gd name="connsiteY235" fmla="*/ 844318 h 1898882"/>
                <a:gd name="connsiteX236" fmla="*/ 3827799 w 4011346"/>
                <a:gd name="connsiteY236" fmla="*/ 861004 h 1898882"/>
                <a:gd name="connsiteX237" fmla="*/ 3874520 w 4011346"/>
                <a:gd name="connsiteY237" fmla="*/ 881028 h 1898882"/>
                <a:gd name="connsiteX238" fmla="*/ 3894544 w 4011346"/>
                <a:gd name="connsiteY238" fmla="*/ 907725 h 1898882"/>
                <a:gd name="connsiteX239" fmla="*/ 3941265 w 4011346"/>
                <a:gd name="connsiteY239" fmla="*/ 931086 h 1898882"/>
                <a:gd name="connsiteX240" fmla="*/ 3947939 w 4011346"/>
                <a:gd name="connsiteY240" fmla="*/ 917737 h 1898882"/>
                <a:gd name="connsiteX241" fmla="*/ 3957951 w 4011346"/>
                <a:gd name="connsiteY241" fmla="*/ 854330 h 1898882"/>
                <a:gd name="connsiteX242" fmla="*/ 4004672 w 4011346"/>
                <a:gd name="connsiteY242" fmla="*/ 847655 h 1898882"/>
                <a:gd name="connsiteX243" fmla="*/ 4011346 w 4011346"/>
                <a:gd name="connsiteY243" fmla="*/ 814283 h 1898882"/>
                <a:gd name="connsiteX244" fmla="*/ 3967963 w 4011346"/>
                <a:gd name="connsiteY244" fmla="*/ 777574 h 1898882"/>
                <a:gd name="connsiteX245" fmla="*/ 3921241 w 4011346"/>
                <a:gd name="connsiteY245" fmla="*/ 760887 h 1898882"/>
                <a:gd name="connsiteX246" fmla="*/ 3907892 w 4011346"/>
                <a:gd name="connsiteY246" fmla="*/ 764225 h 1898882"/>
                <a:gd name="connsiteX247" fmla="*/ 3907892 w 4011346"/>
                <a:gd name="connsiteY247" fmla="*/ 797597 h 1898882"/>
                <a:gd name="connsiteX248" fmla="*/ 3887869 w 4011346"/>
                <a:gd name="connsiteY248" fmla="*/ 790922 h 1898882"/>
                <a:gd name="connsiteX249" fmla="*/ 3874520 w 4011346"/>
                <a:gd name="connsiteY249" fmla="*/ 737527 h 1898882"/>
                <a:gd name="connsiteX250" fmla="*/ 3817787 w 4011346"/>
                <a:gd name="connsiteY250" fmla="*/ 674120 h 1898882"/>
                <a:gd name="connsiteX251" fmla="*/ 3717671 w 4011346"/>
                <a:gd name="connsiteY251" fmla="*/ 597363 h 1898882"/>
                <a:gd name="connsiteX252" fmla="*/ 3664275 w 4011346"/>
                <a:gd name="connsiteY252" fmla="*/ 577340 h 1898882"/>
                <a:gd name="connsiteX253" fmla="*/ 3584181 w 4011346"/>
                <a:gd name="connsiteY253" fmla="*/ 570666 h 1898882"/>
                <a:gd name="connsiteX254" fmla="*/ 3520774 w 4011346"/>
                <a:gd name="connsiteY254" fmla="*/ 553979 h 1898882"/>
                <a:gd name="connsiteX255" fmla="*/ 3530786 w 4011346"/>
                <a:gd name="connsiteY255" fmla="*/ 594026 h 1898882"/>
                <a:gd name="connsiteX256" fmla="*/ 3537460 w 4011346"/>
                <a:gd name="connsiteY256" fmla="*/ 620724 h 1898882"/>
                <a:gd name="connsiteX257" fmla="*/ 3507425 w 4011346"/>
                <a:gd name="connsiteY257" fmla="*/ 644084 h 1898882"/>
                <a:gd name="connsiteX258" fmla="*/ 3477390 w 4011346"/>
                <a:gd name="connsiteY258" fmla="*/ 617387 h 1898882"/>
                <a:gd name="connsiteX259" fmla="*/ 3477390 w 4011346"/>
                <a:gd name="connsiteY259" fmla="*/ 597363 h 1898882"/>
                <a:gd name="connsiteX260" fmla="*/ 3504088 w 4011346"/>
                <a:gd name="connsiteY260" fmla="*/ 577340 h 1898882"/>
                <a:gd name="connsiteX261" fmla="*/ 3467379 w 4011346"/>
                <a:gd name="connsiteY261" fmla="*/ 563991 h 1898882"/>
                <a:gd name="connsiteX262" fmla="*/ 3450692 w 4011346"/>
                <a:gd name="connsiteY262" fmla="*/ 590689 h 1898882"/>
                <a:gd name="connsiteX263" fmla="*/ 3440681 w 4011346"/>
                <a:gd name="connsiteY263" fmla="*/ 604038 h 1898882"/>
                <a:gd name="connsiteX264" fmla="*/ 3357250 w 4011346"/>
                <a:gd name="connsiteY264" fmla="*/ 590689 h 1898882"/>
                <a:gd name="connsiteX265" fmla="*/ 3297180 w 4011346"/>
                <a:gd name="connsiteY265" fmla="*/ 597363 h 1898882"/>
                <a:gd name="connsiteX266" fmla="*/ 3267145 w 4011346"/>
                <a:gd name="connsiteY266" fmla="*/ 574003 h 1898882"/>
                <a:gd name="connsiteX267" fmla="*/ 3267145 w 4011346"/>
                <a:gd name="connsiteY267" fmla="*/ 537293 h 1898882"/>
                <a:gd name="connsiteX268" fmla="*/ 3203738 w 4011346"/>
                <a:gd name="connsiteY268" fmla="*/ 480560 h 1898882"/>
                <a:gd name="connsiteX269" fmla="*/ 3076923 w 4011346"/>
                <a:gd name="connsiteY269" fmla="*/ 487235 h 1898882"/>
                <a:gd name="connsiteX270" fmla="*/ 3043551 w 4011346"/>
                <a:gd name="connsiteY270" fmla="*/ 463874 h 1898882"/>
                <a:gd name="connsiteX271" fmla="*/ 3000167 w 4011346"/>
                <a:gd name="connsiteY271" fmla="*/ 417153 h 1898882"/>
                <a:gd name="connsiteX272" fmla="*/ 3013516 w 4011346"/>
                <a:gd name="connsiteY272" fmla="*/ 410479 h 1898882"/>
                <a:gd name="connsiteX273" fmla="*/ 3000167 w 4011346"/>
                <a:gd name="connsiteY273" fmla="*/ 390455 h 1898882"/>
                <a:gd name="connsiteX274" fmla="*/ 2970132 w 4011346"/>
                <a:gd name="connsiteY274" fmla="*/ 387118 h 1898882"/>
                <a:gd name="connsiteX275" fmla="*/ 2920073 w 4011346"/>
                <a:gd name="connsiteY275" fmla="*/ 433839 h 1898882"/>
                <a:gd name="connsiteX276" fmla="*/ 2920073 w 4011346"/>
                <a:gd name="connsiteY276" fmla="*/ 433839 h 1898882"/>
                <a:gd name="connsiteX277" fmla="*/ 2916736 w 4011346"/>
                <a:gd name="connsiteY277" fmla="*/ 383781 h 1898882"/>
                <a:gd name="connsiteX278" fmla="*/ 2936760 w 4011346"/>
                <a:gd name="connsiteY278" fmla="*/ 380444 h 1898882"/>
                <a:gd name="connsiteX279" fmla="*/ 2866678 w 4011346"/>
                <a:gd name="connsiteY279" fmla="*/ 350409 h 1898882"/>
                <a:gd name="connsiteX280" fmla="*/ 2813282 w 4011346"/>
                <a:gd name="connsiteY280" fmla="*/ 347071 h 1898882"/>
                <a:gd name="connsiteX281" fmla="*/ 2793259 w 4011346"/>
                <a:gd name="connsiteY281" fmla="*/ 370432 h 1898882"/>
                <a:gd name="connsiteX282" fmla="*/ 2743200 w 4011346"/>
                <a:gd name="connsiteY282" fmla="*/ 380444 h 1898882"/>
                <a:gd name="connsiteX283" fmla="*/ 2786584 w 4011346"/>
                <a:gd name="connsiteY283" fmla="*/ 390455 h 1898882"/>
                <a:gd name="connsiteX284" fmla="*/ 2763224 w 4011346"/>
                <a:gd name="connsiteY284" fmla="*/ 410479 h 1898882"/>
                <a:gd name="connsiteX285" fmla="*/ 2769898 w 4011346"/>
                <a:gd name="connsiteY285" fmla="*/ 460537 h 1898882"/>
                <a:gd name="connsiteX286" fmla="*/ 2749875 w 4011346"/>
                <a:gd name="connsiteY286" fmla="*/ 443851 h 1898882"/>
                <a:gd name="connsiteX287" fmla="*/ 2733189 w 4011346"/>
                <a:gd name="connsiteY287" fmla="*/ 457200 h 1898882"/>
                <a:gd name="connsiteX288" fmla="*/ 2666444 w 4011346"/>
                <a:gd name="connsiteY288" fmla="*/ 447188 h 1898882"/>
                <a:gd name="connsiteX289" fmla="*/ 2636409 w 4011346"/>
                <a:gd name="connsiteY289" fmla="*/ 457200 h 1898882"/>
                <a:gd name="connsiteX290" fmla="*/ 2603037 w 4011346"/>
                <a:gd name="connsiteY290" fmla="*/ 417153 h 1898882"/>
                <a:gd name="connsiteX291" fmla="*/ 2569665 w 4011346"/>
                <a:gd name="connsiteY291" fmla="*/ 500584 h 1898882"/>
                <a:gd name="connsiteX292" fmla="*/ 2552979 w 4011346"/>
                <a:gd name="connsiteY292" fmla="*/ 520607 h 1898882"/>
                <a:gd name="connsiteX293" fmla="*/ 2469548 w 4011346"/>
                <a:gd name="connsiteY293" fmla="*/ 383781 h 1898882"/>
                <a:gd name="connsiteX294" fmla="*/ 2446187 w 4011346"/>
                <a:gd name="connsiteY294" fmla="*/ 400467 h 1898882"/>
                <a:gd name="connsiteX295" fmla="*/ 2442850 w 4011346"/>
                <a:gd name="connsiteY295" fmla="*/ 367095 h 1898882"/>
                <a:gd name="connsiteX296" fmla="*/ 2449525 w 4011346"/>
                <a:gd name="connsiteY296" fmla="*/ 297013 h 1898882"/>
                <a:gd name="connsiteX297" fmla="*/ 2386117 w 4011346"/>
                <a:gd name="connsiteY297" fmla="*/ 270315 h 1898882"/>
                <a:gd name="connsiteX298" fmla="*/ 2369431 w 4011346"/>
                <a:gd name="connsiteY298" fmla="*/ 310362 h 1898882"/>
                <a:gd name="connsiteX299" fmla="*/ 2379443 w 4011346"/>
                <a:gd name="connsiteY299" fmla="*/ 333722 h 1898882"/>
                <a:gd name="connsiteX300" fmla="*/ 2376106 w 4011346"/>
                <a:gd name="connsiteY300" fmla="*/ 353746 h 1898882"/>
                <a:gd name="connsiteX301" fmla="*/ 2352745 w 4011346"/>
                <a:gd name="connsiteY301" fmla="*/ 330385 h 1898882"/>
                <a:gd name="connsiteX302" fmla="*/ 2316036 w 4011346"/>
                <a:gd name="connsiteY302" fmla="*/ 337060 h 1898882"/>
                <a:gd name="connsiteX303" fmla="*/ 2272652 w 4011346"/>
                <a:gd name="connsiteY303" fmla="*/ 323711 h 1898882"/>
                <a:gd name="connsiteX304" fmla="*/ 2245954 w 4011346"/>
                <a:gd name="connsiteY304" fmla="*/ 283664 h 1898882"/>
                <a:gd name="connsiteX305" fmla="*/ 2209244 w 4011346"/>
                <a:gd name="connsiteY305" fmla="*/ 280327 h 1898882"/>
                <a:gd name="connsiteX306" fmla="*/ 2159186 w 4011346"/>
                <a:gd name="connsiteY306" fmla="*/ 270315 h 1898882"/>
                <a:gd name="connsiteX307" fmla="*/ 2132488 w 4011346"/>
                <a:gd name="connsiteY307" fmla="*/ 287001 h 1898882"/>
                <a:gd name="connsiteX308" fmla="*/ 2115802 w 4011346"/>
                <a:gd name="connsiteY308" fmla="*/ 300350 h 1898882"/>
                <a:gd name="connsiteX309" fmla="*/ 2115802 w 4011346"/>
                <a:gd name="connsiteY309" fmla="*/ 270315 h 1898882"/>
                <a:gd name="connsiteX310" fmla="*/ 2082430 w 4011346"/>
                <a:gd name="connsiteY310" fmla="*/ 266978 h 1898882"/>
                <a:gd name="connsiteX311" fmla="*/ 2045720 w 4011346"/>
                <a:gd name="connsiteY311" fmla="*/ 240280 h 1898882"/>
                <a:gd name="connsiteX312" fmla="*/ 2025697 w 4011346"/>
                <a:gd name="connsiteY312" fmla="*/ 270315 h 1898882"/>
                <a:gd name="connsiteX313" fmla="*/ 2055732 w 4011346"/>
                <a:gd name="connsiteY313" fmla="*/ 266978 h 1898882"/>
                <a:gd name="connsiteX314" fmla="*/ 2045720 w 4011346"/>
                <a:gd name="connsiteY314" fmla="*/ 293676 h 1898882"/>
                <a:gd name="connsiteX315" fmla="*/ 1988987 w 4011346"/>
                <a:gd name="connsiteY315" fmla="*/ 313699 h 1898882"/>
                <a:gd name="connsiteX316" fmla="*/ 1935592 w 4011346"/>
                <a:gd name="connsiteY316" fmla="*/ 323711 h 1898882"/>
                <a:gd name="connsiteX317" fmla="*/ 1995662 w 4011346"/>
                <a:gd name="connsiteY317" fmla="*/ 266978 h 1898882"/>
                <a:gd name="connsiteX318" fmla="*/ 2055732 w 4011346"/>
                <a:gd name="connsiteY318" fmla="*/ 196896 h 1898882"/>
                <a:gd name="connsiteX319" fmla="*/ 2055732 w 4011346"/>
                <a:gd name="connsiteY319" fmla="*/ 196896 h 1898882"/>
                <a:gd name="connsiteX320" fmla="*/ 1838813 w 4011346"/>
                <a:gd name="connsiteY320" fmla="*/ 13349 h 1898882"/>
                <a:gd name="connsiteX321" fmla="*/ 1782079 w 4011346"/>
                <a:gd name="connsiteY321" fmla="*/ 0 h 1898882"/>
                <a:gd name="connsiteX322" fmla="*/ 1768731 w 4011346"/>
                <a:gd name="connsiteY322" fmla="*/ 46722 h 1898882"/>
                <a:gd name="connsiteX323" fmla="*/ 1705322 w 4011346"/>
                <a:gd name="connsiteY323" fmla="*/ 70082 h 1898882"/>
                <a:gd name="connsiteX324" fmla="*/ 1685300 w 4011346"/>
                <a:gd name="connsiteY324" fmla="*/ 43384 h 1898882"/>
                <a:gd name="connsiteX325" fmla="*/ 1615218 w 4011346"/>
                <a:gd name="connsiteY325" fmla="*/ 46722 h 1898882"/>
                <a:gd name="connsiteX326" fmla="*/ 1638579 w 4011346"/>
                <a:gd name="connsiteY326" fmla="*/ 76757 h 1898882"/>
                <a:gd name="connsiteX327" fmla="*/ 1528449 w 4011346"/>
                <a:gd name="connsiteY327" fmla="*/ 103453 h 1898882"/>
                <a:gd name="connsiteX328" fmla="*/ 1465043 w 4011346"/>
                <a:gd name="connsiteY328" fmla="*/ 186884 h 1898882"/>
                <a:gd name="connsiteX329" fmla="*/ 1448357 w 4011346"/>
                <a:gd name="connsiteY329" fmla="*/ 213582 h 1898882"/>
                <a:gd name="connsiteX330" fmla="*/ 1481729 w 4011346"/>
                <a:gd name="connsiteY330" fmla="*/ 246955 h 1898882"/>
                <a:gd name="connsiteX331" fmla="*/ 1481729 w 4011346"/>
                <a:gd name="connsiteY331" fmla="*/ 276990 h 1898882"/>
                <a:gd name="connsiteX332" fmla="*/ 1458368 w 4011346"/>
                <a:gd name="connsiteY332" fmla="*/ 280327 h 1898882"/>
                <a:gd name="connsiteX333" fmla="*/ 1458368 w 4011346"/>
                <a:gd name="connsiteY333" fmla="*/ 260303 h 1898882"/>
                <a:gd name="connsiteX334" fmla="*/ 1418322 w 4011346"/>
                <a:gd name="connsiteY334" fmla="*/ 270315 h 1898882"/>
                <a:gd name="connsiteX335" fmla="*/ 1368263 w 4011346"/>
                <a:gd name="connsiteY335" fmla="*/ 276990 h 1898882"/>
                <a:gd name="connsiteX336" fmla="*/ 1321542 w 4011346"/>
                <a:gd name="connsiteY336" fmla="*/ 283664 h 1898882"/>
                <a:gd name="connsiteX337" fmla="*/ 1318205 w 4011346"/>
                <a:gd name="connsiteY337" fmla="*/ 370432 h 1898882"/>
                <a:gd name="connsiteX338" fmla="*/ 1358252 w 4011346"/>
                <a:gd name="connsiteY338" fmla="*/ 393793 h 1898882"/>
                <a:gd name="connsiteX339" fmla="*/ 1374938 w 4011346"/>
                <a:gd name="connsiteY339" fmla="*/ 423828 h 1898882"/>
                <a:gd name="connsiteX340" fmla="*/ 1384949 w 4011346"/>
                <a:gd name="connsiteY340" fmla="*/ 447188 h 1898882"/>
                <a:gd name="connsiteX341" fmla="*/ 1394961 w 4011346"/>
                <a:gd name="connsiteY341" fmla="*/ 497247 h 1898882"/>
                <a:gd name="connsiteX342" fmla="*/ 1384949 w 4011346"/>
                <a:gd name="connsiteY342" fmla="*/ 527282 h 1898882"/>
                <a:gd name="connsiteX343" fmla="*/ 1358252 w 4011346"/>
                <a:gd name="connsiteY343" fmla="*/ 493909 h 1898882"/>
                <a:gd name="connsiteX344" fmla="*/ 1361589 w 4011346"/>
                <a:gd name="connsiteY344" fmla="*/ 463874 h 1898882"/>
                <a:gd name="connsiteX345" fmla="*/ 1351577 w 4011346"/>
                <a:gd name="connsiteY345" fmla="*/ 423828 h 1898882"/>
                <a:gd name="connsiteX346" fmla="*/ 1328217 w 4011346"/>
                <a:gd name="connsiteY346" fmla="*/ 430502 h 1898882"/>
                <a:gd name="connsiteX347" fmla="*/ 1281495 w 4011346"/>
                <a:gd name="connsiteY347" fmla="*/ 393793 h 1898882"/>
                <a:gd name="connsiteX348" fmla="*/ 1241449 w 4011346"/>
                <a:gd name="connsiteY348" fmla="*/ 390455 h 1898882"/>
                <a:gd name="connsiteX349" fmla="*/ 1241449 w 4011346"/>
                <a:gd name="connsiteY349" fmla="*/ 437176 h 1898882"/>
                <a:gd name="connsiteX350" fmla="*/ 1201402 w 4011346"/>
                <a:gd name="connsiteY350" fmla="*/ 417153 h 1898882"/>
                <a:gd name="connsiteX351" fmla="*/ 1228100 w 4011346"/>
                <a:gd name="connsiteY351" fmla="*/ 467211 h 1898882"/>
                <a:gd name="connsiteX352" fmla="*/ 1258135 w 4011346"/>
                <a:gd name="connsiteY352" fmla="*/ 477223 h 1898882"/>
                <a:gd name="connsiteX353" fmla="*/ 1258135 w 4011346"/>
                <a:gd name="connsiteY353" fmla="*/ 497247 h 1898882"/>
                <a:gd name="connsiteX354" fmla="*/ 1198065 w 4011346"/>
                <a:gd name="connsiteY354" fmla="*/ 473886 h 1898882"/>
                <a:gd name="connsiteX355" fmla="*/ 1181379 w 4011346"/>
                <a:gd name="connsiteY355" fmla="*/ 473886 h 1898882"/>
                <a:gd name="connsiteX356" fmla="*/ 1178041 w 4011346"/>
                <a:gd name="connsiteY356" fmla="*/ 430502 h 1898882"/>
                <a:gd name="connsiteX357" fmla="*/ 1171367 w 4011346"/>
                <a:gd name="connsiteY357" fmla="*/ 343734 h 1898882"/>
                <a:gd name="connsiteX358" fmla="*/ 1161355 w 4011346"/>
                <a:gd name="connsiteY358" fmla="*/ 413816 h 1898882"/>
                <a:gd name="connsiteX359" fmla="*/ 1137995 w 4011346"/>
                <a:gd name="connsiteY359" fmla="*/ 443851 h 1898882"/>
                <a:gd name="connsiteX360" fmla="*/ 1158018 w 4011346"/>
                <a:gd name="connsiteY360" fmla="*/ 490572 h 1898882"/>
                <a:gd name="connsiteX361" fmla="*/ 1158018 w 4011346"/>
                <a:gd name="connsiteY361" fmla="*/ 523944 h 1898882"/>
                <a:gd name="connsiteX362" fmla="*/ 1141332 w 4011346"/>
                <a:gd name="connsiteY362" fmla="*/ 574003 h 1898882"/>
                <a:gd name="connsiteX363" fmla="*/ 1154681 w 4011346"/>
                <a:gd name="connsiteY363" fmla="*/ 607375 h 1898882"/>
                <a:gd name="connsiteX364" fmla="*/ 1184716 w 4011346"/>
                <a:gd name="connsiteY364" fmla="*/ 614049 h 1898882"/>
                <a:gd name="connsiteX365" fmla="*/ 1221425 w 4011346"/>
                <a:gd name="connsiteY365" fmla="*/ 620724 h 1898882"/>
                <a:gd name="connsiteX366" fmla="*/ 1241449 w 4011346"/>
                <a:gd name="connsiteY366" fmla="*/ 644084 h 1898882"/>
                <a:gd name="connsiteX367" fmla="*/ 1258135 w 4011346"/>
                <a:gd name="connsiteY367" fmla="*/ 687468 h 1898882"/>
                <a:gd name="connsiteX368" fmla="*/ 1258135 w 4011346"/>
                <a:gd name="connsiteY368" fmla="*/ 687468 h 1898882"/>
                <a:gd name="connsiteX369" fmla="*/ 1254798 w 4011346"/>
                <a:gd name="connsiteY369" fmla="*/ 720841 h 1898882"/>
                <a:gd name="connsiteX370" fmla="*/ 1274821 w 4011346"/>
                <a:gd name="connsiteY370" fmla="*/ 740864 h 1898882"/>
                <a:gd name="connsiteX371" fmla="*/ 1244786 w 4011346"/>
                <a:gd name="connsiteY371" fmla="*/ 747539 h 1898882"/>
                <a:gd name="connsiteX372" fmla="*/ 1224763 w 4011346"/>
                <a:gd name="connsiteY372" fmla="*/ 707492 h 1898882"/>
                <a:gd name="connsiteX373" fmla="*/ 1224763 w 4011346"/>
                <a:gd name="connsiteY373" fmla="*/ 667445 h 1898882"/>
                <a:gd name="connsiteX374" fmla="*/ 1194727 w 4011346"/>
                <a:gd name="connsiteY374" fmla="*/ 630736 h 1898882"/>
                <a:gd name="connsiteX375" fmla="*/ 1164692 w 4011346"/>
                <a:gd name="connsiteY375" fmla="*/ 674120 h 1898882"/>
                <a:gd name="connsiteX376" fmla="*/ 1178041 w 4011346"/>
                <a:gd name="connsiteY376" fmla="*/ 717503 h 1898882"/>
                <a:gd name="connsiteX377" fmla="*/ 1137995 w 4011346"/>
                <a:gd name="connsiteY377" fmla="*/ 774236 h 1898882"/>
                <a:gd name="connsiteX378" fmla="*/ 1097948 w 4011346"/>
                <a:gd name="connsiteY378" fmla="*/ 830969 h 1898882"/>
                <a:gd name="connsiteX379" fmla="*/ 1007843 w 4011346"/>
                <a:gd name="connsiteY379" fmla="*/ 794260 h 1898882"/>
                <a:gd name="connsiteX380" fmla="*/ 1074587 w 4011346"/>
                <a:gd name="connsiteY380" fmla="*/ 790922 h 1898882"/>
                <a:gd name="connsiteX381" fmla="*/ 1107960 w 4011346"/>
                <a:gd name="connsiteY381" fmla="*/ 727515 h 1898882"/>
                <a:gd name="connsiteX382" fmla="*/ 1121309 w 4011346"/>
                <a:gd name="connsiteY382" fmla="*/ 684131 h 1898882"/>
                <a:gd name="connsiteX383" fmla="*/ 1127983 w 4011346"/>
                <a:gd name="connsiteY383" fmla="*/ 650759 h 1898882"/>
                <a:gd name="connsiteX384" fmla="*/ 1117971 w 4011346"/>
                <a:gd name="connsiteY384" fmla="*/ 634073 h 1898882"/>
                <a:gd name="connsiteX385" fmla="*/ 1114634 w 4011346"/>
                <a:gd name="connsiteY385" fmla="*/ 584014 h 1898882"/>
                <a:gd name="connsiteX386" fmla="*/ 1104622 w 4011346"/>
                <a:gd name="connsiteY386" fmla="*/ 503921 h 1898882"/>
                <a:gd name="connsiteX387" fmla="*/ 1101285 w 4011346"/>
                <a:gd name="connsiteY387" fmla="*/ 443851 h 1898882"/>
                <a:gd name="connsiteX388" fmla="*/ 1124646 w 4011346"/>
                <a:gd name="connsiteY388" fmla="*/ 350409 h 1898882"/>
                <a:gd name="connsiteX389" fmla="*/ 1031203 w 4011346"/>
                <a:gd name="connsiteY389" fmla="*/ 340397 h 1898882"/>
                <a:gd name="connsiteX390" fmla="*/ 1014517 w 4011346"/>
                <a:gd name="connsiteY390" fmla="*/ 397130 h 1898882"/>
                <a:gd name="connsiteX391" fmla="*/ 1024529 w 4011346"/>
                <a:gd name="connsiteY391" fmla="*/ 443851 h 1898882"/>
                <a:gd name="connsiteX392" fmla="*/ 981145 w 4011346"/>
                <a:gd name="connsiteY392" fmla="*/ 497247 h 1898882"/>
                <a:gd name="connsiteX393" fmla="*/ 991157 w 4011346"/>
                <a:gd name="connsiteY393" fmla="*/ 533956 h 1898882"/>
                <a:gd name="connsiteX394" fmla="*/ 981145 w 4011346"/>
                <a:gd name="connsiteY394" fmla="*/ 580677 h 1898882"/>
                <a:gd name="connsiteX395" fmla="*/ 1001168 w 4011346"/>
                <a:gd name="connsiteY395" fmla="*/ 604038 h 1898882"/>
                <a:gd name="connsiteX396" fmla="*/ 1017854 w 4011346"/>
                <a:gd name="connsiteY396" fmla="*/ 650759 h 1898882"/>
                <a:gd name="connsiteX397" fmla="*/ 1047890 w 4011346"/>
                <a:gd name="connsiteY397" fmla="*/ 637410 h 1898882"/>
                <a:gd name="connsiteX398" fmla="*/ 1014517 w 4011346"/>
                <a:gd name="connsiteY398" fmla="*/ 690806 h 1898882"/>
                <a:gd name="connsiteX399" fmla="*/ 957784 w 4011346"/>
                <a:gd name="connsiteY399" fmla="*/ 637410 h 1898882"/>
                <a:gd name="connsiteX400" fmla="*/ 884365 w 4011346"/>
                <a:gd name="connsiteY400" fmla="*/ 600701 h 1898882"/>
                <a:gd name="connsiteX401" fmla="*/ 824295 w 4011346"/>
                <a:gd name="connsiteY401" fmla="*/ 577340 h 1898882"/>
                <a:gd name="connsiteX402" fmla="*/ 810946 w 4011346"/>
                <a:gd name="connsiteY402" fmla="*/ 614049 h 1898882"/>
                <a:gd name="connsiteX403" fmla="*/ 827633 w 4011346"/>
                <a:gd name="connsiteY403" fmla="*/ 650759 h 1898882"/>
                <a:gd name="connsiteX404" fmla="*/ 814284 w 4011346"/>
                <a:gd name="connsiteY404" fmla="*/ 674120 h 1898882"/>
                <a:gd name="connsiteX405" fmla="*/ 800935 w 4011346"/>
                <a:gd name="connsiteY405" fmla="*/ 690806 h 1898882"/>
                <a:gd name="connsiteX406" fmla="*/ 770900 w 4011346"/>
                <a:gd name="connsiteY406" fmla="*/ 634073 h 1898882"/>
                <a:gd name="connsiteX407" fmla="*/ 744202 w 4011346"/>
                <a:gd name="connsiteY407" fmla="*/ 670782 h 1898882"/>
                <a:gd name="connsiteX408" fmla="*/ 707492 w 4011346"/>
                <a:gd name="connsiteY408" fmla="*/ 664108 h 1898882"/>
                <a:gd name="connsiteX409" fmla="*/ 654097 w 4011346"/>
                <a:gd name="connsiteY409" fmla="*/ 700817 h 1898882"/>
                <a:gd name="connsiteX410" fmla="*/ 644085 w 4011346"/>
                <a:gd name="connsiteY410" fmla="*/ 677457 h 1898882"/>
                <a:gd name="connsiteX411" fmla="*/ 654097 w 4011346"/>
                <a:gd name="connsiteY411" fmla="*/ 640747 h 1898882"/>
                <a:gd name="connsiteX412" fmla="*/ 614050 w 4011346"/>
                <a:gd name="connsiteY412" fmla="*/ 677457 h 1898882"/>
                <a:gd name="connsiteX413" fmla="*/ 594027 w 4011346"/>
                <a:gd name="connsiteY413" fmla="*/ 677457 h 1898882"/>
                <a:gd name="connsiteX414" fmla="*/ 533957 w 4011346"/>
                <a:gd name="connsiteY414" fmla="*/ 710829 h 1898882"/>
                <a:gd name="connsiteX415" fmla="*/ 510596 w 4011346"/>
                <a:gd name="connsiteY415" fmla="*/ 734190 h 1898882"/>
                <a:gd name="connsiteX416" fmla="*/ 500584 w 4011346"/>
                <a:gd name="connsiteY416" fmla="*/ 780911 h 1898882"/>
                <a:gd name="connsiteX417" fmla="*/ 450526 w 4011346"/>
                <a:gd name="connsiteY417" fmla="*/ 767562 h 1898882"/>
                <a:gd name="connsiteX418" fmla="*/ 433840 w 4011346"/>
                <a:gd name="connsiteY418" fmla="*/ 730852 h 1898882"/>
                <a:gd name="connsiteX419" fmla="*/ 467212 w 4011346"/>
                <a:gd name="connsiteY419" fmla="*/ 700817 h 1898882"/>
                <a:gd name="connsiteX420" fmla="*/ 453863 w 4011346"/>
                <a:gd name="connsiteY420" fmla="*/ 677457 h 1898882"/>
                <a:gd name="connsiteX421" fmla="*/ 390456 w 4011346"/>
                <a:gd name="connsiteY421" fmla="*/ 647422 h 1898882"/>
                <a:gd name="connsiteX422" fmla="*/ 417154 w 4011346"/>
                <a:gd name="connsiteY422" fmla="*/ 697480 h 1898882"/>
                <a:gd name="connsiteX423" fmla="*/ 407142 w 4011346"/>
                <a:gd name="connsiteY423" fmla="*/ 740864 h 1898882"/>
                <a:gd name="connsiteX424" fmla="*/ 413817 w 4011346"/>
                <a:gd name="connsiteY424" fmla="*/ 777574 h 1898882"/>
                <a:gd name="connsiteX425" fmla="*/ 427165 w 4011346"/>
                <a:gd name="connsiteY425" fmla="*/ 800934 h 1898882"/>
                <a:gd name="connsiteX426" fmla="*/ 413817 w 4011346"/>
                <a:gd name="connsiteY426" fmla="*/ 830969 h 1898882"/>
                <a:gd name="connsiteX427" fmla="*/ 390456 w 4011346"/>
                <a:gd name="connsiteY427" fmla="*/ 807609 h 1898882"/>
                <a:gd name="connsiteX428" fmla="*/ 360421 w 4011346"/>
                <a:gd name="connsiteY428" fmla="*/ 804271 h 1898882"/>
                <a:gd name="connsiteX429" fmla="*/ 333723 w 4011346"/>
                <a:gd name="connsiteY429" fmla="*/ 844318 h 1898882"/>
                <a:gd name="connsiteX430" fmla="*/ 307025 w 4011346"/>
                <a:gd name="connsiteY430" fmla="*/ 864341 h 1898882"/>
                <a:gd name="connsiteX431" fmla="*/ 320374 w 4011346"/>
                <a:gd name="connsiteY431" fmla="*/ 891039 h 1898882"/>
                <a:gd name="connsiteX432" fmla="*/ 303688 w 4011346"/>
                <a:gd name="connsiteY432" fmla="*/ 914400 h 1898882"/>
                <a:gd name="connsiteX433" fmla="*/ 233606 w 4011346"/>
                <a:gd name="connsiteY433" fmla="*/ 877690 h 1898882"/>
                <a:gd name="connsiteX434" fmla="*/ 243618 w 4011346"/>
                <a:gd name="connsiteY434" fmla="*/ 927749 h 1898882"/>
                <a:gd name="connsiteX435" fmla="*/ 263641 w 4011346"/>
                <a:gd name="connsiteY435" fmla="*/ 947772 h 1898882"/>
                <a:gd name="connsiteX436" fmla="*/ 250292 w 4011346"/>
                <a:gd name="connsiteY436" fmla="*/ 961121 h 1898882"/>
                <a:gd name="connsiteX437" fmla="*/ 193560 w 4011346"/>
                <a:gd name="connsiteY437" fmla="*/ 924411 h 1898882"/>
                <a:gd name="connsiteX438" fmla="*/ 170199 w 4011346"/>
                <a:gd name="connsiteY438" fmla="*/ 884365 h 1898882"/>
                <a:gd name="connsiteX439" fmla="*/ 170199 w 4011346"/>
                <a:gd name="connsiteY439" fmla="*/ 837644 h 1898882"/>
                <a:gd name="connsiteX440" fmla="*/ 133490 w 4011346"/>
                <a:gd name="connsiteY440" fmla="*/ 760887 h 1898882"/>
                <a:gd name="connsiteX441" fmla="*/ 196897 w 4011346"/>
                <a:gd name="connsiteY441" fmla="*/ 790922 h 1898882"/>
                <a:gd name="connsiteX442" fmla="*/ 256967 w 4011346"/>
                <a:gd name="connsiteY442" fmla="*/ 820957 h 1898882"/>
                <a:gd name="connsiteX443" fmla="*/ 293676 w 4011346"/>
                <a:gd name="connsiteY443" fmla="*/ 824295 h 1898882"/>
                <a:gd name="connsiteX444" fmla="*/ 327049 w 4011346"/>
                <a:gd name="connsiteY444" fmla="*/ 794260 h 1898882"/>
                <a:gd name="connsiteX445" fmla="*/ 343735 w 4011346"/>
                <a:gd name="connsiteY445" fmla="*/ 757550 h 1898882"/>
                <a:gd name="connsiteX446" fmla="*/ 333723 w 4011346"/>
                <a:gd name="connsiteY446" fmla="*/ 707492 h 1898882"/>
                <a:gd name="connsiteX447" fmla="*/ 290339 w 4011346"/>
                <a:gd name="connsiteY447" fmla="*/ 687468 h 1898882"/>
                <a:gd name="connsiteX448" fmla="*/ 236944 w 4011346"/>
                <a:gd name="connsiteY448" fmla="*/ 640747 h 1898882"/>
                <a:gd name="connsiteX449" fmla="*/ 133490 w 4011346"/>
                <a:gd name="connsiteY449" fmla="*/ 584014 h 1898882"/>
                <a:gd name="connsiteX0" fmla="*/ 133490 w 4011346"/>
                <a:gd name="connsiteY0" fmla="*/ 584014 h 1898882"/>
                <a:gd name="connsiteX1" fmla="*/ 46722 w 4011346"/>
                <a:gd name="connsiteY1" fmla="*/ 614049 h 1898882"/>
                <a:gd name="connsiteX2" fmla="*/ 33373 w 4011346"/>
                <a:gd name="connsiteY2" fmla="*/ 644084 h 1898882"/>
                <a:gd name="connsiteX3" fmla="*/ 43384 w 4011346"/>
                <a:gd name="connsiteY3" fmla="*/ 674120 h 1898882"/>
                <a:gd name="connsiteX4" fmla="*/ 60071 w 4011346"/>
                <a:gd name="connsiteY4" fmla="*/ 700817 h 1898882"/>
                <a:gd name="connsiteX5" fmla="*/ 73419 w 4011346"/>
                <a:gd name="connsiteY5" fmla="*/ 730852 h 1898882"/>
                <a:gd name="connsiteX6" fmla="*/ 56733 w 4011346"/>
                <a:gd name="connsiteY6" fmla="*/ 754213 h 1898882"/>
                <a:gd name="connsiteX7" fmla="*/ 76757 w 4011346"/>
                <a:gd name="connsiteY7" fmla="*/ 834306 h 1898882"/>
                <a:gd name="connsiteX8" fmla="*/ 66745 w 4011346"/>
                <a:gd name="connsiteY8" fmla="*/ 850993 h 1898882"/>
                <a:gd name="connsiteX9" fmla="*/ 70082 w 4011346"/>
                <a:gd name="connsiteY9" fmla="*/ 877690 h 1898882"/>
                <a:gd name="connsiteX10" fmla="*/ 70082 w 4011346"/>
                <a:gd name="connsiteY10" fmla="*/ 917737 h 1898882"/>
                <a:gd name="connsiteX11" fmla="*/ 80094 w 4011346"/>
                <a:gd name="connsiteY11" fmla="*/ 937760 h 1898882"/>
                <a:gd name="connsiteX12" fmla="*/ 76757 w 4011346"/>
                <a:gd name="connsiteY12" fmla="*/ 961121 h 1898882"/>
                <a:gd name="connsiteX13" fmla="*/ 106792 w 4011346"/>
                <a:gd name="connsiteY13" fmla="*/ 994493 h 1898882"/>
                <a:gd name="connsiteX14" fmla="*/ 106792 w 4011346"/>
                <a:gd name="connsiteY14" fmla="*/ 1024528 h 1898882"/>
                <a:gd name="connsiteX15" fmla="*/ 13349 w 4011346"/>
                <a:gd name="connsiteY15" fmla="*/ 1114633 h 1898882"/>
                <a:gd name="connsiteX16" fmla="*/ 33373 w 4011346"/>
                <a:gd name="connsiteY16" fmla="*/ 1148006 h 1898882"/>
                <a:gd name="connsiteX17" fmla="*/ 33373 w 4011346"/>
                <a:gd name="connsiteY17" fmla="*/ 1148006 h 1898882"/>
                <a:gd name="connsiteX18" fmla="*/ 16687 w 4011346"/>
                <a:gd name="connsiteY18" fmla="*/ 1178041 h 1898882"/>
                <a:gd name="connsiteX19" fmla="*/ 3338 w 4011346"/>
                <a:gd name="connsiteY19" fmla="*/ 1208076 h 1898882"/>
                <a:gd name="connsiteX20" fmla="*/ 0 w 4011346"/>
                <a:gd name="connsiteY20" fmla="*/ 1268146 h 1898882"/>
                <a:gd name="connsiteX21" fmla="*/ 16687 w 4011346"/>
                <a:gd name="connsiteY21" fmla="*/ 1311530 h 1898882"/>
                <a:gd name="connsiteX22" fmla="*/ 20024 w 4011346"/>
                <a:gd name="connsiteY22" fmla="*/ 1344902 h 1898882"/>
                <a:gd name="connsiteX23" fmla="*/ 56733 w 4011346"/>
                <a:gd name="connsiteY23" fmla="*/ 1354914 h 1898882"/>
                <a:gd name="connsiteX24" fmla="*/ 116803 w 4011346"/>
                <a:gd name="connsiteY24" fmla="*/ 1441682 h 1898882"/>
                <a:gd name="connsiteX25" fmla="*/ 96780 w 4011346"/>
                <a:gd name="connsiteY25" fmla="*/ 1465042 h 1898882"/>
                <a:gd name="connsiteX26" fmla="*/ 93443 w 4011346"/>
                <a:gd name="connsiteY26" fmla="*/ 1495077 h 1898882"/>
                <a:gd name="connsiteX27" fmla="*/ 120141 w 4011346"/>
                <a:gd name="connsiteY27" fmla="*/ 1498414 h 1898882"/>
                <a:gd name="connsiteX28" fmla="*/ 160187 w 4011346"/>
                <a:gd name="connsiteY28" fmla="*/ 1511763 h 1898882"/>
                <a:gd name="connsiteX29" fmla="*/ 186885 w 4011346"/>
                <a:gd name="connsiteY29" fmla="*/ 1525112 h 1898882"/>
                <a:gd name="connsiteX30" fmla="*/ 213583 w 4011346"/>
                <a:gd name="connsiteY30" fmla="*/ 1555147 h 1898882"/>
                <a:gd name="connsiteX31" fmla="*/ 243618 w 4011346"/>
                <a:gd name="connsiteY31" fmla="*/ 1558484 h 1898882"/>
                <a:gd name="connsiteX32" fmla="*/ 287002 w 4011346"/>
                <a:gd name="connsiteY32" fmla="*/ 1588520 h 1898882"/>
                <a:gd name="connsiteX33" fmla="*/ 310363 w 4011346"/>
                <a:gd name="connsiteY33" fmla="*/ 1598531 h 1898882"/>
                <a:gd name="connsiteX34" fmla="*/ 310363 w 4011346"/>
                <a:gd name="connsiteY34" fmla="*/ 1635241 h 1898882"/>
                <a:gd name="connsiteX35" fmla="*/ 270316 w 4011346"/>
                <a:gd name="connsiteY35" fmla="*/ 1675287 h 1898882"/>
                <a:gd name="connsiteX36" fmla="*/ 280327 w 4011346"/>
                <a:gd name="connsiteY36" fmla="*/ 1698648 h 1898882"/>
                <a:gd name="connsiteX37" fmla="*/ 273653 w 4011346"/>
                <a:gd name="connsiteY37" fmla="*/ 1718671 h 1898882"/>
                <a:gd name="connsiteX38" fmla="*/ 266979 w 4011346"/>
                <a:gd name="connsiteY38" fmla="*/ 1735357 h 1898882"/>
                <a:gd name="connsiteX39" fmla="*/ 240281 w 4011346"/>
                <a:gd name="connsiteY39" fmla="*/ 1775404 h 1898882"/>
                <a:gd name="connsiteX40" fmla="*/ 307025 w 4011346"/>
                <a:gd name="connsiteY40" fmla="*/ 1812114 h 1898882"/>
                <a:gd name="connsiteX41" fmla="*/ 337060 w 4011346"/>
                <a:gd name="connsiteY41" fmla="*/ 1818788 h 1898882"/>
                <a:gd name="connsiteX42" fmla="*/ 360421 w 4011346"/>
                <a:gd name="connsiteY42" fmla="*/ 1825463 h 1898882"/>
                <a:gd name="connsiteX43" fmla="*/ 380444 w 4011346"/>
                <a:gd name="connsiteY43" fmla="*/ 1832137 h 1898882"/>
                <a:gd name="connsiteX44" fmla="*/ 407142 w 4011346"/>
                <a:gd name="connsiteY44" fmla="*/ 1852160 h 1898882"/>
                <a:gd name="connsiteX45" fmla="*/ 437177 w 4011346"/>
                <a:gd name="connsiteY45" fmla="*/ 1848823 h 1898882"/>
                <a:gd name="connsiteX46" fmla="*/ 507259 w 4011346"/>
                <a:gd name="connsiteY46" fmla="*/ 1898882 h 1898882"/>
                <a:gd name="connsiteX47" fmla="*/ 517271 w 4011346"/>
                <a:gd name="connsiteY47" fmla="*/ 1885533 h 1898882"/>
                <a:gd name="connsiteX48" fmla="*/ 507259 w 4011346"/>
                <a:gd name="connsiteY48" fmla="*/ 1845486 h 1898882"/>
                <a:gd name="connsiteX49" fmla="*/ 500584 w 4011346"/>
                <a:gd name="connsiteY49" fmla="*/ 1812114 h 1898882"/>
                <a:gd name="connsiteX50" fmla="*/ 483898 w 4011346"/>
                <a:gd name="connsiteY50" fmla="*/ 1768730 h 1898882"/>
                <a:gd name="connsiteX51" fmla="*/ 513933 w 4011346"/>
                <a:gd name="connsiteY51" fmla="*/ 1748706 h 1898882"/>
                <a:gd name="connsiteX52" fmla="*/ 547306 w 4011346"/>
                <a:gd name="connsiteY52" fmla="*/ 1725346 h 1898882"/>
                <a:gd name="connsiteX53" fmla="*/ 527282 w 4011346"/>
                <a:gd name="connsiteY53" fmla="*/ 1708660 h 1898882"/>
                <a:gd name="connsiteX54" fmla="*/ 517271 w 4011346"/>
                <a:gd name="connsiteY54" fmla="*/ 1675287 h 1898882"/>
                <a:gd name="connsiteX55" fmla="*/ 480561 w 4011346"/>
                <a:gd name="connsiteY55" fmla="*/ 1658601 h 1898882"/>
                <a:gd name="connsiteX56" fmla="*/ 470549 w 4011346"/>
                <a:gd name="connsiteY56" fmla="*/ 1638578 h 1898882"/>
                <a:gd name="connsiteX57" fmla="*/ 480561 w 4011346"/>
                <a:gd name="connsiteY57" fmla="*/ 1608543 h 1898882"/>
                <a:gd name="connsiteX58" fmla="*/ 490573 w 4011346"/>
                <a:gd name="connsiteY58" fmla="*/ 1568496 h 1898882"/>
                <a:gd name="connsiteX59" fmla="*/ 513933 w 4011346"/>
                <a:gd name="connsiteY59" fmla="*/ 1588520 h 1898882"/>
                <a:gd name="connsiteX60" fmla="*/ 520608 w 4011346"/>
                <a:gd name="connsiteY60" fmla="*/ 1571833 h 1898882"/>
                <a:gd name="connsiteX61" fmla="*/ 543968 w 4011346"/>
                <a:gd name="connsiteY61" fmla="*/ 1535124 h 1898882"/>
                <a:gd name="connsiteX62" fmla="*/ 574003 w 4011346"/>
                <a:gd name="connsiteY62" fmla="*/ 1518438 h 1898882"/>
                <a:gd name="connsiteX63" fmla="*/ 590690 w 4011346"/>
                <a:gd name="connsiteY63" fmla="*/ 1531787 h 1898882"/>
                <a:gd name="connsiteX64" fmla="*/ 610713 w 4011346"/>
                <a:gd name="connsiteY64" fmla="*/ 1505089 h 1898882"/>
                <a:gd name="connsiteX65" fmla="*/ 630736 w 4011346"/>
                <a:gd name="connsiteY65" fmla="*/ 1531787 h 1898882"/>
                <a:gd name="connsiteX66" fmla="*/ 657434 w 4011346"/>
                <a:gd name="connsiteY66" fmla="*/ 1555147 h 1898882"/>
                <a:gd name="connsiteX67" fmla="*/ 674120 w 4011346"/>
                <a:gd name="connsiteY67" fmla="*/ 1561822 h 1898882"/>
                <a:gd name="connsiteX68" fmla="*/ 697481 w 4011346"/>
                <a:gd name="connsiteY68" fmla="*/ 1561822 h 1898882"/>
                <a:gd name="connsiteX69" fmla="*/ 717504 w 4011346"/>
                <a:gd name="connsiteY69" fmla="*/ 1548473 h 1898882"/>
                <a:gd name="connsiteX70" fmla="*/ 744202 w 4011346"/>
                <a:gd name="connsiteY70" fmla="*/ 1548473 h 1898882"/>
                <a:gd name="connsiteX71" fmla="*/ 760888 w 4011346"/>
                <a:gd name="connsiteY71" fmla="*/ 1545136 h 1898882"/>
                <a:gd name="connsiteX72" fmla="*/ 790923 w 4011346"/>
                <a:gd name="connsiteY72" fmla="*/ 1578508 h 1898882"/>
                <a:gd name="connsiteX73" fmla="*/ 797598 w 4011346"/>
                <a:gd name="connsiteY73" fmla="*/ 1551810 h 1898882"/>
                <a:gd name="connsiteX74" fmla="*/ 817621 w 4011346"/>
                <a:gd name="connsiteY74" fmla="*/ 1568496 h 1898882"/>
                <a:gd name="connsiteX75" fmla="*/ 837644 w 4011346"/>
                <a:gd name="connsiteY75" fmla="*/ 1545136 h 1898882"/>
                <a:gd name="connsiteX76" fmla="*/ 827633 w 4011346"/>
                <a:gd name="connsiteY76" fmla="*/ 1525112 h 1898882"/>
                <a:gd name="connsiteX77" fmla="*/ 810946 w 4011346"/>
                <a:gd name="connsiteY77" fmla="*/ 1511763 h 1898882"/>
                <a:gd name="connsiteX78" fmla="*/ 810946 w 4011346"/>
                <a:gd name="connsiteY78" fmla="*/ 1485066 h 1898882"/>
                <a:gd name="connsiteX79" fmla="*/ 810946 w 4011346"/>
                <a:gd name="connsiteY79" fmla="*/ 1471717 h 1898882"/>
                <a:gd name="connsiteX80" fmla="*/ 830970 w 4011346"/>
                <a:gd name="connsiteY80" fmla="*/ 1468379 h 1898882"/>
                <a:gd name="connsiteX81" fmla="*/ 840981 w 4011346"/>
                <a:gd name="connsiteY81" fmla="*/ 1465042 h 1898882"/>
                <a:gd name="connsiteX82" fmla="*/ 820958 w 4011346"/>
                <a:gd name="connsiteY82" fmla="*/ 1428333 h 1898882"/>
                <a:gd name="connsiteX83" fmla="*/ 854330 w 4011346"/>
                <a:gd name="connsiteY83" fmla="*/ 1421658 h 1898882"/>
                <a:gd name="connsiteX84" fmla="*/ 891040 w 4011346"/>
                <a:gd name="connsiteY84" fmla="*/ 1428333 h 1898882"/>
                <a:gd name="connsiteX85" fmla="*/ 964459 w 4011346"/>
                <a:gd name="connsiteY85" fmla="*/ 1384949 h 1898882"/>
                <a:gd name="connsiteX86" fmla="*/ 1001168 w 4011346"/>
                <a:gd name="connsiteY86" fmla="*/ 1384949 h 1898882"/>
                <a:gd name="connsiteX87" fmla="*/ 1027866 w 4011346"/>
                <a:gd name="connsiteY87" fmla="*/ 1361588 h 1898882"/>
                <a:gd name="connsiteX88" fmla="*/ 1047890 w 4011346"/>
                <a:gd name="connsiteY88" fmla="*/ 1371600 h 1898882"/>
                <a:gd name="connsiteX89" fmla="*/ 1067913 w 4011346"/>
                <a:gd name="connsiteY89" fmla="*/ 1381611 h 1898882"/>
                <a:gd name="connsiteX90" fmla="*/ 1087936 w 4011346"/>
                <a:gd name="connsiteY90" fmla="*/ 1408309 h 1898882"/>
                <a:gd name="connsiteX91" fmla="*/ 1074587 w 4011346"/>
                <a:gd name="connsiteY91" fmla="*/ 1421658 h 1898882"/>
                <a:gd name="connsiteX92" fmla="*/ 1104622 w 4011346"/>
                <a:gd name="connsiteY92" fmla="*/ 1421658 h 1898882"/>
                <a:gd name="connsiteX93" fmla="*/ 1107960 w 4011346"/>
                <a:gd name="connsiteY93" fmla="*/ 1438344 h 1898882"/>
                <a:gd name="connsiteX94" fmla="*/ 1121309 w 4011346"/>
                <a:gd name="connsiteY94" fmla="*/ 1421658 h 1898882"/>
                <a:gd name="connsiteX95" fmla="*/ 1134657 w 4011346"/>
                <a:gd name="connsiteY95" fmla="*/ 1435007 h 1898882"/>
                <a:gd name="connsiteX96" fmla="*/ 1134657 w 4011346"/>
                <a:gd name="connsiteY96" fmla="*/ 1455030 h 1898882"/>
                <a:gd name="connsiteX97" fmla="*/ 1148006 w 4011346"/>
                <a:gd name="connsiteY97" fmla="*/ 1451693 h 1898882"/>
                <a:gd name="connsiteX98" fmla="*/ 1208076 w 4011346"/>
                <a:gd name="connsiteY98" fmla="*/ 1404972 h 1898882"/>
                <a:gd name="connsiteX99" fmla="*/ 1211414 w 4011346"/>
                <a:gd name="connsiteY99" fmla="*/ 1424995 h 1898882"/>
                <a:gd name="connsiteX100" fmla="*/ 1244786 w 4011346"/>
                <a:gd name="connsiteY100" fmla="*/ 1445019 h 1898882"/>
                <a:gd name="connsiteX101" fmla="*/ 1264809 w 4011346"/>
                <a:gd name="connsiteY101" fmla="*/ 1475054 h 1898882"/>
                <a:gd name="connsiteX102" fmla="*/ 1298181 w 4011346"/>
                <a:gd name="connsiteY102" fmla="*/ 1581845 h 1898882"/>
                <a:gd name="connsiteX103" fmla="*/ 1308193 w 4011346"/>
                <a:gd name="connsiteY103" fmla="*/ 1538461 h 1898882"/>
                <a:gd name="connsiteX104" fmla="*/ 1344903 w 4011346"/>
                <a:gd name="connsiteY104" fmla="*/ 1558484 h 1898882"/>
                <a:gd name="connsiteX105" fmla="*/ 1388287 w 4011346"/>
                <a:gd name="connsiteY105" fmla="*/ 1558484 h 1898882"/>
                <a:gd name="connsiteX106" fmla="*/ 1394961 w 4011346"/>
                <a:gd name="connsiteY106" fmla="*/ 1581845 h 1898882"/>
                <a:gd name="connsiteX107" fmla="*/ 1435008 w 4011346"/>
                <a:gd name="connsiteY107" fmla="*/ 1605206 h 1898882"/>
                <a:gd name="connsiteX108" fmla="*/ 1465043 w 4011346"/>
                <a:gd name="connsiteY108" fmla="*/ 1605206 h 1898882"/>
                <a:gd name="connsiteX109" fmla="*/ 1491741 w 4011346"/>
                <a:gd name="connsiteY109" fmla="*/ 1618555 h 1898882"/>
                <a:gd name="connsiteX110" fmla="*/ 1535125 w 4011346"/>
                <a:gd name="connsiteY110" fmla="*/ 1575171 h 1898882"/>
                <a:gd name="connsiteX111" fmla="*/ 1571834 w 4011346"/>
                <a:gd name="connsiteY111" fmla="*/ 1555147 h 1898882"/>
                <a:gd name="connsiteX112" fmla="*/ 1608544 w 4011346"/>
                <a:gd name="connsiteY112" fmla="*/ 1558484 h 1898882"/>
                <a:gd name="connsiteX113" fmla="*/ 1655265 w 4011346"/>
                <a:gd name="connsiteY113" fmla="*/ 1571833 h 1898882"/>
                <a:gd name="connsiteX114" fmla="*/ 1681963 w 4011346"/>
                <a:gd name="connsiteY114" fmla="*/ 1588520 h 1898882"/>
                <a:gd name="connsiteX115" fmla="*/ 1735358 w 4011346"/>
                <a:gd name="connsiteY115" fmla="*/ 1581845 h 1898882"/>
                <a:gd name="connsiteX116" fmla="*/ 1745370 w 4011346"/>
                <a:gd name="connsiteY116" fmla="*/ 1561822 h 1898882"/>
                <a:gd name="connsiteX117" fmla="*/ 1738695 w 4011346"/>
                <a:gd name="connsiteY117" fmla="*/ 1541798 h 1898882"/>
                <a:gd name="connsiteX118" fmla="*/ 1765393 w 4011346"/>
                <a:gd name="connsiteY118" fmla="*/ 1515101 h 1898882"/>
                <a:gd name="connsiteX119" fmla="*/ 1778742 w 4011346"/>
                <a:gd name="connsiteY119" fmla="*/ 1511763 h 1898882"/>
                <a:gd name="connsiteX120" fmla="*/ 1812114 w 4011346"/>
                <a:gd name="connsiteY120" fmla="*/ 1528449 h 1898882"/>
                <a:gd name="connsiteX121" fmla="*/ 1852161 w 4011346"/>
                <a:gd name="connsiteY121" fmla="*/ 1541798 h 1898882"/>
                <a:gd name="connsiteX122" fmla="*/ 1858836 w 4011346"/>
                <a:gd name="connsiteY122" fmla="*/ 1568496 h 1898882"/>
                <a:gd name="connsiteX123" fmla="*/ 1872184 w 4011346"/>
                <a:gd name="connsiteY123" fmla="*/ 1575171 h 1898882"/>
                <a:gd name="connsiteX124" fmla="*/ 1902219 w 4011346"/>
                <a:gd name="connsiteY124" fmla="*/ 1578508 h 1898882"/>
                <a:gd name="connsiteX125" fmla="*/ 1932254 w 4011346"/>
                <a:gd name="connsiteY125" fmla="*/ 1561822 h 1898882"/>
                <a:gd name="connsiteX126" fmla="*/ 1962290 w 4011346"/>
                <a:gd name="connsiteY126" fmla="*/ 1575171 h 1898882"/>
                <a:gd name="connsiteX127" fmla="*/ 1985650 w 4011346"/>
                <a:gd name="connsiteY127" fmla="*/ 1588520 h 1898882"/>
                <a:gd name="connsiteX128" fmla="*/ 1995662 w 4011346"/>
                <a:gd name="connsiteY128" fmla="*/ 1598531 h 1898882"/>
                <a:gd name="connsiteX129" fmla="*/ 2032371 w 4011346"/>
                <a:gd name="connsiteY129" fmla="*/ 1618555 h 1898882"/>
                <a:gd name="connsiteX130" fmla="*/ 2069081 w 4011346"/>
                <a:gd name="connsiteY130" fmla="*/ 1615217 h 1898882"/>
                <a:gd name="connsiteX131" fmla="*/ 2142500 w 4011346"/>
                <a:gd name="connsiteY131" fmla="*/ 1571833 h 1898882"/>
                <a:gd name="connsiteX132" fmla="*/ 2195895 w 4011346"/>
                <a:gd name="connsiteY132" fmla="*/ 1585182 h 1898882"/>
                <a:gd name="connsiteX133" fmla="*/ 2225930 w 4011346"/>
                <a:gd name="connsiteY133" fmla="*/ 1595194 h 1898882"/>
                <a:gd name="connsiteX134" fmla="*/ 2259303 w 4011346"/>
                <a:gd name="connsiteY134" fmla="*/ 1581845 h 1898882"/>
                <a:gd name="connsiteX135" fmla="*/ 2262640 w 4011346"/>
                <a:gd name="connsiteY135" fmla="*/ 1555147 h 1898882"/>
                <a:gd name="connsiteX136" fmla="*/ 2282663 w 4011346"/>
                <a:gd name="connsiteY136" fmla="*/ 1525112 h 1898882"/>
                <a:gd name="connsiteX137" fmla="*/ 2299349 w 4011346"/>
                <a:gd name="connsiteY137" fmla="*/ 1471717 h 1898882"/>
                <a:gd name="connsiteX138" fmla="*/ 2282663 w 4011346"/>
                <a:gd name="connsiteY138" fmla="*/ 1475054 h 1898882"/>
                <a:gd name="connsiteX139" fmla="*/ 2312698 w 4011346"/>
                <a:gd name="connsiteY139" fmla="*/ 1448356 h 1898882"/>
                <a:gd name="connsiteX140" fmla="*/ 2339396 w 4011346"/>
                <a:gd name="connsiteY140" fmla="*/ 1445019 h 1898882"/>
                <a:gd name="connsiteX141" fmla="*/ 2396129 w 4011346"/>
                <a:gd name="connsiteY141" fmla="*/ 1455030 h 1898882"/>
                <a:gd name="connsiteX142" fmla="*/ 2436176 w 4011346"/>
                <a:gd name="connsiteY142" fmla="*/ 1481728 h 1898882"/>
                <a:gd name="connsiteX143" fmla="*/ 2462873 w 4011346"/>
                <a:gd name="connsiteY143" fmla="*/ 1511763 h 1898882"/>
                <a:gd name="connsiteX144" fmla="*/ 2469548 w 4011346"/>
                <a:gd name="connsiteY144" fmla="*/ 1548473 h 1898882"/>
                <a:gd name="connsiteX145" fmla="*/ 2476222 w 4011346"/>
                <a:gd name="connsiteY145" fmla="*/ 1588520 h 1898882"/>
                <a:gd name="connsiteX146" fmla="*/ 2486234 w 4011346"/>
                <a:gd name="connsiteY146" fmla="*/ 1608543 h 1898882"/>
                <a:gd name="connsiteX147" fmla="*/ 2529618 w 4011346"/>
                <a:gd name="connsiteY147" fmla="*/ 1621892 h 1898882"/>
                <a:gd name="connsiteX148" fmla="*/ 2549641 w 4011346"/>
                <a:gd name="connsiteY148" fmla="*/ 1641915 h 1898882"/>
                <a:gd name="connsiteX149" fmla="*/ 2562990 w 4011346"/>
                <a:gd name="connsiteY149" fmla="*/ 1675287 h 1898882"/>
                <a:gd name="connsiteX150" fmla="*/ 2586351 w 4011346"/>
                <a:gd name="connsiteY150" fmla="*/ 1668613 h 1898882"/>
                <a:gd name="connsiteX151" fmla="*/ 2606374 w 4011346"/>
                <a:gd name="connsiteY151" fmla="*/ 1658601 h 1898882"/>
                <a:gd name="connsiteX152" fmla="*/ 2639746 w 4011346"/>
                <a:gd name="connsiteY152" fmla="*/ 1641915 h 1898882"/>
                <a:gd name="connsiteX153" fmla="*/ 2643084 w 4011346"/>
                <a:gd name="connsiteY153" fmla="*/ 1658601 h 1898882"/>
                <a:gd name="connsiteX154" fmla="*/ 2626398 w 4011346"/>
                <a:gd name="connsiteY154" fmla="*/ 1688636 h 1898882"/>
                <a:gd name="connsiteX155" fmla="*/ 2616386 w 4011346"/>
                <a:gd name="connsiteY155" fmla="*/ 1725346 h 1898882"/>
                <a:gd name="connsiteX156" fmla="*/ 2603037 w 4011346"/>
                <a:gd name="connsiteY156" fmla="*/ 1778741 h 1898882"/>
                <a:gd name="connsiteX157" fmla="*/ 2579676 w 4011346"/>
                <a:gd name="connsiteY157" fmla="*/ 1752044 h 1898882"/>
                <a:gd name="connsiteX158" fmla="*/ 2552979 w 4011346"/>
                <a:gd name="connsiteY158" fmla="*/ 1775404 h 1898882"/>
                <a:gd name="connsiteX159" fmla="*/ 2559653 w 4011346"/>
                <a:gd name="connsiteY159" fmla="*/ 1802102 h 1898882"/>
                <a:gd name="connsiteX160" fmla="*/ 2559653 w 4011346"/>
                <a:gd name="connsiteY160" fmla="*/ 1838811 h 1898882"/>
                <a:gd name="connsiteX161" fmla="*/ 2549641 w 4011346"/>
                <a:gd name="connsiteY161" fmla="*/ 1858835 h 1898882"/>
                <a:gd name="connsiteX162" fmla="*/ 2589688 w 4011346"/>
                <a:gd name="connsiteY162" fmla="*/ 1838811 h 1898882"/>
                <a:gd name="connsiteX163" fmla="*/ 2626398 w 4011346"/>
                <a:gd name="connsiteY163" fmla="*/ 1848823 h 1898882"/>
                <a:gd name="connsiteX164" fmla="*/ 2653095 w 4011346"/>
                <a:gd name="connsiteY164" fmla="*/ 1825463 h 1898882"/>
                <a:gd name="connsiteX165" fmla="*/ 2683130 w 4011346"/>
                <a:gd name="connsiteY165" fmla="*/ 1772067 h 1898882"/>
                <a:gd name="connsiteX166" fmla="*/ 2753212 w 4011346"/>
                <a:gd name="connsiteY166" fmla="*/ 1685299 h 1898882"/>
                <a:gd name="connsiteX167" fmla="*/ 2783247 w 4011346"/>
                <a:gd name="connsiteY167" fmla="*/ 1615217 h 1898882"/>
                <a:gd name="connsiteX168" fmla="*/ 2803271 w 4011346"/>
                <a:gd name="connsiteY168" fmla="*/ 1511763 h 1898882"/>
                <a:gd name="connsiteX169" fmla="*/ 2793259 w 4011346"/>
                <a:gd name="connsiteY169" fmla="*/ 1461705 h 1898882"/>
                <a:gd name="connsiteX170" fmla="*/ 2769898 w 4011346"/>
                <a:gd name="connsiteY170" fmla="*/ 1428333 h 1898882"/>
                <a:gd name="connsiteX171" fmla="*/ 2726514 w 4011346"/>
                <a:gd name="connsiteY171" fmla="*/ 1428333 h 1898882"/>
                <a:gd name="connsiteX172" fmla="*/ 2699817 w 4011346"/>
                <a:gd name="connsiteY172" fmla="*/ 1428333 h 1898882"/>
                <a:gd name="connsiteX173" fmla="*/ 2683130 w 4011346"/>
                <a:gd name="connsiteY173" fmla="*/ 1408309 h 1898882"/>
                <a:gd name="connsiteX174" fmla="*/ 2669781 w 4011346"/>
                <a:gd name="connsiteY174" fmla="*/ 1388286 h 1898882"/>
                <a:gd name="connsiteX175" fmla="*/ 2763224 w 4011346"/>
                <a:gd name="connsiteY175" fmla="*/ 1271483 h 1898882"/>
                <a:gd name="connsiteX176" fmla="*/ 2846654 w 4011346"/>
                <a:gd name="connsiteY176" fmla="*/ 1204739 h 1898882"/>
                <a:gd name="connsiteX177" fmla="*/ 2890038 w 4011346"/>
                <a:gd name="connsiteY177" fmla="*/ 1181378 h 1898882"/>
                <a:gd name="connsiteX178" fmla="*/ 2933422 w 4011346"/>
                <a:gd name="connsiteY178" fmla="*/ 1201401 h 1898882"/>
                <a:gd name="connsiteX179" fmla="*/ 2950109 w 4011346"/>
                <a:gd name="connsiteY179" fmla="*/ 1184715 h 1898882"/>
                <a:gd name="connsiteX180" fmla="*/ 2993492 w 4011346"/>
                <a:gd name="connsiteY180" fmla="*/ 1201401 h 1898882"/>
                <a:gd name="connsiteX181" fmla="*/ 3006841 w 4011346"/>
                <a:gd name="connsiteY181" fmla="*/ 1168029 h 1898882"/>
                <a:gd name="connsiteX182" fmla="*/ 3053563 w 4011346"/>
                <a:gd name="connsiteY182" fmla="*/ 1178041 h 1898882"/>
                <a:gd name="connsiteX183" fmla="*/ 3070249 w 4011346"/>
                <a:gd name="connsiteY183" fmla="*/ 1194727 h 1898882"/>
                <a:gd name="connsiteX184" fmla="*/ 3060237 w 4011346"/>
                <a:gd name="connsiteY184" fmla="*/ 1214750 h 1898882"/>
                <a:gd name="connsiteX185" fmla="*/ 3123644 w 4011346"/>
                <a:gd name="connsiteY185" fmla="*/ 1198064 h 1898882"/>
                <a:gd name="connsiteX186" fmla="*/ 3140330 w 4011346"/>
                <a:gd name="connsiteY186" fmla="*/ 1184715 h 1898882"/>
                <a:gd name="connsiteX187" fmla="*/ 3123644 w 4011346"/>
                <a:gd name="connsiteY187" fmla="*/ 1171366 h 1898882"/>
                <a:gd name="connsiteX188" fmla="*/ 3143668 w 4011346"/>
                <a:gd name="connsiteY188" fmla="*/ 1131320 h 1898882"/>
                <a:gd name="connsiteX189" fmla="*/ 3190389 w 4011346"/>
                <a:gd name="connsiteY189" fmla="*/ 1061238 h 1898882"/>
                <a:gd name="connsiteX190" fmla="*/ 3233773 w 4011346"/>
                <a:gd name="connsiteY190" fmla="*/ 1057901 h 1898882"/>
                <a:gd name="connsiteX191" fmla="*/ 3273819 w 4011346"/>
                <a:gd name="connsiteY191" fmla="*/ 1067912 h 1898882"/>
                <a:gd name="connsiteX192" fmla="*/ 3277157 w 4011346"/>
                <a:gd name="connsiteY192" fmla="*/ 1124645 h 1898882"/>
                <a:gd name="connsiteX193" fmla="*/ 3320541 w 4011346"/>
                <a:gd name="connsiteY193" fmla="*/ 1081261 h 1898882"/>
                <a:gd name="connsiteX194" fmla="*/ 3343901 w 4011346"/>
                <a:gd name="connsiteY194" fmla="*/ 1064575 h 1898882"/>
                <a:gd name="connsiteX195" fmla="*/ 3350576 w 4011346"/>
                <a:gd name="connsiteY195" fmla="*/ 1031203 h 1898882"/>
                <a:gd name="connsiteX196" fmla="*/ 3377273 w 4011346"/>
                <a:gd name="connsiteY196" fmla="*/ 1014517 h 1898882"/>
                <a:gd name="connsiteX197" fmla="*/ 3407309 w 4011346"/>
                <a:gd name="connsiteY197" fmla="*/ 1024528 h 1898882"/>
                <a:gd name="connsiteX198" fmla="*/ 3373936 w 4011346"/>
                <a:gd name="connsiteY198" fmla="*/ 1054563 h 1898882"/>
                <a:gd name="connsiteX199" fmla="*/ 3360587 w 4011346"/>
                <a:gd name="connsiteY199" fmla="*/ 1104622 h 1898882"/>
                <a:gd name="connsiteX200" fmla="*/ 3323878 w 4011346"/>
                <a:gd name="connsiteY200" fmla="*/ 1144668 h 1898882"/>
                <a:gd name="connsiteX201" fmla="*/ 3210412 w 4011346"/>
                <a:gd name="connsiteY201" fmla="*/ 1241448 h 1898882"/>
                <a:gd name="connsiteX202" fmla="*/ 3163691 w 4011346"/>
                <a:gd name="connsiteY202" fmla="*/ 1311530 h 1898882"/>
                <a:gd name="connsiteX203" fmla="*/ 3160354 w 4011346"/>
                <a:gd name="connsiteY203" fmla="*/ 1384949 h 1898882"/>
                <a:gd name="connsiteX204" fmla="*/ 3170365 w 4011346"/>
                <a:gd name="connsiteY204" fmla="*/ 1475054 h 1898882"/>
                <a:gd name="connsiteX205" fmla="*/ 3190389 w 4011346"/>
                <a:gd name="connsiteY205" fmla="*/ 1538461 h 1898882"/>
                <a:gd name="connsiteX206" fmla="*/ 3217087 w 4011346"/>
                <a:gd name="connsiteY206" fmla="*/ 1528449 h 1898882"/>
                <a:gd name="connsiteX207" fmla="*/ 3240447 w 4011346"/>
                <a:gd name="connsiteY207" fmla="*/ 1461705 h 1898882"/>
                <a:gd name="connsiteX208" fmla="*/ 3270482 w 4011346"/>
                <a:gd name="connsiteY208" fmla="*/ 1458368 h 1898882"/>
                <a:gd name="connsiteX209" fmla="*/ 3287168 w 4011346"/>
                <a:gd name="connsiteY209" fmla="*/ 1398298 h 1898882"/>
                <a:gd name="connsiteX210" fmla="*/ 3313866 w 4011346"/>
                <a:gd name="connsiteY210" fmla="*/ 1388286 h 1898882"/>
                <a:gd name="connsiteX211" fmla="*/ 3313866 w 4011346"/>
                <a:gd name="connsiteY211" fmla="*/ 1358251 h 1898882"/>
                <a:gd name="connsiteX212" fmla="*/ 3337227 w 4011346"/>
                <a:gd name="connsiteY212" fmla="*/ 1321541 h 1898882"/>
                <a:gd name="connsiteX213" fmla="*/ 3330552 w 4011346"/>
                <a:gd name="connsiteY213" fmla="*/ 1278157 h 1898882"/>
                <a:gd name="connsiteX214" fmla="*/ 3333890 w 4011346"/>
                <a:gd name="connsiteY214" fmla="*/ 1248122 h 1898882"/>
                <a:gd name="connsiteX215" fmla="*/ 3323878 w 4011346"/>
                <a:gd name="connsiteY215" fmla="*/ 1238111 h 1898882"/>
                <a:gd name="connsiteX216" fmla="*/ 3363925 w 4011346"/>
                <a:gd name="connsiteY216" fmla="*/ 1151343 h 1898882"/>
                <a:gd name="connsiteX217" fmla="*/ 3383948 w 4011346"/>
                <a:gd name="connsiteY217" fmla="*/ 1161355 h 1898882"/>
                <a:gd name="connsiteX218" fmla="*/ 3410646 w 4011346"/>
                <a:gd name="connsiteY218" fmla="*/ 1134657 h 1898882"/>
                <a:gd name="connsiteX219" fmla="*/ 3420657 w 4011346"/>
                <a:gd name="connsiteY219" fmla="*/ 1161355 h 1898882"/>
                <a:gd name="connsiteX220" fmla="*/ 3447355 w 4011346"/>
                <a:gd name="connsiteY220" fmla="*/ 1144668 h 1898882"/>
                <a:gd name="connsiteX221" fmla="*/ 3477390 w 4011346"/>
                <a:gd name="connsiteY221" fmla="*/ 1134657 h 1898882"/>
                <a:gd name="connsiteX222" fmla="*/ 3514100 w 4011346"/>
                <a:gd name="connsiteY222" fmla="*/ 1161355 h 1898882"/>
                <a:gd name="connsiteX223" fmla="*/ 3574170 w 4011346"/>
                <a:gd name="connsiteY223" fmla="*/ 1094610 h 1898882"/>
                <a:gd name="connsiteX224" fmla="*/ 3637577 w 4011346"/>
                <a:gd name="connsiteY224" fmla="*/ 1047889 h 1898882"/>
                <a:gd name="connsiteX225" fmla="*/ 3690973 w 4011346"/>
                <a:gd name="connsiteY225" fmla="*/ 1011179 h 1898882"/>
                <a:gd name="connsiteX226" fmla="*/ 3741031 w 4011346"/>
                <a:gd name="connsiteY226" fmla="*/ 1037877 h 1898882"/>
                <a:gd name="connsiteX227" fmla="*/ 3751043 w 4011346"/>
                <a:gd name="connsiteY227" fmla="*/ 1011179 h 1898882"/>
                <a:gd name="connsiteX228" fmla="*/ 3727682 w 4011346"/>
                <a:gd name="connsiteY228" fmla="*/ 944435 h 1898882"/>
                <a:gd name="connsiteX229" fmla="*/ 3700984 w 4011346"/>
                <a:gd name="connsiteY229" fmla="*/ 927749 h 1898882"/>
                <a:gd name="connsiteX230" fmla="*/ 3697647 w 4011346"/>
                <a:gd name="connsiteY230" fmla="*/ 897714 h 1898882"/>
                <a:gd name="connsiteX231" fmla="*/ 3751043 w 4011346"/>
                <a:gd name="connsiteY231" fmla="*/ 904388 h 1898882"/>
                <a:gd name="connsiteX232" fmla="*/ 3774403 w 4011346"/>
                <a:gd name="connsiteY232" fmla="*/ 861004 h 1898882"/>
                <a:gd name="connsiteX233" fmla="*/ 3767729 w 4011346"/>
                <a:gd name="connsiteY233" fmla="*/ 834306 h 1898882"/>
                <a:gd name="connsiteX234" fmla="*/ 3794427 w 4011346"/>
                <a:gd name="connsiteY234" fmla="*/ 800934 h 1898882"/>
                <a:gd name="connsiteX235" fmla="*/ 3804438 w 4011346"/>
                <a:gd name="connsiteY235" fmla="*/ 844318 h 1898882"/>
                <a:gd name="connsiteX236" fmla="*/ 3827799 w 4011346"/>
                <a:gd name="connsiteY236" fmla="*/ 861004 h 1898882"/>
                <a:gd name="connsiteX237" fmla="*/ 3874520 w 4011346"/>
                <a:gd name="connsiteY237" fmla="*/ 881028 h 1898882"/>
                <a:gd name="connsiteX238" fmla="*/ 3894544 w 4011346"/>
                <a:gd name="connsiteY238" fmla="*/ 907725 h 1898882"/>
                <a:gd name="connsiteX239" fmla="*/ 3941265 w 4011346"/>
                <a:gd name="connsiteY239" fmla="*/ 931086 h 1898882"/>
                <a:gd name="connsiteX240" fmla="*/ 3947939 w 4011346"/>
                <a:gd name="connsiteY240" fmla="*/ 917737 h 1898882"/>
                <a:gd name="connsiteX241" fmla="*/ 3957951 w 4011346"/>
                <a:gd name="connsiteY241" fmla="*/ 854330 h 1898882"/>
                <a:gd name="connsiteX242" fmla="*/ 4004672 w 4011346"/>
                <a:gd name="connsiteY242" fmla="*/ 847655 h 1898882"/>
                <a:gd name="connsiteX243" fmla="*/ 4011346 w 4011346"/>
                <a:gd name="connsiteY243" fmla="*/ 814283 h 1898882"/>
                <a:gd name="connsiteX244" fmla="*/ 3967963 w 4011346"/>
                <a:gd name="connsiteY244" fmla="*/ 777574 h 1898882"/>
                <a:gd name="connsiteX245" fmla="*/ 3921241 w 4011346"/>
                <a:gd name="connsiteY245" fmla="*/ 760887 h 1898882"/>
                <a:gd name="connsiteX246" fmla="*/ 3907892 w 4011346"/>
                <a:gd name="connsiteY246" fmla="*/ 764225 h 1898882"/>
                <a:gd name="connsiteX247" fmla="*/ 3907892 w 4011346"/>
                <a:gd name="connsiteY247" fmla="*/ 797597 h 1898882"/>
                <a:gd name="connsiteX248" fmla="*/ 3887869 w 4011346"/>
                <a:gd name="connsiteY248" fmla="*/ 790922 h 1898882"/>
                <a:gd name="connsiteX249" fmla="*/ 3874520 w 4011346"/>
                <a:gd name="connsiteY249" fmla="*/ 737527 h 1898882"/>
                <a:gd name="connsiteX250" fmla="*/ 3817787 w 4011346"/>
                <a:gd name="connsiteY250" fmla="*/ 674120 h 1898882"/>
                <a:gd name="connsiteX251" fmla="*/ 3717671 w 4011346"/>
                <a:gd name="connsiteY251" fmla="*/ 597363 h 1898882"/>
                <a:gd name="connsiteX252" fmla="*/ 3664275 w 4011346"/>
                <a:gd name="connsiteY252" fmla="*/ 577340 h 1898882"/>
                <a:gd name="connsiteX253" fmla="*/ 3584181 w 4011346"/>
                <a:gd name="connsiteY253" fmla="*/ 570666 h 1898882"/>
                <a:gd name="connsiteX254" fmla="*/ 3520774 w 4011346"/>
                <a:gd name="connsiteY254" fmla="*/ 553979 h 1898882"/>
                <a:gd name="connsiteX255" fmla="*/ 3530786 w 4011346"/>
                <a:gd name="connsiteY255" fmla="*/ 594026 h 1898882"/>
                <a:gd name="connsiteX256" fmla="*/ 3537460 w 4011346"/>
                <a:gd name="connsiteY256" fmla="*/ 620724 h 1898882"/>
                <a:gd name="connsiteX257" fmla="*/ 3507425 w 4011346"/>
                <a:gd name="connsiteY257" fmla="*/ 644084 h 1898882"/>
                <a:gd name="connsiteX258" fmla="*/ 3477390 w 4011346"/>
                <a:gd name="connsiteY258" fmla="*/ 617387 h 1898882"/>
                <a:gd name="connsiteX259" fmla="*/ 3477390 w 4011346"/>
                <a:gd name="connsiteY259" fmla="*/ 597363 h 1898882"/>
                <a:gd name="connsiteX260" fmla="*/ 3504088 w 4011346"/>
                <a:gd name="connsiteY260" fmla="*/ 577340 h 1898882"/>
                <a:gd name="connsiteX261" fmla="*/ 3467379 w 4011346"/>
                <a:gd name="connsiteY261" fmla="*/ 563991 h 1898882"/>
                <a:gd name="connsiteX262" fmla="*/ 3450692 w 4011346"/>
                <a:gd name="connsiteY262" fmla="*/ 590689 h 1898882"/>
                <a:gd name="connsiteX263" fmla="*/ 3440681 w 4011346"/>
                <a:gd name="connsiteY263" fmla="*/ 604038 h 1898882"/>
                <a:gd name="connsiteX264" fmla="*/ 3357250 w 4011346"/>
                <a:gd name="connsiteY264" fmla="*/ 590689 h 1898882"/>
                <a:gd name="connsiteX265" fmla="*/ 3297180 w 4011346"/>
                <a:gd name="connsiteY265" fmla="*/ 597363 h 1898882"/>
                <a:gd name="connsiteX266" fmla="*/ 3267145 w 4011346"/>
                <a:gd name="connsiteY266" fmla="*/ 574003 h 1898882"/>
                <a:gd name="connsiteX267" fmla="*/ 3267145 w 4011346"/>
                <a:gd name="connsiteY267" fmla="*/ 537293 h 1898882"/>
                <a:gd name="connsiteX268" fmla="*/ 3203738 w 4011346"/>
                <a:gd name="connsiteY268" fmla="*/ 480560 h 1898882"/>
                <a:gd name="connsiteX269" fmla="*/ 3076923 w 4011346"/>
                <a:gd name="connsiteY269" fmla="*/ 487235 h 1898882"/>
                <a:gd name="connsiteX270" fmla="*/ 3043551 w 4011346"/>
                <a:gd name="connsiteY270" fmla="*/ 463874 h 1898882"/>
                <a:gd name="connsiteX271" fmla="*/ 3000167 w 4011346"/>
                <a:gd name="connsiteY271" fmla="*/ 417153 h 1898882"/>
                <a:gd name="connsiteX272" fmla="*/ 3013516 w 4011346"/>
                <a:gd name="connsiteY272" fmla="*/ 410479 h 1898882"/>
                <a:gd name="connsiteX273" fmla="*/ 3000167 w 4011346"/>
                <a:gd name="connsiteY273" fmla="*/ 390455 h 1898882"/>
                <a:gd name="connsiteX274" fmla="*/ 2970132 w 4011346"/>
                <a:gd name="connsiteY274" fmla="*/ 387118 h 1898882"/>
                <a:gd name="connsiteX275" fmla="*/ 2920073 w 4011346"/>
                <a:gd name="connsiteY275" fmla="*/ 433839 h 1898882"/>
                <a:gd name="connsiteX276" fmla="*/ 2920073 w 4011346"/>
                <a:gd name="connsiteY276" fmla="*/ 433839 h 1898882"/>
                <a:gd name="connsiteX277" fmla="*/ 2916736 w 4011346"/>
                <a:gd name="connsiteY277" fmla="*/ 383781 h 1898882"/>
                <a:gd name="connsiteX278" fmla="*/ 2936760 w 4011346"/>
                <a:gd name="connsiteY278" fmla="*/ 380444 h 1898882"/>
                <a:gd name="connsiteX279" fmla="*/ 2866678 w 4011346"/>
                <a:gd name="connsiteY279" fmla="*/ 350409 h 1898882"/>
                <a:gd name="connsiteX280" fmla="*/ 2813282 w 4011346"/>
                <a:gd name="connsiteY280" fmla="*/ 347071 h 1898882"/>
                <a:gd name="connsiteX281" fmla="*/ 2793259 w 4011346"/>
                <a:gd name="connsiteY281" fmla="*/ 370432 h 1898882"/>
                <a:gd name="connsiteX282" fmla="*/ 2743200 w 4011346"/>
                <a:gd name="connsiteY282" fmla="*/ 380444 h 1898882"/>
                <a:gd name="connsiteX283" fmla="*/ 2786584 w 4011346"/>
                <a:gd name="connsiteY283" fmla="*/ 390455 h 1898882"/>
                <a:gd name="connsiteX284" fmla="*/ 2763224 w 4011346"/>
                <a:gd name="connsiteY284" fmla="*/ 410479 h 1898882"/>
                <a:gd name="connsiteX285" fmla="*/ 2769898 w 4011346"/>
                <a:gd name="connsiteY285" fmla="*/ 460537 h 1898882"/>
                <a:gd name="connsiteX286" fmla="*/ 2749875 w 4011346"/>
                <a:gd name="connsiteY286" fmla="*/ 443851 h 1898882"/>
                <a:gd name="connsiteX287" fmla="*/ 2733189 w 4011346"/>
                <a:gd name="connsiteY287" fmla="*/ 457200 h 1898882"/>
                <a:gd name="connsiteX288" fmla="*/ 2666444 w 4011346"/>
                <a:gd name="connsiteY288" fmla="*/ 447188 h 1898882"/>
                <a:gd name="connsiteX289" fmla="*/ 2636409 w 4011346"/>
                <a:gd name="connsiteY289" fmla="*/ 457200 h 1898882"/>
                <a:gd name="connsiteX290" fmla="*/ 2603037 w 4011346"/>
                <a:gd name="connsiteY290" fmla="*/ 417153 h 1898882"/>
                <a:gd name="connsiteX291" fmla="*/ 2569665 w 4011346"/>
                <a:gd name="connsiteY291" fmla="*/ 500584 h 1898882"/>
                <a:gd name="connsiteX292" fmla="*/ 2552979 w 4011346"/>
                <a:gd name="connsiteY292" fmla="*/ 520607 h 1898882"/>
                <a:gd name="connsiteX293" fmla="*/ 2469548 w 4011346"/>
                <a:gd name="connsiteY293" fmla="*/ 383781 h 1898882"/>
                <a:gd name="connsiteX294" fmla="*/ 2446187 w 4011346"/>
                <a:gd name="connsiteY294" fmla="*/ 400467 h 1898882"/>
                <a:gd name="connsiteX295" fmla="*/ 2442850 w 4011346"/>
                <a:gd name="connsiteY295" fmla="*/ 367095 h 1898882"/>
                <a:gd name="connsiteX296" fmla="*/ 2449525 w 4011346"/>
                <a:gd name="connsiteY296" fmla="*/ 297013 h 1898882"/>
                <a:gd name="connsiteX297" fmla="*/ 2386117 w 4011346"/>
                <a:gd name="connsiteY297" fmla="*/ 270315 h 1898882"/>
                <a:gd name="connsiteX298" fmla="*/ 2369431 w 4011346"/>
                <a:gd name="connsiteY298" fmla="*/ 310362 h 1898882"/>
                <a:gd name="connsiteX299" fmla="*/ 2379443 w 4011346"/>
                <a:gd name="connsiteY299" fmla="*/ 333722 h 1898882"/>
                <a:gd name="connsiteX300" fmla="*/ 2376106 w 4011346"/>
                <a:gd name="connsiteY300" fmla="*/ 353746 h 1898882"/>
                <a:gd name="connsiteX301" fmla="*/ 2352745 w 4011346"/>
                <a:gd name="connsiteY301" fmla="*/ 330385 h 1898882"/>
                <a:gd name="connsiteX302" fmla="*/ 2316036 w 4011346"/>
                <a:gd name="connsiteY302" fmla="*/ 337060 h 1898882"/>
                <a:gd name="connsiteX303" fmla="*/ 2272652 w 4011346"/>
                <a:gd name="connsiteY303" fmla="*/ 323711 h 1898882"/>
                <a:gd name="connsiteX304" fmla="*/ 2245954 w 4011346"/>
                <a:gd name="connsiteY304" fmla="*/ 283664 h 1898882"/>
                <a:gd name="connsiteX305" fmla="*/ 2209244 w 4011346"/>
                <a:gd name="connsiteY305" fmla="*/ 280327 h 1898882"/>
                <a:gd name="connsiteX306" fmla="*/ 2159186 w 4011346"/>
                <a:gd name="connsiteY306" fmla="*/ 270315 h 1898882"/>
                <a:gd name="connsiteX307" fmla="*/ 2132488 w 4011346"/>
                <a:gd name="connsiteY307" fmla="*/ 287001 h 1898882"/>
                <a:gd name="connsiteX308" fmla="*/ 2115802 w 4011346"/>
                <a:gd name="connsiteY308" fmla="*/ 300350 h 1898882"/>
                <a:gd name="connsiteX309" fmla="*/ 2115802 w 4011346"/>
                <a:gd name="connsiteY309" fmla="*/ 270315 h 1898882"/>
                <a:gd name="connsiteX310" fmla="*/ 2082430 w 4011346"/>
                <a:gd name="connsiteY310" fmla="*/ 266978 h 1898882"/>
                <a:gd name="connsiteX311" fmla="*/ 2045720 w 4011346"/>
                <a:gd name="connsiteY311" fmla="*/ 240280 h 1898882"/>
                <a:gd name="connsiteX312" fmla="*/ 2025697 w 4011346"/>
                <a:gd name="connsiteY312" fmla="*/ 270315 h 1898882"/>
                <a:gd name="connsiteX313" fmla="*/ 2055732 w 4011346"/>
                <a:gd name="connsiteY313" fmla="*/ 266978 h 1898882"/>
                <a:gd name="connsiteX314" fmla="*/ 2045720 w 4011346"/>
                <a:gd name="connsiteY314" fmla="*/ 293676 h 1898882"/>
                <a:gd name="connsiteX315" fmla="*/ 1988987 w 4011346"/>
                <a:gd name="connsiteY315" fmla="*/ 313699 h 1898882"/>
                <a:gd name="connsiteX316" fmla="*/ 1935592 w 4011346"/>
                <a:gd name="connsiteY316" fmla="*/ 323711 h 1898882"/>
                <a:gd name="connsiteX317" fmla="*/ 1995662 w 4011346"/>
                <a:gd name="connsiteY317" fmla="*/ 266978 h 1898882"/>
                <a:gd name="connsiteX318" fmla="*/ 2055732 w 4011346"/>
                <a:gd name="connsiteY318" fmla="*/ 196896 h 1898882"/>
                <a:gd name="connsiteX319" fmla="*/ 2055732 w 4011346"/>
                <a:gd name="connsiteY319" fmla="*/ 196896 h 1898882"/>
                <a:gd name="connsiteX320" fmla="*/ 1868847 w 4011346"/>
                <a:gd name="connsiteY320" fmla="*/ 40048 h 1898882"/>
                <a:gd name="connsiteX321" fmla="*/ 1838813 w 4011346"/>
                <a:gd name="connsiteY321" fmla="*/ 13349 h 1898882"/>
                <a:gd name="connsiteX322" fmla="*/ 1782079 w 4011346"/>
                <a:gd name="connsiteY322" fmla="*/ 0 h 1898882"/>
                <a:gd name="connsiteX323" fmla="*/ 1768731 w 4011346"/>
                <a:gd name="connsiteY323" fmla="*/ 46722 h 1898882"/>
                <a:gd name="connsiteX324" fmla="*/ 1705322 w 4011346"/>
                <a:gd name="connsiteY324" fmla="*/ 70082 h 1898882"/>
                <a:gd name="connsiteX325" fmla="*/ 1685300 w 4011346"/>
                <a:gd name="connsiteY325" fmla="*/ 43384 h 1898882"/>
                <a:gd name="connsiteX326" fmla="*/ 1615218 w 4011346"/>
                <a:gd name="connsiteY326" fmla="*/ 46722 h 1898882"/>
                <a:gd name="connsiteX327" fmla="*/ 1638579 w 4011346"/>
                <a:gd name="connsiteY327" fmla="*/ 76757 h 1898882"/>
                <a:gd name="connsiteX328" fmla="*/ 1528449 w 4011346"/>
                <a:gd name="connsiteY328" fmla="*/ 103453 h 1898882"/>
                <a:gd name="connsiteX329" fmla="*/ 1465043 w 4011346"/>
                <a:gd name="connsiteY329" fmla="*/ 186884 h 1898882"/>
                <a:gd name="connsiteX330" fmla="*/ 1448357 w 4011346"/>
                <a:gd name="connsiteY330" fmla="*/ 213582 h 1898882"/>
                <a:gd name="connsiteX331" fmla="*/ 1481729 w 4011346"/>
                <a:gd name="connsiteY331" fmla="*/ 246955 h 1898882"/>
                <a:gd name="connsiteX332" fmla="*/ 1481729 w 4011346"/>
                <a:gd name="connsiteY332" fmla="*/ 276990 h 1898882"/>
                <a:gd name="connsiteX333" fmla="*/ 1458368 w 4011346"/>
                <a:gd name="connsiteY333" fmla="*/ 280327 h 1898882"/>
                <a:gd name="connsiteX334" fmla="*/ 1458368 w 4011346"/>
                <a:gd name="connsiteY334" fmla="*/ 260303 h 1898882"/>
                <a:gd name="connsiteX335" fmla="*/ 1418322 w 4011346"/>
                <a:gd name="connsiteY335" fmla="*/ 270315 h 1898882"/>
                <a:gd name="connsiteX336" fmla="*/ 1368263 w 4011346"/>
                <a:gd name="connsiteY336" fmla="*/ 276990 h 1898882"/>
                <a:gd name="connsiteX337" fmla="*/ 1321542 w 4011346"/>
                <a:gd name="connsiteY337" fmla="*/ 283664 h 1898882"/>
                <a:gd name="connsiteX338" fmla="*/ 1318205 w 4011346"/>
                <a:gd name="connsiteY338" fmla="*/ 370432 h 1898882"/>
                <a:gd name="connsiteX339" fmla="*/ 1358252 w 4011346"/>
                <a:gd name="connsiteY339" fmla="*/ 393793 h 1898882"/>
                <a:gd name="connsiteX340" fmla="*/ 1374938 w 4011346"/>
                <a:gd name="connsiteY340" fmla="*/ 423828 h 1898882"/>
                <a:gd name="connsiteX341" fmla="*/ 1384949 w 4011346"/>
                <a:gd name="connsiteY341" fmla="*/ 447188 h 1898882"/>
                <a:gd name="connsiteX342" fmla="*/ 1394961 w 4011346"/>
                <a:gd name="connsiteY342" fmla="*/ 497247 h 1898882"/>
                <a:gd name="connsiteX343" fmla="*/ 1384949 w 4011346"/>
                <a:gd name="connsiteY343" fmla="*/ 527282 h 1898882"/>
                <a:gd name="connsiteX344" fmla="*/ 1358252 w 4011346"/>
                <a:gd name="connsiteY344" fmla="*/ 493909 h 1898882"/>
                <a:gd name="connsiteX345" fmla="*/ 1361589 w 4011346"/>
                <a:gd name="connsiteY345" fmla="*/ 463874 h 1898882"/>
                <a:gd name="connsiteX346" fmla="*/ 1351577 w 4011346"/>
                <a:gd name="connsiteY346" fmla="*/ 423828 h 1898882"/>
                <a:gd name="connsiteX347" fmla="*/ 1328217 w 4011346"/>
                <a:gd name="connsiteY347" fmla="*/ 430502 h 1898882"/>
                <a:gd name="connsiteX348" fmla="*/ 1281495 w 4011346"/>
                <a:gd name="connsiteY348" fmla="*/ 393793 h 1898882"/>
                <a:gd name="connsiteX349" fmla="*/ 1241449 w 4011346"/>
                <a:gd name="connsiteY349" fmla="*/ 390455 h 1898882"/>
                <a:gd name="connsiteX350" fmla="*/ 1241449 w 4011346"/>
                <a:gd name="connsiteY350" fmla="*/ 437176 h 1898882"/>
                <a:gd name="connsiteX351" fmla="*/ 1201402 w 4011346"/>
                <a:gd name="connsiteY351" fmla="*/ 417153 h 1898882"/>
                <a:gd name="connsiteX352" fmla="*/ 1228100 w 4011346"/>
                <a:gd name="connsiteY352" fmla="*/ 467211 h 1898882"/>
                <a:gd name="connsiteX353" fmla="*/ 1258135 w 4011346"/>
                <a:gd name="connsiteY353" fmla="*/ 477223 h 1898882"/>
                <a:gd name="connsiteX354" fmla="*/ 1258135 w 4011346"/>
                <a:gd name="connsiteY354" fmla="*/ 497247 h 1898882"/>
                <a:gd name="connsiteX355" fmla="*/ 1198065 w 4011346"/>
                <a:gd name="connsiteY355" fmla="*/ 473886 h 1898882"/>
                <a:gd name="connsiteX356" fmla="*/ 1181379 w 4011346"/>
                <a:gd name="connsiteY356" fmla="*/ 473886 h 1898882"/>
                <a:gd name="connsiteX357" fmla="*/ 1178041 w 4011346"/>
                <a:gd name="connsiteY357" fmla="*/ 430502 h 1898882"/>
                <a:gd name="connsiteX358" fmla="*/ 1171367 w 4011346"/>
                <a:gd name="connsiteY358" fmla="*/ 343734 h 1898882"/>
                <a:gd name="connsiteX359" fmla="*/ 1161355 w 4011346"/>
                <a:gd name="connsiteY359" fmla="*/ 413816 h 1898882"/>
                <a:gd name="connsiteX360" fmla="*/ 1137995 w 4011346"/>
                <a:gd name="connsiteY360" fmla="*/ 443851 h 1898882"/>
                <a:gd name="connsiteX361" fmla="*/ 1158018 w 4011346"/>
                <a:gd name="connsiteY361" fmla="*/ 490572 h 1898882"/>
                <a:gd name="connsiteX362" fmla="*/ 1158018 w 4011346"/>
                <a:gd name="connsiteY362" fmla="*/ 523944 h 1898882"/>
                <a:gd name="connsiteX363" fmla="*/ 1141332 w 4011346"/>
                <a:gd name="connsiteY363" fmla="*/ 574003 h 1898882"/>
                <a:gd name="connsiteX364" fmla="*/ 1154681 w 4011346"/>
                <a:gd name="connsiteY364" fmla="*/ 607375 h 1898882"/>
                <a:gd name="connsiteX365" fmla="*/ 1184716 w 4011346"/>
                <a:gd name="connsiteY365" fmla="*/ 614049 h 1898882"/>
                <a:gd name="connsiteX366" fmla="*/ 1221425 w 4011346"/>
                <a:gd name="connsiteY366" fmla="*/ 620724 h 1898882"/>
                <a:gd name="connsiteX367" fmla="*/ 1241449 w 4011346"/>
                <a:gd name="connsiteY367" fmla="*/ 644084 h 1898882"/>
                <a:gd name="connsiteX368" fmla="*/ 1258135 w 4011346"/>
                <a:gd name="connsiteY368" fmla="*/ 687468 h 1898882"/>
                <a:gd name="connsiteX369" fmla="*/ 1258135 w 4011346"/>
                <a:gd name="connsiteY369" fmla="*/ 687468 h 1898882"/>
                <a:gd name="connsiteX370" fmla="*/ 1254798 w 4011346"/>
                <a:gd name="connsiteY370" fmla="*/ 720841 h 1898882"/>
                <a:gd name="connsiteX371" fmla="*/ 1274821 w 4011346"/>
                <a:gd name="connsiteY371" fmla="*/ 740864 h 1898882"/>
                <a:gd name="connsiteX372" fmla="*/ 1244786 w 4011346"/>
                <a:gd name="connsiteY372" fmla="*/ 747539 h 1898882"/>
                <a:gd name="connsiteX373" fmla="*/ 1224763 w 4011346"/>
                <a:gd name="connsiteY373" fmla="*/ 707492 h 1898882"/>
                <a:gd name="connsiteX374" fmla="*/ 1224763 w 4011346"/>
                <a:gd name="connsiteY374" fmla="*/ 667445 h 1898882"/>
                <a:gd name="connsiteX375" fmla="*/ 1194727 w 4011346"/>
                <a:gd name="connsiteY375" fmla="*/ 630736 h 1898882"/>
                <a:gd name="connsiteX376" fmla="*/ 1164692 w 4011346"/>
                <a:gd name="connsiteY376" fmla="*/ 674120 h 1898882"/>
                <a:gd name="connsiteX377" fmla="*/ 1178041 w 4011346"/>
                <a:gd name="connsiteY377" fmla="*/ 717503 h 1898882"/>
                <a:gd name="connsiteX378" fmla="*/ 1137995 w 4011346"/>
                <a:gd name="connsiteY378" fmla="*/ 774236 h 1898882"/>
                <a:gd name="connsiteX379" fmla="*/ 1097948 w 4011346"/>
                <a:gd name="connsiteY379" fmla="*/ 830969 h 1898882"/>
                <a:gd name="connsiteX380" fmla="*/ 1007843 w 4011346"/>
                <a:gd name="connsiteY380" fmla="*/ 794260 h 1898882"/>
                <a:gd name="connsiteX381" fmla="*/ 1074587 w 4011346"/>
                <a:gd name="connsiteY381" fmla="*/ 790922 h 1898882"/>
                <a:gd name="connsiteX382" fmla="*/ 1107960 w 4011346"/>
                <a:gd name="connsiteY382" fmla="*/ 727515 h 1898882"/>
                <a:gd name="connsiteX383" fmla="*/ 1121309 w 4011346"/>
                <a:gd name="connsiteY383" fmla="*/ 684131 h 1898882"/>
                <a:gd name="connsiteX384" fmla="*/ 1127983 w 4011346"/>
                <a:gd name="connsiteY384" fmla="*/ 650759 h 1898882"/>
                <a:gd name="connsiteX385" fmla="*/ 1117971 w 4011346"/>
                <a:gd name="connsiteY385" fmla="*/ 634073 h 1898882"/>
                <a:gd name="connsiteX386" fmla="*/ 1114634 w 4011346"/>
                <a:gd name="connsiteY386" fmla="*/ 584014 h 1898882"/>
                <a:gd name="connsiteX387" fmla="*/ 1104622 w 4011346"/>
                <a:gd name="connsiteY387" fmla="*/ 503921 h 1898882"/>
                <a:gd name="connsiteX388" fmla="*/ 1101285 w 4011346"/>
                <a:gd name="connsiteY388" fmla="*/ 443851 h 1898882"/>
                <a:gd name="connsiteX389" fmla="*/ 1124646 w 4011346"/>
                <a:gd name="connsiteY389" fmla="*/ 350409 h 1898882"/>
                <a:gd name="connsiteX390" fmla="*/ 1031203 w 4011346"/>
                <a:gd name="connsiteY390" fmla="*/ 340397 h 1898882"/>
                <a:gd name="connsiteX391" fmla="*/ 1014517 w 4011346"/>
                <a:gd name="connsiteY391" fmla="*/ 397130 h 1898882"/>
                <a:gd name="connsiteX392" fmla="*/ 1024529 w 4011346"/>
                <a:gd name="connsiteY392" fmla="*/ 443851 h 1898882"/>
                <a:gd name="connsiteX393" fmla="*/ 981145 w 4011346"/>
                <a:gd name="connsiteY393" fmla="*/ 497247 h 1898882"/>
                <a:gd name="connsiteX394" fmla="*/ 991157 w 4011346"/>
                <a:gd name="connsiteY394" fmla="*/ 533956 h 1898882"/>
                <a:gd name="connsiteX395" fmla="*/ 981145 w 4011346"/>
                <a:gd name="connsiteY395" fmla="*/ 580677 h 1898882"/>
                <a:gd name="connsiteX396" fmla="*/ 1001168 w 4011346"/>
                <a:gd name="connsiteY396" fmla="*/ 604038 h 1898882"/>
                <a:gd name="connsiteX397" fmla="*/ 1017854 w 4011346"/>
                <a:gd name="connsiteY397" fmla="*/ 650759 h 1898882"/>
                <a:gd name="connsiteX398" fmla="*/ 1047890 w 4011346"/>
                <a:gd name="connsiteY398" fmla="*/ 637410 h 1898882"/>
                <a:gd name="connsiteX399" fmla="*/ 1014517 w 4011346"/>
                <a:gd name="connsiteY399" fmla="*/ 690806 h 1898882"/>
                <a:gd name="connsiteX400" fmla="*/ 957784 w 4011346"/>
                <a:gd name="connsiteY400" fmla="*/ 637410 h 1898882"/>
                <a:gd name="connsiteX401" fmla="*/ 884365 w 4011346"/>
                <a:gd name="connsiteY401" fmla="*/ 600701 h 1898882"/>
                <a:gd name="connsiteX402" fmla="*/ 824295 w 4011346"/>
                <a:gd name="connsiteY402" fmla="*/ 577340 h 1898882"/>
                <a:gd name="connsiteX403" fmla="*/ 810946 w 4011346"/>
                <a:gd name="connsiteY403" fmla="*/ 614049 h 1898882"/>
                <a:gd name="connsiteX404" fmla="*/ 827633 w 4011346"/>
                <a:gd name="connsiteY404" fmla="*/ 650759 h 1898882"/>
                <a:gd name="connsiteX405" fmla="*/ 814284 w 4011346"/>
                <a:gd name="connsiteY405" fmla="*/ 674120 h 1898882"/>
                <a:gd name="connsiteX406" fmla="*/ 800935 w 4011346"/>
                <a:gd name="connsiteY406" fmla="*/ 690806 h 1898882"/>
                <a:gd name="connsiteX407" fmla="*/ 770900 w 4011346"/>
                <a:gd name="connsiteY407" fmla="*/ 634073 h 1898882"/>
                <a:gd name="connsiteX408" fmla="*/ 744202 w 4011346"/>
                <a:gd name="connsiteY408" fmla="*/ 670782 h 1898882"/>
                <a:gd name="connsiteX409" fmla="*/ 707492 w 4011346"/>
                <a:gd name="connsiteY409" fmla="*/ 664108 h 1898882"/>
                <a:gd name="connsiteX410" fmla="*/ 654097 w 4011346"/>
                <a:gd name="connsiteY410" fmla="*/ 700817 h 1898882"/>
                <a:gd name="connsiteX411" fmla="*/ 644085 w 4011346"/>
                <a:gd name="connsiteY411" fmla="*/ 677457 h 1898882"/>
                <a:gd name="connsiteX412" fmla="*/ 654097 w 4011346"/>
                <a:gd name="connsiteY412" fmla="*/ 640747 h 1898882"/>
                <a:gd name="connsiteX413" fmla="*/ 614050 w 4011346"/>
                <a:gd name="connsiteY413" fmla="*/ 677457 h 1898882"/>
                <a:gd name="connsiteX414" fmla="*/ 594027 w 4011346"/>
                <a:gd name="connsiteY414" fmla="*/ 677457 h 1898882"/>
                <a:gd name="connsiteX415" fmla="*/ 533957 w 4011346"/>
                <a:gd name="connsiteY415" fmla="*/ 710829 h 1898882"/>
                <a:gd name="connsiteX416" fmla="*/ 510596 w 4011346"/>
                <a:gd name="connsiteY416" fmla="*/ 734190 h 1898882"/>
                <a:gd name="connsiteX417" fmla="*/ 500584 w 4011346"/>
                <a:gd name="connsiteY417" fmla="*/ 780911 h 1898882"/>
                <a:gd name="connsiteX418" fmla="*/ 450526 w 4011346"/>
                <a:gd name="connsiteY418" fmla="*/ 767562 h 1898882"/>
                <a:gd name="connsiteX419" fmla="*/ 433840 w 4011346"/>
                <a:gd name="connsiteY419" fmla="*/ 730852 h 1898882"/>
                <a:gd name="connsiteX420" fmla="*/ 467212 w 4011346"/>
                <a:gd name="connsiteY420" fmla="*/ 700817 h 1898882"/>
                <a:gd name="connsiteX421" fmla="*/ 453863 w 4011346"/>
                <a:gd name="connsiteY421" fmla="*/ 677457 h 1898882"/>
                <a:gd name="connsiteX422" fmla="*/ 390456 w 4011346"/>
                <a:gd name="connsiteY422" fmla="*/ 647422 h 1898882"/>
                <a:gd name="connsiteX423" fmla="*/ 417154 w 4011346"/>
                <a:gd name="connsiteY423" fmla="*/ 697480 h 1898882"/>
                <a:gd name="connsiteX424" fmla="*/ 407142 w 4011346"/>
                <a:gd name="connsiteY424" fmla="*/ 740864 h 1898882"/>
                <a:gd name="connsiteX425" fmla="*/ 413817 w 4011346"/>
                <a:gd name="connsiteY425" fmla="*/ 777574 h 1898882"/>
                <a:gd name="connsiteX426" fmla="*/ 427165 w 4011346"/>
                <a:gd name="connsiteY426" fmla="*/ 800934 h 1898882"/>
                <a:gd name="connsiteX427" fmla="*/ 413817 w 4011346"/>
                <a:gd name="connsiteY427" fmla="*/ 830969 h 1898882"/>
                <a:gd name="connsiteX428" fmla="*/ 390456 w 4011346"/>
                <a:gd name="connsiteY428" fmla="*/ 807609 h 1898882"/>
                <a:gd name="connsiteX429" fmla="*/ 360421 w 4011346"/>
                <a:gd name="connsiteY429" fmla="*/ 804271 h 1898882"/>
                <a:gd name="connsiteX430" fmla="*/ 333723 w 4011346"/>
                <a:gd name="connsiteY430" fmla="*/ 844318 h 1898882"/>
                <a:gd name="connsiteX431" fmla="*/ 307025 w 4011346"/>
                <a:gd name="connsiteY431" fmla="*/ 864341 h 1898882"/>
                <a:gd name="connsiteX432" fmla="*/ 320374 w 4011346"/>
                <a:gd name="connsiteY432" fmla="*/ 891039 h 1898882"/>
                <a:gd name="connsiteX433" fmla="*/ 303688 w 4011346"/>
                <a:gd name="connsiteY433" fmla="*/ 914400 h 1898882"/>
                <a:gd name="connsiteX434" fmla="*/ 233606 w 4011346"/>
                <a:gd name="connsiteY434" fmla="*/ 877690 h 1898882"/>
                <a:gd name="connsiteX435" fmla="*/ 243618 w 4011346"/>
                <a:gd name="connsiteY435" fmla="*/ 927749 h 1898882"/>
                <a:gd name="connsiteX436" fmla="*/ 263641 w 4011346"/>
                <a:gd name="connsiteY436" fmla="*/ 947772 h 1898882"/>
                <a:gd name="connsiteX437" fmla="*/ 250292 w 4011346"/>
                <a:gd name="connsiteY437" fmla="*/ 961121 h 1898882"/>
                <a:gd name="connsiteX438" fmla="*/ 193560 w 4011346"/>
                <a:gd name="connsiteY438" fmla="*/ 924411 h 1898882"/>
                <a:gd name="connsiteX439" fmla="*/ 170199 w 4011346"/>
                <a:gd name="connsiteY439" fmla="*/ 884365 h 1898882"/>
                <a:gd name="connsiteX440" fmla="*/ 170199 w 4011346"/>
                <a:gd name="connsiteY440" fmla="*/ 837644 h 1898882"/>
                <a:gd name="connsiteX441" fmla="*/ 133490 w 4011346"/>
                <a:gd name="connsiteY441" fmla="*/ 760887 h 1898882"/>
                <a:gd name="connsiteX442" fmla="*/ 196897 w 4011346"/>
                <a:gd name="connsiteY442" fmla="*/ 790922 h 1898882"/>
                <a:gd name="connsiteX443" fmla="*/ 256967 w 4011346"/>
                <a:gd name="connsiteY443" fmla="*/ 820957 h 1898882"/>
                <a:gd name="connsiteX444" fmla="*/ 293676 w 4011346"/>
                <a:gd name="connsiteY444" fmla="*/ 824295 h 1898882"/>
                <a:gd name="connsiteX445" fmla="*/ 327049 w 4011346"/>
                <a:gd name="connsiteY445" fmla="*/ 794260 h 1898882"/>
                <a:gd name="connsiteX446" fmla="*/ 343735 w 4011346"/>
                <a:gd name="connsiteY446" fmla="*/ 757550 h 1898882"/>
                <a:gd name="connsiteX447" fmla="*/ 333723 w 4011346"/>
                <a:gd name="connsiteY447" fmla="*/ 707492 h 1898882"/>
                <a:gd name="connsiteX448" fmla="*/ 290339 w 4011346"/>
                <a:gd name="connsiteY448" fmla="*/ 687468 h 1898882"/>
                <a:gd name="connsiteX449" fmla="*/ 236944 w 4011346"/>
                <a:gd name="connsiteY449" fmla="*/ 640747 h 1898882"/>
                <a:gd name="connsiteX450" fmla="*/ 133490 w 4011346"/>
                <a:gd name="connsiteY450" fmla="*/ 584014 h 1898882"/>
                <a:gd name="connsiteX0" fmla="*/ 133490 w 4011346"/>
                <a:gd name="connsiteY0" fmla="*/ 664106 h 1978974"/>
                <a:gd name="connsiteX1" fmla="*/ 46722 w 4011346"/>
                <a:gd name="connsiteY1" fmla="*/ 694141 h 1978974"/>
                <a:gd name="connsiteX2" fmla="*/ 33373 w 4011346"/>
                <a:gd name="connsiteY2" fmla="*/ 724176 h 1978974"/>
                <a:gd name="connsiteX3" fmla="*/ 43384 w 4011346"/>
                <a:gd name="connsiteY3" fmla="*/ 754212 h 1978974"/>
                <a:gd name="connsiteX4" fmla="*/ 60071 w 4011346"/>
                <a:gd name="connsiteY4" fmla="*/ 780909 h 1978974"/>
                <a:gd name="connsiteX5" fmla="*/ 73419 w 4011346"/>
                <a:gd name="connsiteY5" fmla="*/ 810944 h 1978974"/>
                <a:gd name="connsiteX6" fmla="*/ 56733 w 4011346"/>
                <a:gd name="connsiteY6" fmla="*/ 834305 h 1978974"/>
                <a:gd name="connsiteX7" fmla="*/ 76757 w 4011346"/>
                <a:gd name="connsiteY7" fmla="*/ 914398 h 1978974"/>
                <a:gd name="connsiteX8" fmla="*/ 66745 w 4011346"/>
                <a:gd name="connsiteY8" fmla="*/ 931085 h 1978974"/>
                <a:gd name="connsiteX9" fmla="*/ 70082 w 4011346"/>
                <a:gd name="connsiteY9" fmla="*/ 957782 h 1978974"/>
                <a:gd name="connsiteX10" fmla="*/ 70082 w 4011346"/>
                <a:gd name="connsiteY10" fmla="*/ 997829 h 1978974"/>
                <a:gd name="connsiteX11" fmla="*/ 80094 w 4011346"/>
                <a:gd name="connsiteY11" fmla="*/ 1017852 h 1978974"/>
                <a:gd name="connsiteX12" fmla="*/ 76757 w 4011346"/>
                <a:gd name="connsiteY12" fmla="*/ 1041213 h 1978974"/>
                <a:gd name="connsiteX13" fmla="*/ 106792 w 4011346"/>
                <a:gd name="connsiteY13" fmla="*/ 1074585 h 1978974"/>
                <a:gd name="connsiteX14" fmla="*/ 106792 w 4011346"/>
                <a:gd name="connsiteY14" fmla="*/ 1104620 h 1978974"/>
                <a:gd name="connsiteX15" fmla="*/ 13349 w 4011346"/>
                <a:gd name="connsiteY15" fmla="*/ 1194725 h 1978974"/>
                <a:gd name="connsiteX16" fmla="*/ 33373 w 4011346"/>
                <a:gd name="connsiteY16" fmla="*/ 1228098 h 1978974"/>
                <a:gd name="connsiteX17" fmla="*/ 33373 w 4011346"/>
                <a:gd name="connsiteY17" fmla="*/ 1228098 h 1978974"/>
                <a:gd name="connsiteX18" fmla="*/ 16687 w 4011346"/>
                <a:gd name="connsiteY18" fmla="*/ 1258133 h 1978974"/>
                <a:gd name="connsiteX19" fmla="*/ 3338 w 4011346"/>
                <a:gd name="connsiteY19" fmla="*/ 1288168 h 1978974"/>
                <a:gd name="connsiteX20" fmla="*/ 0 w 4011346"/>
                <a:gd name="connsiteY20" fmla="*/ 1348238 h 1978974"/>
                <a:gd name="connsiteX21" fmla="*/ 16687 w 4011346"/>
                <a:gd name="connsiteY21" fmla="*/ 1391622 h 1978974"/>
                <a:gd name="connsiteX22" fmla="*/ 20024 w 4011346"/>
                <a:gd name="connsiteY22" fmla="*/ 1424994 h 1978974"/>
                <a:gd name="connsiteX23" fmla="*/ 56733 w 4011346"/>
                <a:gd name="connsiteY23" fmla="*/ 1435006 h 1978974"/>
                <a:gd name="connsiteX24" fmla="*/ 116803 w 4011346"/>
                <a:gd name="connsiteY24" fmla="*/ 1521774 h 1978974"/>
                <a:gd name="connsiteX25" fmla="*/ 96780 w 4011346"/>
                <a:gd name="connsiteY25" fmla="*/ 1545134 h 1978974"/>
                <a:gd name="connsiteX26" fmla="*/ 93443 w 4011346"/>
                <a:gd name="connsiteY26" fmla="*/ 1575169 h 1978974"/>
                <a:gd name="connsiteX27" fmla="*/ 120141 w 4011346"/>
                <a:gd name="connsiteY27" fmla="*/ 1578506 h 1978974"/>
                <a:gd name="connsiteX28" fmla="*/ 160187 w 4011346"/>
                <a:gd name="connsiteY28" fmla="*/ 1591855 h 1978974"/>
                <a:gd name="connsiteX29" fmla="*/ 186885 w 4011346"/>
                <a:gd name="connsiteY29" fmla="*/ 1605204 h 1978974"/>
                <a:gd name="connsiteX30" fmla="*/ 213583 w 4011346"/>
                <a:gd name="connsiteY30" fmla="*/ 1635239 h 1978974"/>
                <a:gd name="connsiteX31" fmla="*/ 243618 w 4011346"/>
                <a:gd name="connsiteY31" fmla="*/ 1638576 h 1978974"/>
                <a:gd name="connsiteX32" fmla="*/ 287002 w 4011346"/>
                <a:gd name="connsiteY32" fmla="*/ 1668612 h 1978974"/>
                <a:gd name="connsiteX33" fmla="*/ 310363 w 4011346"/>
                <a:gd name="connsiteY33" fmla="*/ 1678623 h 1978974"/>
                <a:gd name="connsiteX34" fmla="*/ 310363 w 4011346"/>
                <a:gd name="connsiteY34" fmla="*/ 1715333 h 1978974"/>
                <a:gd name="connsiteX35" fmla="*/ 270316 w 4011346"/>
                <a:gd name="connsiteY35" fmla="*/ 1755379 h 1978974"/>
                <a:gd name="connsiteX36" fmla="*/ 280327 w 4011346"/>
                <a:gd name="connsiteY36" fmla="*/ 1778740 h 1978974"/>
                <a:gd name="connsiteX37" fmla="*/ 273653 w 4011346"/>
                <a:gd name="connsiteY37" fmla="*/ 1798763 h 1978974"/>
                <a:gd name="connsiteX38" fmla="*/ 266979 w 4011346"/>
                <a:gd name="connsiteY38" fmla="*/ 1815449 h 1978974"/>
                <a:gd name="connsiteX39" fmla="*/ 240281 w 4011346"/>
                <a:gd name="connsiteY39" fmla="*/ 1855496 h 1978974"/>
                <a:gd name="connsiteX40" fmla="*/ 307025 w 4011346"/>
                <a:gd name="connsiteY40" fmla="*/ 1892206 h 1978974"/>
                <a:gd name="connsiteX41" fmla="*/ 337060 w 4011346"/>
                <a:gd name="connsiteY41" fmla="*/ 1898880 h 1978974"/>
                <a:gd name="connsiteX42" fmla="*/ 360421 w 4011346"/>
                <a:gd name="connsiteY42" fmla="*/ 1905555 h 1978974"/>
                <a:gd name="connsiteX43" fmla="*/ 380444 w 4011346"/>
                <a:gd name="connsiteY43" fmla="*/ 1912229 h 1978974"/>
                <a:gd name="connsiteX44" fmla="*/ 407142 w 4011346"/>
                <a:gd name="connsiteY44" fmla="*/ 1932252 h 1978974"/>
                <a:gd name="connsiteX45" fmla="*/ 437177 w 4011346"/>
                <a:gd name="connsiteY45" fmla="*/ 1928915 h 1978974"/>
                <a:gd name="connsiteX46" fmla="*/ 507259 w 4011346"/>
                <a:gd name="connsiteY46" fmla="*/ 1978974 h 1978974"/>
                <a:gd name="connsiteX47" fmla="*/ 517271 w 4011346"/>
                <a:gd name="connsiteY47" fmla="*/ 1965625 h 1978974"/>
                <a:gd name="connsiteX48" fmla="*/ 507259 w 4011346"/>
                <a:gd name="connsiteY48" fmla="*/ 1925578 h 1978974"/>
                <a:gd name="connsiteX49" fmla="*/ 500584 w 4011346"/>
                <a:gd name="connsiteY49" fmla="*/ 1892206 h 1978974"/>
                <a:gd name="connsiteX50" fmla="*/ 483898 w 4011346"/>
                <a:gd name="connsiteY50" fmla="*/ 1848822 h 1978974"/>
                <a:gd name="connsiteX51" fmla="*/ 513933 w 4011346"/>
                <a:gd name="connsiteY51" fmla="*/ 1828798 h 1978974"/>
                <a:gd name="connsiteX52" fmla="*/ 547306 w 4011346"/>
                <a:gd name="connsiteY52" fmla="*/ 1805438 h 1978974"/>
                <a:gd name="connsiteX53" fmla="*/ 527282 w 4011346"/>
                <a:gd name="connsiteY53" fmla="*/ 1788752 h 1978974"/>
                <a:gd name="connsiteX54" fmla="*/ 517271 w 4011346"/>
                <a:gd name="connsiteY54" fmla="*/ 1755379 h 1978974"/>
                <a:gd name="connsiteX55" fmla="*/ 480561 w 4011346"/>
                <a:gd name="connsiteY55" fmla="*/ 1738693 h 1978974"/>
                <a:gd name="connsiteX56" fmla="*/ 470549 w 4011346"/>
                <a:gd name="connsiteY56" fmla="*/ 1718670 h 1978974"/>
                <a:gd name="connsiteX57" fmla="*/ 480561 w 4011346"/>
                <a:gd name="connsiteY57" fmla="*/ 1688635 h 1978974"/>
                <a:gd name="connsiteX58" fmla="*/ 490573 w 4011346"/>
                <a:gd name="connsiteY58" fmla="*/ 1648588 h 1978974"/>
                <a:gd name="connsiteX59" fmla="*/ 513933 w 4011346"/>
                <a:gd name="connsiteY59" fmla="*/ 1668612 h 1978974"/>
                <a:gd name="connsiteX60" fmla="*/ 520608 w 4011346"/>
                <a:gd name="connsiteY60" fmla="*/ 1651925 h 1978974"/>
                <a:gd name="connsiteX61" fmla="*/ 543968 w 4011346"/>
                <a:gd name="connsiteY61" fmla="*/ 1615216 h 1978974"/>
                <a:gd name="connsiteX62" fmla="*/ 574003 w 4011346"/>
                <a:gd name="connsiteY62" fmla="*/ 1598530 h 1978974"/>
                <a:gd name="connsiteX63" fmla="*/ 590690 w 4011346"/>
                <a:gd name="connsiteY63" fmla="*/ 1611879 h 1978974"/>
                <a:gd name="connsiteX64" fmla="*/ 610713 w 4011346"/>
                <a:gd name="connsiteY64" fmla="*/ 1585181 h 1978974"/>
                <a:gd name="connsiteX65" fmla="*/ 630736 w 4011346"/>
                <a:gd name="connsiteY65" fmla="*/ 1611879 h 1978974"/>
                <a:gd name="connsiteX66" fmla="*/ 657434 w 4011346"/>
                <a:gd name="connsiteY66" fmla="*/ 1635239 h 1978974"/>
                <a:gd name="connsiteX67" fmla="*/ 674120 w 4011346"/>
                <a:gd name="connsiteY67" fmla="*/ 1641914 h 1978974"/>
                <a:gd name="connsiteX68" fmla="*/ 697481 w 4011346"/>
                <a:gd name="connsiteY68" fmla="*/ 1641914 h 1978974"/>
                <a:gd name="connsiteX69" fmla="*/ 717504 w 4011346"/>
                <a:gd name="connsiteY69" fmla="*/ 1628565 h 1978974"/>
                <a:gd name="connsiteX70" fmla="*/ 744202 w 4011346"/>
                <a:gd name="connsiteY70" fmla="*/ 1628565 h 1978974"/>
                <a:gd name="connsiteX71" fmla="*/ 760888 w 4011346"/>
                <a:gd name="connsiteY71" fmla="*/ 1625228 h 1978974"/>
                <a:gd name="connsiteX72" fmla="*/ 790923 w 4011346"/>
                <a:gd name="connsiteY72" fmla="*/ 1658600 h 1978974"/>
                <a:gd name="connsiteX73" fmla="*/ 797598 w 4011346"/>
                <a:gd name="connsiteY73" fmla="*/ 1631902 h 1978974"/>
                <a:gd name="connsiteX74" fmla="*/ 817621 w 4011346"/>
                <a:gd name="connsiteY74" fmla="*/ 1648588 h 1978974"/>
                <a:gd name="connsiteX75" fmla="*/ 837644 w 4011346"/>
                <a:gd name="connsiteY75" fmla="*/ 1625228 h 1978974"/>
                <a:gd name="connsiteX76" fmla="*/ 827633 w 4011346"/>
                <a:gd name="connsiteY76" fmla="*/ 1605204 h 1978974"/>
                <a:gd name="connsiteX77" fmla="*/ 810946 w 4011346"/>
                <a:gd name="connsiteY77" fmla="*/ 1591855 h 1978974"/>
                <a:gd name="connsiteX78" fmla="*/ 810946 w 4011346"/>
                <a:gd name="connsiteY78" fmla="*/ 1565158 h 1978974"/>
                <a:gd name="connsiteX79" fmla="*/ 810946 w 4011346"/>
                <a:gd name="connsiteY79" fmla="*/ 1551809 h 1978974"/>
                <a:gd name="connsiteX80" fmla="*/ 830970 w 4011346"/>
                <a:gd name="connsiteY80" fmla="*/ 1548471 h 1978974"/>
                <a:gd name="connsiteX81" fmla="*/ 840981 w 4011346"/>
                <a:gd name="connsiteY81" fmla="*/ 1545134 h 1978974"/>
                <a:gd name="connsiteX82" fmla="*/ 820958 w 4011346"/>
                <a:gd name="connsiteY82" fmla="*/ 1508425 h 1978974"/>
                <a:gd name="connsiteX83" fmla="*/ 854330 w 4011346"/>
                <a:gd name="connsiteY83" fmla="*/ 1501750 h 1978974"/>
                <a:gd name="connsiteX84" fmla="*/ 891040 w 4011346"/>
                <a:gd name="connsiteY84" fmla="*/ 1508425 h 1978974"/>
                <a:gd name="connsiteX85" fmla="*/ 964459 w 4011346"/>
                <a:gd name="connsiteY85" fmla="*/ 1465041 h 1978974"/>
                <a:gd name="connsiteX86" fmla="*/ 1001168 w 4011346"/>
                <a:gd name="connsiteY86" fmla="*/ 1465041 h 1978974"/>
                <a:gd name="connsiteX87" fmla="*/ 1027866 w 4011346"/>
                <a:gd name="connsiteY87" fmla="*/ 1441680 h 1978974"/>
                <a:gd name="connsiteX88" fmla="*/ 1047890 w 4011346"/>
                <a:gd name="connsiteY88" fmla="*/ 1451692 h 1978974"/>
                <a:gd name="connsiteX89" fmla="*/ 1067913 w 4011346"/>
                <a:gd name="connsiteY89" fmla="*/ 1461703 h 1978974"/>
                <a:gd name="connsiteX90" fmla="*/ 1087936 w 4011346"/>
                <a:gd name="connsiteY90" fmla="*/ 1488401 h 1978974"/>
                <a:gd name="connsiteX91" fmla="*/ 1074587 w 4011346"/>
                <a:gd name="connsiteY91" fmla="*/ 1501750 h 1978974"/>
                <a:gd name="connsiteX92" fmla="*/ 1104622 w 4011346"/>
                <a:gd name="connsiteY92" fmla="*/ 1501750 h 1978974"/>
                <a:gd name="connsiteX93" fmla="*/ 1107960 w 4011346"/>
                <a:gd name="connsiteY93" fmla="*/ 1518436 h 1978974"/>
                <a:gd name="connsiteX94" fmla="*/ 1121309 w 4011346"/>
                <a:gd name="connsiteY94" fmla="*/ 1501750 h 1978974"/>
                <a:gd name="connsiteX95" fmla="*/ 1134657 w 4011346"/>
                <a:gd name="connsiteY95" fmla="*/ 1515099 h 1978974"/>
                <a:gd name="connsiteX96" fmla="*/ 1134657 w 4011346"/>
                <a:gd name="connsiteY96" fmla="*/ 1535122 h 1978974"/>
                <a:gd name="connsiteX97" fmla="*/ 1148006 w 4011346"/>
                <a:gd name="connsiteY97" fmla="*/ 1531785 h 1978974"/>
                <a:gd name="connsiteX98" fmla="*/ 1208076 w 4011346"/>
                <a:gd name="connsiteY98" fmla="*/ 1485064 h 1978974"/>
                <a:gd name="connsiteX99" fmla="*/ 1211414 w 4011346"/>
                <a:gd name="connsiteY99" fmla="*/ 1505087 h 1978974"/>
                <a:gd name="connsiteX100" fmla="*/ 1244786 w 4011346"/>
                <a:gd name="connsiteY100" fmla="*/ 1525111 h 1978974"/>
                <a:gd name="connsiteX101" fmla="*/ 1264809 w 4011346"/>
                <a:gd name="connsiteY101" fmla="*/ 1555146 h 1978974"/>
                <a:gd name="connsiteX102" fmla="*/ 1298181 w 4011346"/>
                <a:gd name="connsiteY102" fmla="*/ 1661937 h 1978974"/>
                <a:gd name="connsiteX103" fmla="*/ 1308193 w 4011346"/>
                <a:gd name="connsiteY103" fmla="*/ 1618553 h 1978974"/>
                <a:gd name="connsiteX104" fmla="*/ 1344903 w 4011346"/>
                <a:gd name="connsiteY104" fmla="*/ 1638576 h 1978974"/>
                <a:gd name="connsiteX105" fmla="*/ 1388287 w 4011346"/>
                <a:gd name="connsiteY105" fmla="*/ 1638576 h 1978974"/>
                <a:gd name="connsiteX106" fmla="*/ 1394961 w 4011346"/>
                <a:gd name="connsiteY106" fmla="*/ 1661937 h 1978974"/>
                <a:gd name="connsiteX107" fmla="*/ 1435008 w 4011346"/>
                <a:gd name="connsiteY107" fmla="*/ 1685298 h 1978974"/>
                <a:gd name="connsiteX108" fmla="*/ 1465043 w 4011346"/>
                <a:gd name="connsiteY108" fmla="*/ 1685298 h 1978974"/>
                <a:gd name="connsiteX109" fmla="*/ 1491741 w 4011346"/>
                <a:gd name="connsiteY109" fmla="*/ 1698647 h 1978974"/>
                <a:gd name="connsiteX110" fmla="*/ 1535125 w 4011346"/>
                <a:gd name="connsiteY110" fmla="*/ 1655263 h 1978974"/>
                <a:gd name="connsiteX111" fmla="*/ 1571834 w 4011346"/>
                <a:gd name="connsiteY111" fmla="*/ 1635239 h 1978974"/>
                <a:gd name="connsiteX112" fmla="*/ 1608544 w 4011346"/>
                <a:gd name="connsiteY112" fmla="*/ 1638576 h 1978974"/>
                <a:gd name="connsiteX113" fmla="*/ 1655265 w 4011346"/>
                <a:gd name="connsiteY113" fmla="*/ 1651925 h 1978974"/>
                <a:gd name="connsiteX114" fmla="*/ 1681963 w 4011346"/>
                <a:gd name="connsiteY114" fmla="*/ 1668612 h 1978974"/>
                <a:gd name="connsiteX115" fmla="*/ 1735358 w 4011346"/>
                <a:gd name="connsiteY115" fmla="*/ 1661937 h 1978974"/>
                <a:gd name="connsiteX116" fmla="*/ 1745370 w 4011346"/>
                <a:gd name="connsiteY116" fmla="*/ 1641914 h 1978974"/>
                <a:gd name="connsiteX117" fmla="*/ 1738695 w 4011346"/>
                <a:gd name="connsiteY117" fmla="*/ 1621890 h 1978974"/>
                <a:gd name="connsiteX118" fmla="*/ 1765393 w 4011346"/>
                <a:gd name="connsiteY118" fmla="*/ 1595193 h 1978974"/>
                <a:gd name="connsiteX119" fmla="*/ 1778742 w 4011346"/>
                <a:gd name="connsiteY119" fmla="*/ 1591855 h 1978974"/>
                <a:gd name="connsiteX120" fmla="*/ 1812114 w 4011346"/>
                <a:gd name="connsiteY120" fmla="*/ 1608541 h 1978974"/>
                <a:gd name="connsiteX121" fmla="*/ 1852161 w 4011346"/>
                <a:gd name="connsiteY121" fmla="*/ 1621890 h 1978974"/>
                <a:gd name="connsiteX122" fmla="*/ 1858836 w 4011346"/>
                <a:gd name="connsiteY122" fmla="*/ 1648588 h 1978974"/>
                <a:gd name="connsiteX123" fmla="*/ 1872184 w 4011346"/>
                <a:gd name="connsiteY123" fmla="*/ 1655263 h 1978974"/>
                <a:gd name="connsiteX124" fmla="*/ 1902219 w 4011346"/>
                <a:gd name="connsiteY124" fmla="*/ 1658600 h 1978974"/>
                <a:gd name="connsiteX125" fmla="*/ 1932254 w 4011346"/>
                <a:gd name="connsiteY125" fmla="*/ 1641914 h 1978974"/>
                <a:gd name="connsiteX126" fmla="*/ 1962290 w 4011346"/>
                <a:gd name="connsiteY126" fmla="*/ 1655263 h 1978974"/>
                <a:gd name="connsiteX127" fmla="*/ 1985650 w 4011346"/>
                <a:gd name="connsiteY127" fmla="*/ 1668612 h 1978974"/>
                <a:gd name="connsiteX128" fmla="*/ 1995662 w 4011346"/>
                <a:gd name="connsiteY128" fmla="*/ 1678623 h 1978974"/>
                <a:gd name="connsiteX129" fmla="*/ 2032371 w 4011346"/>
                <a:gd name="connsiteY129" fmla="*/ 1698647 h 1978974"/>
                <a:gd name="connsiteX130" fmla="*/ 2069081 w 4011346"/>
                <a:gd name="connsiteY130" fmla="*/ 1695309 h 1978974"/>
                <a:gd name="connsiteX131" fmla="*/ 2142500 w 4011346"/>
                <a:gd name="connsiteY131" fmla="*/ 1651925 h 1978974"/>
                <a:gd name="connsiteX132" fmla="*/ 2195895 w 4011346"/>
                <a:gd name="connsiteY132" fmla="*/ 1665274 h 1978974"/>
                <a:gd name="connsiteX133" fmla="*/ 2225930 w 4011346"/>
                <a:gd name="connsiteY133" fmla="*/ 1675286 h 1978974"/>
                <a:gd name="connsiteX134" fmla="*/ 2259303 w 4011346"/>
                <a:gd name="connsiteY134" fmla="*/ 1661937 h 1978974"/>
                <a:gd name="connsiteX135" fmla="*/ 2262640 w 4011346"/>
                <a:gd name="connsiteY135" fmla="*/ 1635239 h 1978974"/>
                <a:gd name="connsiteX136" fmla="*/ 2282663 w 4011346"/>
                <a:gd name="connsiteY136" fmla="*/ 1605204 h 1978974"/>
                <a:gd name="connsiteX137" fmla="*/ 2299349 w 4011346"/>
                <a:gd name="connsiteY137" fmla="*/ 1551809 h 1978974"/>
                <a:gd name="connsiteX138" fmla="*/ 2282663 w 4011346"/>
                <a:gd name="connsiteY138" fmla="*/ 1555146 h 1978974"/>
                <a:gd name="connsiteX139" fmla="*/ 2312698 w 4011346"/>
                <a:gd name="connsiteY139" fmla="*/ 1528448 h 1978974"/>
                <a:gd name="connsiteX140" fmla="*/ 2339396 w 4011346"/>
                <a:gd name="connsiteY140" fmla="*/ 1525111 h 1978974"/>
                <a:gd name="connsiteX141" fmla="*/ 2396129 w 4011346"/>
                <a:gd name="connsiteY141" fmla="*/ 1535122 h 1978974"/>
                <a:gd name="connsiteX142" fmla="*/ 2436176 w 4011346"/>
                <a:gd name="connsiteY142" fmla="*/ 1561820 h 1978974"/>
                <a:gd name="connsiteX143" fmla="*/ 2462873 w 4011346"/>
                <a:gd name="connsiteY143" fmla="*/ 1591855 h 1978974"/>
                <a:gd name="connsiteX144" fmla="*/ 2469548 w 4011346"/>
                <a:gd name="connsiteY144" fmla="*/ 1628565 h 1978974"/>
                <a:gd name="connsiteX145" fmla="*/ 2476222 w 4011346"/>
                <a:gd name="connsiteY145" fmla="*/ 1668612 h 1978974"/>
                <a:gd name="connsiteX146" fmla="*/ 2486234 w 4011346"/>
                <a:gd name="connsiteY146" fmla="*/ 1688635 h 1978974"/>
                <a:gd name="connsiteX147" fmla="*/ 2529618 w 4011346"/>
                <a:gd name="connsiteY147" fmla="*/ 1701984 h 1978974"/>
                <a:gd name="connsiteX148" fmla="*/ 2549641 w 4011346"/>
                <a:gd name="connsiteY148" fmla="*/ 1722007 h 1978974"/>
                <a:gd name="connsiteX149" fmla="*/ 2562990 w 4011346"/>
                <a:gd name="connsiteY149" fmla="*/ 1755379 h 1978974"/>
                <a:gd name="connsiteX150" fmla="*/ 2586351 w 4011346"/>
                <a:gd name="connsiteY150" fmla="*/ 1748705 h 1978974"/>
                <a:gd name="connsiteX151" fmla="*/ 2606374 w 4011346"/>
                <a:gd name="connsiteY151" fmla="*/ 1738693 h 1978974"/>
                <a:gd name="connsiteX152" fmla="*/ 2639746 w 4011346"/>
                <a:gd name="connsiteY152" fmla="*/ 1722007 h 1978974"/>
                <a:gd name="connsiteX153" fmla="*/ 2643084 w 4011346"/>
                <a:gd name="connsiteY153" fmla="*/ 1738693 h 1978974"/>
                <a:gd name="connsiteX154" fmla="*/ 2626398 w 4011346"/>
                <a:gd name="connsiteY154" fmla="*/ 1768728 h 1978974"/>
                <a:gd name="connsiteX155" fmla="*/ 2616386 w 4011346"/>
                <a:gd name="connsiteY155" fmla="*/ 1805438 h 1978974"/>
                <a:gd name="connsiteX156" fmla="*/ 2603037 w 4011346"/>
                <a:gd name="connsiteY156" fmla="*/ 1858833 h 1978974"/>
                <a:gd name="connsiteX157" fmla="*/ 2579676 w 4011346"/>
                <a:gd name="connsiteY157" fmla="*/ 1832136 h 1978974"/>
                <a:gd name="connsiteX158" fmla="*/ 2552979 w 4011346"/>
                <a:gd name="connsiteY158" fmla="*/ 1855496 h 1978974"/>
                <a:gd name="connsiteX159" fmla="*/ 2559653 w 4011346"/>
                <a:gd name="connsiteY159" fmla="*/ 1882194 h 1978974"/>
                <a:gd name="connsiteX160" fmla="*/ 2559653 w 4011346"/>
                <a:gd name="connsiteY160" fmla="*/ 1918903 h 1978974"/>
                <a:gd name="connsiteX161" fmla="*/ 2549641 w 4011346"/>
                <a:gd name="connsiteY161" fmla="*/ 1938927 h 1978974"/>
                <a:gd name="connsiteX162" fmla="*/ 2589688 w 4011346"/>
                <a:gd name="connsiteY162" fmla="*/ 1918903 h 1978974"/>
                <a:gd name="connsiteX163" fmla="*/ 2626398 w 4011346"/>
                <a:gd name="connsiteY163" fmla="*/ 1928915 h 1978974"/>
                <a:gd name="connsiteX164" fmla="*/ 2653095 w 4011346"/>
                <a:gd name="connsiteY164" fmla="*/ 1905555 h 1978974"/>
                <a:gd name="connsiteX165" fmla="*/ 2683130 w 4011346"/>
                <a:gd name="connsiteY165" fmla="*/ 1852159 h 1978974"/>
                <a:gd name="connsiteX166" fmla="*/ 2753212 w 4011346"/>
                <a:gd name="connsiteY166" fmla="*/ 1765391 h 1978974"/>
                <a:gd name="connsiteX167" fmla="*/ 2783247 w 4011346"/>
                <a:gd name="connsiteY167" fmla="*/ 1695309 h 1978974"/>
                <a:gd name="connsiteX168" fmla="*/ 2803271 w 4011346"/>
                <a:gd name="connsiteY168" fmla="*/ 1591855 h 1978974"/>
                <a:gd name="connsiteX169" fmla="*/ 2793259 w 4011346"/>
                <a:gd name="connsiteY169" fmla="*/ 1541797 h 1978974"/>
                <a:gd name="connsiteX170" fmla="*/ 2769898 w 4011346"/>
                <a:gd name="connsiteY170" fmla="*/ 1508425 h 1978974"/>
                <a:gd name="connsiteX171" fmla="*/ 2726514 w 4011346"/>
                <a:gd name="connsiteY171" fmla="*/ 1508425 h 1978974"/>
                <a:gd name="connsiteX172" fmla="*/ 2699817 w 4011346"/>
                <a:gd name="connsiteY172" fmla="*/ 1508425 h 1978974"/>
                <a:gd name="connsiteX173" fmla="*/ 2683130 w 4011346"/>
                <a:gd name="connsiteY173" fmla="*/ 1488401 h 1978974"/>
                <a:gd name="connsiteX174" fmla="*/ 2669781 w 4011346"/>
                <a:gd name="connsiteY174" fmla="*/ 1468378 h 1978974"/>
                <a:gd name="connsiteX175" fmla="*/ 2763224 w 4011346"/>
                <a:gd name="connsiteY175" fmla="*/ 1351575 h 1978974"/>
                <a:gd name="connsiteX176" fmla="*/ 2846654 w 4011346"/>
                <a:gd name="connsiteY176" fmla="*/ 1284831 h 1978974"/>
                <a:gd name="connsiteX177" fmla="*/ 2890038 w 4011346"/>
                <a:gd name="connsiteY177" fmla="*/ 1261470 h 1978974"/>
                <a:gd name="connsiteX178" fmla="*/ 2933422 w 4011346"/>
                <a:gd name="connsiteY178" fmla="*/ 1281493 h 1978974"/>
                <a:gd name="connsiteX179" fmla="*/ 2950109 w 4011346"/>
                <a:gd name="connsiteY179" fmla="*/ 1264807 h 1978974"/>
                <a:gd name="connsiteX180" fmla="*/ 2993492 w 4011346"/>
                <a:gd name="connsiteY180" fmla="*/ 1281493 h 1978974"/>
                <a:gd name="connsiteX181" fmla="*/ 3006841 w 4011346"/>
                <a:gd name="connsiteY181" fmla="*/ 1248121 h 1978974"/>
                <a:gd name="connsiteX182" fmla="*/ 3053563 w 4011346"/>
                <a:gd name="connsiteY182" fmla="*/ 1258133 h 1978974"/>
                <a:gd name="connsiteX183" fmla="*/ 3070249 w 4011346"/>
                <a:gd name="connsiteY183" fmla="*/ 1274819 h 1978974"/>
                <a:gd name="connsiteX184" fmla="*/ 3060237 w 4011346"/>
                <a:gd name="connsiteY184" fmla="*/ 1294842 h 1978974"/>
                <a:gd name="connsiteX185" fmla="*/ 3123644 w 4011346"/>
                <a:gd name="connsiteY185" fmla="*/ 1278156 h 1978974"/>
                <a:gd name="connsiteX186" fmla="*/ 3140330 w 4011346"/>
                <a:gd name="connsiteY186" fmla="*/ 1264807 h 1978974"/>
                <a:gd name="connsiteX187" fmla="*/ 3123644 w 4011346"/>
                <a:gd name="connsiteY187" fmla="*/ 1251458 h 1978974"/>
                <a:gd name="connsiteX188" fmla="*/ 3143668 w 4011346"/>
                <a:gd name="connsiteY188" fmla="*/ 1211412 h 1978974"/>
                <a:gd name="connsiteX189" fmla="*/ 3190389 w 4011346"/>
                <a:gd name="connsiteY189" fmla="*/ 1141330 h 1978974"/>
                <a:gd name="connsiteX190" fmla="*/ 3233773 w 4011346"/>
                <a:gd name="connsiteY190" fmla="*/ 1137993 h 1978974"/>
                <a:gd name="connsiteX191" fmla="*/ 3273819 w 4011346"/>
                <a:gd name="connsiteY191" fmla="*/ 1148004 h 1978974"/>
                <a:gd name="connsiteX192" fmla="*/ 3277157 w 4011346"/>
                <a:gd name="connsiteY192" fmla="*/ 1204737 h 1978974"/>
                <a:gd name="connsiteX193" fmla="*/ 3320541 w 4011346"/>
                <a:gd name="connsiteY193" fmla="*/ 1161353 h 1978974"/>
                <a:gd name="connsiteX194" fmla="*/ 3343901 w 4011346"/>
                <a:gd name="connsiteY194" fmla="*/ 1144667 h 1978974"/>
                <a:gd name="connsiteX195" fmla="*/ 3350576 w 4011346"/>
                <a:gd name="connsiteY195" fmla="*/ 1111295 h 1978974"/>
                <a:gd name="connsiteX196" fmla="*/ 3377273 w 4011346"/>
                <a:gd name="connsiteY196" fmla="*/ 1094609 h 1978974"/>
                <a:gd name="connsiteX197" fmla="*/ 3407309 w 4011346"/>
                <a:gd name="connsiteY197" fmla="*/ 1104620 h 1978974"/>
                <a:gd name="connsiteX198" fmla="*/ 3373936 w 4011346"/>
                <a:gd name="connsiteY198" fmla="*/ 1134655 h 1978974"/>
                <a:gd name="connsiteX199" fmla="*/ 3360587 w 4011346"/>
                <a:gd name="connsiteY199" fmla="*/ 1184714 h 1978974"/>
                <a:gd name="connsiteX200" fmla="*/ 3323878 w 4011346"/>
                <a:gd name="connsiteY200" fmla="*/ 1224760 h 1978974"/>
                <a:gd name="connsiteX201" fmla="*/ 3210412 w 4011346"/>
                <a:gd name="connsiteY201" fmla="*/ 1321540 h 1978974"/>
                <a:gd name="connsiteX202" fmla="*/ 3163691 w 4011346"/>
                <a:gd name="connsiteY202" fmla="*/ 1391622 h 1978974"/>
                <a:gd name="connsiteX203" fmla="*/ 3160354 w 4011346"/>
                <a:gd name="connsiteY203" fmla="*/ 1465041 h 1978974"/>
                <a:gd name="connsiteX204" fmla="*/ 3170365 w 4011346"/>
                <a:gd name="connsiteY204" fmla="*/ 1555146 h 1978974"/>
                <a:gd name="connsiteX205" fmla="*/ 3190389 w 4011346"/>
                <a:gd name="connsiteY205" fmla="*/ 1618553 h 1978974"/>
                <a:gd name="connsiteX206" fmla="*/ 3217087 w 4011346"/>
                <a:gd name="connsiteY206" fmla="*/ 1608541 h 1978974"/>
                <a:gd name="connsiteX207" fmla="*/ 3240447 w 4011346"/>
                <a:gd name="connsiteY207" fmla="*/ 1541797 h 1978974"/>
                <a:gd name="connsiteX208" fmla="*/ 3270482 w 4011346"/>
                <a:gd name="connsiteY208" fmla="*/ 1538460 h 1978974"/>
                <a:gd name="connsiteX209" fmla="*/ 3287168 w 4011346"/>
                <a:gd name="connsiteY209" fmla="*/ 1478390 h 1978974"/>
                <a:gd name="connsiteX210" fmla="*/ 3313866 w 4011346"/>
                <a:gd name="connsiteY210" fmla="*/ 1468378 h 1978974"/>
                <a:gd name="connsiteX211" fmla="*/ 3313866 w 4011346"/>
                <a:gd name="connsiteY211" fmla="*/ 1438343 h 1978974"/>
                <a:gd name="connsiteX212" fmla="*/ 3337227 w 4011346"/>
                <a:gd name="connsiteY212" fmla="*/ 1401633 h 1978974"/>
                <a:gd name="connsiteX213" fmla="*/ 3330552 w 4011346"/>
                <a:gd name="connsiteY213" fmla="*/ 1358249 h 1978974"/>
                <a:gd name="connsiteX214" fmla="*/ 3333890 w 4011346"/>
                <a:gd name="connsiteY214" fmla="*/ 1328214 h 1978974"/>
                <a:gd name="connsiteX215" fmla="*/ 3323878 w 4011346"/>
                <a:gd name="connsiteY215" fmla="*/ 1318203 h 1978974"/>
                <a:gd name="connsiteX216" fmla="*/ 3363925 w 4011346"/>
                <a:gd name="connsiteY216" fmla="*/ 1231435 h 1978974"/>
                <a:gd name="connsiteX217" fmla="*/ 3383948 w 4011346"/>
                <a:gd name="connsiteY217" fmla="*/ 1241447 h 1978974"/>
                <a:gd name="connsiteX218" fmla="*/ 3410646 w 4011346"/>
                <a:gd name="connsiteY218" fmla="*/ 1214749 h 1978974"/>
                <a:gd name="connsiteX219" fmla="*/ 3420657 w 4011346"/>
                <a:gd name="connsiteY219" fmla="*/ 1241447 h 1978974"/>
                <a:gd name="connsiteX220" fmla="*/ 3447355 w 4011346"/>
                <a:gd name="connsiteY220" fmla="*/ 1224760 h 1978974"/>
                <a:gd name="connsiteX221" fmla="*/ 3477390 w 4011346"/>
                <a:gd name="connsiteY221" fmla="*/ 1214749 h 1978974"/>
                <a:gd name="connsiteX222" fmla="*/ 3514100 w 4011346"/>
                <a:gd name="connsiteY222" fmla="*/ 1241447 h 1978974"/>
                <a:gd name="connsiteX223" fmla="*/ 3574170 w 4011346"/>
                <a:gd name="connsiteY223" fmla="*/ 1174702 h 1978974"/>
                <a:gd name="connsiteX224" fmla="*/ 3637577 w 4011346"/>
                <a:gd name="connsiteY224" fmla="*/ 1127981 h 1978974"/>
                <a:gd name="connsiteX225" fmla="*/ 3690973 w 4011346"/>
                <a:gd name="connsiteY225" fmla="*/ 1091271 h 1978974"/>
                <a:gd name="connsiteX226" fmla="*/ 3741031 w 4011346"/>
                <a:gd name="connsiteY226" fmla="*/ 1117969 h 1978974"/>
                <a:gd name="connsiteX227" fmla="*/ 3751043 w 4011346"/>
                <a:gd name="connsiteY227" fmla="*/ 1091271 h 1978974"/>
                <a:gd name="connsiteX228" fmla="*/ 3727682 w 4011346"/>
                <a:gd name="connsiteY228" fmla="*/ 1024527 h 1978974"/>
                <a:gd name="connsiteX229" fmla="*/ 3700984 w 4011346"/>
                <a:gd name="connsiteY229" fmla="*/ 1007841 h 1978974"/>
                <a:gd name="connsiteX230" fmla="*/ 3697647 w 4011346"/>
                <a:gd name="connsiteY230" fmla="*/ 977806 h 1978974"/>
                <a:gd name="connsiteX231" fmla="*/ 3751043 w 4011346"/>
                <a:gd name="connsiteY231" fmla="*/ 984480 h 1978974"/>
                <a:gd name="connsiteX232" fmla="*/ 3774403 w 4011346"/>
                <a:gd name="connsiteY232" fmla="*/ 941096 h 1978974"/>
                <a:gd name="connsiteX233" fmla="*/ 3767729 w 4011346"/>
                <a:gd name="connsiteY233" fmla="*/ 914398 h 1978974"/>
                <a:gd name="connsiteX234" fmla="*/ 3794427 w 4011346"/>
                <a:gd name="connsiteY234" fmla="*/ 881026 h 1978974"/>
                <a:gd name="connsiteX235" fmla="*/ 3804438 w 4011346"/>
                <a:gd name="connsiteY235" fmla="*/ 924410 h 1978974"/>
                <a:gd name="connsiteX236" fmla="*/ 3827799 w 4011346"/>
                <a:gd name="connsiteY236" fmla="*/ 941096 h 1978974"/>
                <a:gd name="connsiteX237" fmla="*/ 3874520 w 4011346"/>
                <a:gd name="connsiteY237" fmla="*/ 961120 h 1978974"/>
                <a:gd name="connsiteX238" fmla="*/ 3894544 w 4011346"/>
                <a:gd name="connsiteY238" fmla="*/ 987817 h 1978974"/>
                <a:gd name="connsiteX239" fmla="*/ 3941265 w 4011346"/>
                <a:gd name="connsiteY239" fmla="*/ 1011178 h 1978974"/>
                <a:gd name="connsiteX240" fmla="*/ 3947939 w 4011346"/>
                <a:gd name="connsiteY240" fmla="*/ 997829 h 1978974"/>
                <a:gd name="connsiteX241" fmla="*/ 3957951 w 4011346"/>
                <a:gd name="connsiteY241" fmla="*/ 934422 h 1978974"/>
                <a:gd name="connsiteX242" fmla="*/ 4004672 w 4011346"/>
                <a:gd name="connsiteY242" fmla="*/ 927747 h 1978974"/>
                <a:gd name="connsiteX243" fmla="*/ 4011346 w 4011346"/>
                <a:gd name="connsiteY243" fmla="*/ 894375 h 1978974"/>
                <a:gd name="connsiteX244" fmla="*/ 3967963 w 4011346"/>
                <a:gd name="connsiteY244" fmla="*/ 857666 h 1978974"/>
                <a:gd name="connsiteX245" fmla="*/ 3921241 w 4011346"/>
                <a:gd name="connsiteY245" fmla="*/ 840979 h 1978974"/>
                <a:gd name="connsiteX246" fmla="*/ 3907892 w 4011346"/>
                <a:gd name="connsiteY246" fmla="*/ 844317 h 1978974"/>
                <a:gd name="connsiteX247" fmla="*/ 3907892 w 4011346"/>
                <a:gd name="connsiteY247" fmla="*/ 877689 h 1978974"/>
                <a:gd name="connsiteX248" fmla="*/ 3887869 w 4011346"/>
                <a:gd name="connsiteY248" fmla="*/ 871014 h 1978974"/>
                <a:gd name="connsiteX249" fmla="*/ 3874520 w 4011346"/>
                <a:gd name="connsiteY249" fmla="*/ 817619 h 1978974"/>
                <a:gd name="connsiteX250" fmla="*/ 3817787 w 4011346"/>
                <a:gd name="connsiteY250" fmla="*/ 754212 h 1978974"/>
                <a:gd name="connsiteX251" fmla="*/ 3717671 w 4011346"/>
                <a:gd name="connsiteY251" fmla="*/ 677455 h 1978974"/>
                <a:gd name="connsiteX252" fmla="*/ 3664275 w 4011346"/>
                <a:gd name="connsiteY252" fmla="*/ 657432 h 1978974"/>
                <a:gd name="connsiteX253" fmla="*/ 3584181 w 4011346"/>
                <a:gd name="connsiteY253" fmla="*/ 650758 h 1978974"/>
                <a:gd name="connsiteX254" fmla="*/ 3520774 w 4011346"/>
                <a:gd name="connsiteY254" fmla="*/ 634071 h 1978974"/>
                <a:gd name="connsiteX255" fmla="*/ 3530786 w 4011346"/>
                <a:gd name="connsiteY255" fmla="*/ 674118 h 1978974"/>
                <a:gd name="connsiteX256" fmla="*/ 3537460 w 4011346"/>
                <a:gd name="connsiteY256" fmla="*/ 700816 h 1978974"/>
                <a:gd name="connsiteX257" fmla="*/ 3507425 w 4011346"/>
                <a:gd name="connsiteY257" fmla="*/ 724176 h 1978974"/>
                <a:gd name="connsiteX258" fmla="*/ 3477390 w 4011346"/>
                <a:gd name="connsiteY258" fmla="*/ 697479 h 1978974"/>
                <a:gd name="connsiteX259" fmla="*/ 3477390 w 4011346"/>
                <a:gd name="connsiteY259" fmla="*/ 677455 h 1978974"/>
                <a:gd name="connsiteX260" fmla="*/ 3504088 w 4011346"/>
                <a:gd name="connsiteY260" fmla="*/ 657432 h 1978974"/>
                <a:gd name="connsiteX261" fmla="*/ 3467379 w 4011346"/>
                <a:gd name="connsiteY261" fmla="*/ 644083 h 1978974"/>
                <a:gd name="connsiteX262" fmla="*/ 3450692 w 4011346"/>
                <a:gd name="connsiteY262" fmla="*/ 670781 h 1978974"/>
                <a:gd name="connsiteX263" fmla="*/ 3440681 w 4011346"/>
                <a:gd name="connsiteY263" fmla="*/ 684130 h 1978974"/>
                <a:gd name="connsiteX264" fmla="*/ 3357250 w 4011346"/>
                <a:gd name="connsiteY264" fmla="*/ 670781 h 1978974"/>
                <a:gd name="connsiteX265" fmla="*/ 3297180 w 4011346"/>
                <a:gd name="connsiteY265" fmla="*/ 677455 h 1978974"/>
                <a:gd name="connsiteX266" fmla="*/ 3267145 w 4011346"/>
                <a:gd name="connsiteY266" fmla="*/ 654095 h 1978974"/>
                <a:gd name="connsiteX267" fmla="*/ 3267145 w 4011346"/>
                <a:gd name="connsiteY267" fmla="*/ 617385 h 1978974"/>
                <a:gd name="connsiteX268" fmla="*/ 3203738 w 4011346"/>
                <a:gd name="connsiteY268" fmla="*/ 560652 h 1978974"/>
                <a:gd name="connsiteX269" fmla="*/ 3076923 w 4011346"/>
                <a:gd name="connsiteY269" fmla="*/ 567327 h 1978974"/>
                <a:gd name="connsiteX270" fmla="*/ 3043551 w 4011346"/>
                <a:gd name="connsiteY270" fmla="*/ 543966 h 1978974"/>
                <a:gd name="connsiteX271" fmla="*/ 3000167 w 4011346"/>
                <a:gd name="connsiteY271" fmla="*/ 497245 h 1978974"/>
                <a:gd name="connsiteX272" fmla="*/ 3013516 w 4011346"/>
                <a:gd name="connsiteY272" fmla="*/ 490571 h 1978974"/>
                <a:gd name="connsiteX273" fmla="*/ 3000167 w 4011346"/>
                <a:gd name="connsiteY273" fmla="*/ 470547 h 1978974"/>
                <a:gd name="connsiteX274" fmla="*/ 2970132 w 4011346"/>
                <a:gd name="connsiteY274" fmla="*/ 467210 h 1978974"/>
                <a:gd name="connsiteX275" fmla="*/ 2920073 w 4011346"/>
                <a:gd name="connsiteY275" fmla="*/ 513931 h 1978974"/>
                <a:gd name="connsiteX276" fmla="*/ 2920073 w 4011346"/>
                <a:gd name="connsiteY276" fmla="*/ 513931 h 1978974"/>
                <a:gd name="connsiteX277" fmla="*/ 2916736 w 4011346"/>
                <a:gd name="connsiteY277" fmla="*/ 463873 h 1978974"/>
                <a:gd name="connsiteX278" fmla="*/ 2936760 w 4011346"/>
                <a:gd name="connsiteY278" fmla="*/ 460536 h 1978974"/>
                <a:gd name="connsiteX279" fmla="*/ 2866678 w 4011346"/>
                <a:gd name="connsiteY279" fmla="*/ 430501 h 1978974"/>
                <a:gd name="connsiteX280" fmla="*/ 2813282 w 4011346"/>
                <a:gd name="connsiteY280" fmla="*/ 427163 h 1978974"/>
                <a:gd name="connsiteX281" fmla="*/ 2793259 w 4011346"/>
                <a:gd name="connsiteY281" fmla="*/ 450524 h 1978974"/>
                <a:gd name="connsiteX282" fmla="*/ 2743200 w 4011346"/>
                <a:gd name="connsiteY282" fmla="*/ 460536 h 1978974"/>
                <a:gd name="connsiteX283" fmla="*/ 2786584 w 4011346"/>
                <a:gd name="connsiteY283" fmla="*/ 470547 h 1978974"/>
                <a:gd name="connsiteX284" fmla="*/ 2763224 w 4011346"/>
                <a:gd name="connsiteY284" fmla="*/ 490571 h 1978974"/>
                <a:gd name="connsiteX285" fmla="*/ 2769898 w 4011346"/>
                <a:gd name="connsiteY285" fmla="*/ 540629 h 1978974"/>
                <a:gd name="connsiteX286" fmla="*/ 2749875 w 4011346"/>
                <a:gd name="connsiteY286" fmla="*/ 523943 h 1978974"/>
                <a:gd name="connsiteX287" fmla="*/ 2733189 w 4011346"/>
                <a:gd name="connsiteY287" fmla="*/ 537292 h 1978974"/>
                <a:gd name="connsiteX288" fmla="*/ 2666444 w 4011346"/>
                <a:gd name="connsiteY288" fmla="*/ 527280 h 1978974"/>
                <a:gd name="connsiteX289" fmla="*/ 2636409 w 4011346"/>
                <a:gd name="connsiteY289" fmla="*/ 537292 h 1978974"/>
                <a:gd name="connsiteX290" fmla="*/ 2603037 w 4011346"/>
                <a:gd name="connsiteY290" fmla="*/ 497245 h 1978974"/>
                <a:gd name="connsiteX291" fmla="*/ 2569665 w 4011346"/>
                <a:gd name="connsiteY291" fmla="*/ 580676 h 1978974"/>
                <a:gd name="connsiteX292" fmla="*/ 2552979 w 4011346"/>
                <a:gd name="connsiteY292" fmla="*/ 600699 h 1978974"/>
                <a:gd name="connsiteX293" fmla="*/ 2469548 w 4011346"/>
                <a:gd name="connsiteY293" fmla="*/ 463873 h 1978974"/>
                <a:gd name="connsiteX294" fmla="*/ 2446187 w 4011346"/>
                <a:gd name="connsiteY294" fmla="*/ 480559 h 1978974"/>
                <a:gd name="connsiteX295" fmla="*/ 2442850 w 4011346"/>
                <a:gd name="connsiteY295" fmla="*/ 447187 h 1978974"/>
                <a:gd name="connsiteX296" fmla="*/ 2449525 w 4011346"/>
                <a:gd name="connsiteY296" fmla="*/ 377105 h 1978974"/>
                <a:gd name="connsiteX297" fmla="*/ 2386117 w 4011346"/>
                <a:gd name="connsiteY297" fmla="*/ 350407 h 1978974"/>
                <a:gd name="connsiteX298" fmla="*/ 2369431 w 4011346"/>
                <a:gd name="connsiteY298" fmla="*/ 390454 h 1978974"/>
                <a:gd name="connsiteX299" fmla="*/ 2379443 w 4011346"/>
                <a:gd name="connsiteY299" fmla="*/ 413814 h 1978974"/>
                <a:gd name="connsiteX300" fmla="*/ 2376106 w 4011346"/>
                <a:gd name="connsiteY300" fmla="*/ 433838 h 1978974"/>
                <a:gd name="connsiteX301" fmla="*/ 2352745 w 4011346"/>
                <a:gd name="connsiteY301" fmla="*/ 410477 h 1978974"/>
                <a:gd name="connsiteX302" fmla="*/ 2316036 w 4011346"/>
                <a:gd name="connsiteY302" fmla="*/ 417152 h 1978974"/>
                <a:gd name="connsiteX303" fmla="*/ 2272652 w 4011346"/>
                <a:gd name="connsiteY303" fmla="*/ 403803 h 1978974"/>
                <a:gd name="connsiteX304" fmla="*/ 2245954 w 4011346"/>
                <a:gd name="connsiteY304" fmla="*/ 363756 h 1978974"/>
                <a:gd name="connsiteX305" fmla="*/ 2209244 w 4011346"/>
                <a:gd name="connsiteY305" fmla="*/ 360419 h 1978974"/>
                <a:gd name="connsiteX306" fmla="*/ 2159186 w 4011346"/>
                <a:gd name="connsiteY306" fmla="*/ 350407 h 1978974"/>
                <a:gd name="connsiteX307" fmla="*/ 2132488 w 4011346"/>
                <a:gd name="connsiteY307" fmla="*/ 367093 h 1978974"/>
                <a:gd name="connsiteX308" fmla="*/ 2115802 w 4011346"/>
                <a:gd name="connsiteY308" fmla="*/ 380442 h 1978974"/>
                <a:gd name="connsiteX309" fmla="*/ 2115802 w 4011346"/>
                <a:gd name="connsiteY309" fmla="*/ 350407 h 1978974"/>
                <a:gd name="connsiteX310" fmla="*/ 2082430 w 4011346"/>
                <a:gd name="connsiteY310" fmla="*/ 347070 h 1978974"/>
                <a:gd name="connsiteX311" fmla="*/ 2045720 w 4011346"/>
                <a:gd name="connsiteY311" fmla="*/ 320372 h 1978974"/>
                <a:gd name="connsiteX312" fmla="*/ 2025697 w 4011346"/>
                <a:gd name="connsiteY312" fmla="*/ 350407 h 1978974"/>
                <a:gd name="connsiteX313" fmla="*/ 2055732 w 4011346"/>
                <a:gd name="connsiteY313" fmla="*/ 347070 h 1978974"/>
                <a:gd name="connsiteX314" fmla="*/ 2045720 w 4011346"/>
                <a:gd name="connsiteY314" fmla="*/ 373768 h 1978974"/>
                <a:gd name="connsiteX315" fmla="*/ 1988987 w 4011346"/>
                <a:gd name="connsiteY315" fmla="*/ 393791 h 1978974"/>
                <a:gd name="connsiteX316" fmla="*/ 1935592 w 4011346"/>
                <a:gd name="connsiteY316" fmla="*/ 403803 h 1978974"/>
                <a:gd name="connsiteX317" fmla="*/ 1995662 w 4011346"/>
                <a:gd name="connsiteY317" fmla="*/ 347070 h 1978974"/>
                <a:gd name="connsiteX318" fmla="*/ 2055732 w 4011346"/>
                <a:gd name="connsiteY318" fmla="*/ 276988 h 1978974"/>
                <a:gd name="connsiteX319" fmla="*/ 2055732 w 4011346"/>
                <a:gd name="connsiteY319" fmla="*/ 276988 h 1978974"/>
                <a:gd name="connsiteX320" fmla="*/ 1835474 w 4011346"/>
                <a:gd name="connsiteY320" fmla="*/ 0 h 1978974"/>
                <a:gd name="connsiteX321" fmla="*/ 1838813 w 4011346"/>
                <a:gd name="connsiteY321" fmla="*/ 93441 h 1978974"/>
                <a:gd name="connsiteX322" fmla="*/ 1782079 w 4011346"/>
                <a:gd name="connsiteY322" fmla="*/ 80092 h 1978974"/>
                <a:gd name="connsiteX323" fmla="*/ 1768731 w 4011346"/>
                <a:gd name="connsiteY323" fmla="*/ 126814 h 1978974"/>
                <a:gd name="connsiteX324" fmla="*/ 1705322 w 4011346"/>
                <a:gd name="connsiteY324" fmla="*/ 150174 h 1978974"/>
                <a:gd name="connsiteX325" fmla="*/ 1685300 w 4011346"/>
                <a:gd name="connsiteY325" fmla="*/ 123476 h 1978974"/>
                <a:gd name="connsiteX326" fmla="*/ 1615218 w 4011346"/>
                <a:gd name="connsiteY326" fmla="*/ 126814 h 1978974"/>
                <a:gd name="connsiteX327" fmla="*/ 1638579 w 4011346"/>
                <a:gd name="connsiteY327" fmla="*/ 156849 h 1978974"/>
                <a:gd name="connsiteX328" fmla="*/ 1528449 w 4011346"/>
                <a:gd name="connsiteY328" fmla="*/ 183545 h 1978974"/>
                <a:gd name="connsiteX329" fmla="*/ 1465043 w 4011346"/>
                <a:gd name="connsiteY329" fmla="*/ 266976 h 1978974"/>
                <a:gd name="connsiteX330" fmla="*/ 1448357 w 4011346"/>
                <a:gd name="connsiteY330" fmla="*/ 293674 h 1978974"/>
                <a:gd name="connsiteX331" fmla="*/ 1481729 w 4011346"/>
                <a:gd name="connsiteY331" fmla="*/ 327047 h 1978974"/>
                <a:gd name="connsiteX332" fmla="*/ 1481729 w 4011346"/>
                <a:gd name="connsiteY332" fmla="*/ 357082 h 1978974"/>
                <a:gd name="connsiteX333" fmla="*/ 1458368 w 4011346"/>
                <a:gd name="connsiteY333" fmla="*/ 360419 h 1978974"/>
                <a:gd name="connsiteX334" fmla="*/ 1458368 w 4011346"/>
                <a:gd name="connsiteY334" fmla="*/ 340395 h 1978974"/>
                <a:gd name="connsiteX335" fmla="*/ 1418322 w 4011346"/>
                <a:gd name="connsiteY335" fmla="*/ 350407 h 1978974"/>
                <a:gd name="connsiteX336" fmla="*/ 1368263 w 4011346"/>
                <a:gd name="connsiteY336" fmla="*/ 357082 h 1978974"/>
                <a:gd name="connsiteX337" fmla="*/ 1321542 w 4011346"/>
                <a:gd name="connsiteY337" fmla="*/ 363756 h 1978974"/>
                <a:gd name="connsiteX338" fmla="*/ 1318205 w 4011346"/>
                <a:gd name="connsiteY338" fmla="*/ 450524 h 1978974"/>
                <a:gd name="connsiteX339" fmla="*/ 1358252 w 4011346"/>
                <a:gd name="connsiteY339" fmla="*/ 473885 h 1978974"/>
                <a:gd name="connsiteX340" fmla="*/ 1374938 w 4011346"/>
                <a:gd name="connsiteY340" fmla="*/ 503920 h 1978974"/>
                <a:gd name="connsiteX341" fmla="*/ 1384949 w 4011346"/>
                <a:gd name="connsiteY341" fmla="*/ 527280 h 1978974"/>
                <a:gd name="connsiteX342" fmla="*/ 1394961 w 4011346"/>
                <a:gd name="connsiteY342" fmla="*/ 577339 h 1978974"/>
                <a:gd name="connsiteX343" fmla="*/ 1384949 w 4011346"/>
                <a:gd name="connsiteY343" fmla="*/ 607374 h 1978974"/>
                <a:gd name="connsiteX344" fmla="*/ 1358252 w 4011346"/>
                <a:gd name="connsiteY344" fmla="*/ 574001 h 1978974"/>
                <a:gd name="connsiteX345" fmla="*/ 1361589 w 4011346"/>
                <a:gd name="connsiteY345" fmla="*/ 543966 h 1978974"/>
                <a:gd name="connsiteX346" fmla="*/ 1351577 w 4011346"/>
                <a:gd name="connsiteY346" fmla="*/ 503920 h 1978974"/>
                <a:gd name="connsiteX347" fmla="*/ 1328217 w 4011346"/>
                <a:gd name="connsiteY347" fmla="*/ 510594 h 1978974"/>
                <a:gd name="connsiteX348" fmla="*/ 1281495 w 4011346"/>
                <a:gd name="connsiteY348" fmla="*/ 473885 h 1978974"/>
                <a:gd name="connsiteX349" fmla="*/ 1241449 w 4011346"/>
                <a:gd name="connsiteY349" fmla="*/ 470547 h 1978974"/>
                <a:gd name="connsiteX350" fmla="*/ 1241449 w 4011346"/>
                <a:gd name="connsiteY350" fmla="*/ 517268 h 1978974"/>
                <a:gd name="connsiteX351" fmla="*/ 1201402 w 4011346"/>
                <a:gd name="connsiteY351" fmla="*/ 497245 h 1978974"/>
                <a:gd name="connsiteX352" fmla="*/ 1228100 w 4011346"/>
                <a:gd name="connsiteY352" fmla="*/ 547303 h 1978974"/>
                <a:gd name="connsiteX353" fmla="*/ 1258135 w 4011346"/>
                <a:gd name="connsiteY353" fmla="*/ 557315 h 1978974"/>
                <a:gd name="connsiteX354" fmla="*/ 1258135 w 4011346"/>
                <a:gd name="connsiteY354" fmla="*/ 577339 h 1978974"/>
                <a:gd name="connsiteX355" fmla="*/ 1198065 w 4011346"/>
                <a:gd name="connsiteY355" fmla="*/ 553978 h 1978974"/>
                <a:gd name="connsiteX356" fmla="*/ 1181379 w 4011346"/>
                <a:gd name="connsiteY356" fmla="*/ 553978 h 1978974"/>
                <a:gd name="connsiteX357" fmla="*/ 1178041 w 4011346"/>
                <a:gd name="connsiteY357" fmla="*/ 510594 h 1978974"/>
                <a:gd name="connsiteX358" fmla="*/ 1171367 w 4011346"/>
                <a:gd name="connsiteY358" fmla="*/ 423826 h 1978974"/>
                <a:gd name="connsiteX359" fmla="*/ 1161355 w 4011346"/>
                <a:gd name="connsiteY359" fmla="*/ 493908 h 1978974"/>
                <a:gd name="connsiteX360" fmla="*/ 1137995 w 4011346"/>
                <a:gd name="connsiteY360" fmla="*/ 523943 h 1978974"/>
                <a:gd name="connsiteX361" fmla="*/ 1158018 w 4011346"/>
                <a:gd name="connsiteY361" fmla="*/ 570664 h 1978974"/>
                <a:gd name="connsiteX362" fmla="*/ 1158018 w 4011346"/>
                <a:gd name="connsiteY362" fmla="*/ 604036 h 1978974"/>
                <a:gd name="connsiteX363" fmla="*/ 1141332 w 4011346"/>
                <a:gd name="connsiteY363" fmla="*/ 654095 h 1978974"/>
                <a:gd name="connsiteX364" fmla="*/ 1154681 w 4011346"/>
                <a:gd name="connsiteY364" fmla="*/ 687467 h 1978974"/>
                <a:gd name="connsiteX365" fmla="*/ 1184716 w 4011346"/>
                <a:gd name="connsiteY365" fmla="*/ 694141 h 1978974"/>
                <a:gd name="connsiteX366" fmla="*/ 1221425 w 4011346"/>
                <a:gd name="connsiteY366" fmla="*/ 700816 h 1978974"/>
                <a:gd name="connsiteX367" fmla="*/ 1241449 w 4011346"/>
                <a:gd name="connsiteY367" fmla="*/ 724176 h 1978974"/>
                <a:gd name="connsiteX368" fmla="*/ 1258135 w 4011346"/>
                <a:gd name="connsiteY368" fmla="*/ 767560 h 1978974"/>
                <a:gd name="connsiteX369" fmla="*/ 1258135 w 4011346"/>
                <a:gd name="connsiteY369" fmla="*/ 767560 h 1978974"/>
                <a:gd name="connsiteX370" fmla="*/ 1254798 w 4011346"/>
                <a:gd name="connsiteY370" fmla="*/ 800933 h 1978974"/>
                <a:gd name="connsiteX371" fmla="*/ 1274821 w 4011346"/>
                <a:gd name="connsiteY371" fmla="*/ 820956 h 1978974"/>
                <a:gd name="connsiteX372" fmla="*/ 1244786 w 4011346"/>
                <a:gd name="connsiteY372" fmla="*/ 827631 h 1978974"/>
                <a:gd name="connsiteX373" fmla="*/ 1224763 w 4011346"/>
                <a:gd name="connsiteY373" fmla="*/ 787584 h 1978974"/>
                <a:gd name="connsiteX374" fmla="*/ 1224763 w 4011346"/>
                <a:gd name="connsiteY374" fmla="*/ 747537 h 1978974"/>
                <a:gd name="connsiteX375" fmla="*/ 1194727 w 4011346"/>
                <a:gd name="connsiteY375" fmla="*/ 710828 h 1978974"/>
                <a:gd name="connsiteX376" fmla="*/ 1164692 w 4011346"/>
                <a:gd name="connsiteY376" fmla="*/ 754212 h 1978974"/>
                <a:gd name="connsiteX377" fmla="*/ 1178041 w 4011346"/>
                <a:gd name="connsiteY377" fmla="*/ 797595 h 1978974"/>
                <a:gd name="connsiteX378" fmla="*/ 1137995 w 4011346"/>
                <a:gd name="connsiteY378" fmla="*/ 854328 h 1978974"/>
                <a:gd name="connsiteX379" fmla="*/ 1097948 w 4011346"/>
                <a:gd name="connsiteY379" fmla="*/ 911061 h 1978974"/>
                <a:gd name="connsiteX380" fmla="*/ 1007843 w 4011346"/>
                <a:gd name="connsiteY380" fmla="*/ 874352 h 1978974"/>
                <a:gd name="connsiteX381" fmla="*/ 1074587 w 4011346"/>
                <a:gd name="connsiteY381" fmla="*/ 871014 h 1978974"/>
                <a:gd name="connsiteX382" fmla="*/ 1107960 w 4011346"/>
                <a:gd name="connsiteY382" fmla="*/ 807607 h 1978974"/>
                <a:gd name="connsiteX383" fmla="*/ 1121309 w 4011346"/>
                <a:gd name="connsiteY383" fmla="*/ 764223 h 1978974"/>
                <a:gd name="connsiteX384" fmla="*/ 1127983 w 4011346"/>
                <a:gd name="connsiteY384" fmla="*/ 730851 h 1978974"/>
                <a:gd name="connsiteX385" fmla="*/ 1117971 w 4011346"/>
                <a:gd name="connsiteY385" fmla="*/ 714165 h 1978974"/>
                <a:gd name="connsiteX386" fmla="*/ 1114634 w 4011346"/>
                <a:gd name="connsiteY386" fmla="*/ 664106 h 1978974"/>
                <a:gd name="connsiteX387" fmla="*/ 1104622 w 4011346"/>
                <a:gd name="connsiteY387" fmla="*/ 584013 h 1978974"/>
                <a:gd name="connsiteX388" fmla="*/ 1101285 w 4011346"/>
                <a:gd name="connsiteY388" fmla="*/ 523943 h 1978974"/>
                <a:gd name="connsiteX389" fmla="*/ 1124646 w 4011346"/>
                <a:gd name="connsiteY389" fmla="*/ 430501 h 1978974"/>
                <a:gd name="connsiteX390" fmla="*/ 1031203 w 4011346"/>
                <a:gd name="connsiteY390" fmla="*/ 420489 h 1978974"/>
                <a:gd name="connsiteX391" fmla="*/ 1014517 w 4011346"/>
                <a:gd name="connsiteY391" fmla="*/ 477222 h 1978974"/>
                <a:gd name="connsiteX392" fmla="*/ 1024529 w 4011346"/>
                <a:gd name="connsiteY392" fmla="*/ 523943 h 1978974"/>
                <a:gd name="connsiteX393" fmla="*/ 981145 w 4011346"/>
                <a:gd name="connsiteY393" fmla="*/ 577339 h 1978974"/>
                <a:gd name="connsiteX394" fmla="*/ 991157 w 4011346"/>
                <a:gd name="connsiteY394" fmla="*/ 614048 h 1978974"/>
                <a:gd name="connsiteX395" fmla="*/ 981145 w 4011346"/>
                <a:gd name="connsiteY395" fmla="*/ 660769 h 1978974"/>
                <a:gd name="connsiteX396" fmla="*/ 1001168 w 4011346"/>
                <a:gd name="connsiteY396" fmla="*/ 684130 h 1978974"/>
                <a:gd name="connsiteX397" fmla="*/ 1017854 w 4011346"/>
                <a:gd name="connsiteY397" fmla="*/ 730851 h 1978974"/>
                <a:gd name="connsiteX398" fmla="*/ 1047890 w 4011346"/>
                <a:gd name="connsiteY398" fmla="*/ 717502 h 1978974"/>
                <a:gd name="connsiteX399" fmla="*/ 1014517 w 4011346"/>
                <a:gd name="connsiteY399" fmla="*/ 770898 h 1978974"/>
                <a:gd name="connsiteX400" fmla="*/ 957784 w 4011346"/>
                <a:gd name="connsiteY400" fmla="*/ 717502 h 1978974"/>
                <a:gd name="connsiteX401" fmla="*/ 884365 w 4011346"/>
                <a:gd name="connsiteY401" fmla="*/ 680793 h 1978974"/>
                <a:gd name="connsiteX402" fmla="*/ 824295 w 4011346"/>
                <a:gd name="connsiteY402" fmla="*/ 657432 h 1978974"/>
                <a:gd name="connsiteX403" fmla="*/ 810946 w 4011346"/>
                <a:gd name="connsiteY403" fmla="*/ 694141 h 1978974"/>
                <a:gd name="connsiteX404" fmla="*/ 827633 w 4011346"/>
                <a:gd name="connsiteY404" fmla="*/ 730851 h 1978974"/>
                <a:gd name="connsiteX405" fmla="*/ 814284 w 4011346"/>
                <a:gd name="connsiteY405" fmla="*/ 754212 h 1978974"/>
                <a:gd name="connsiteX406" fmla="*/ 800935 w 4011346"/>
                <a:gd name="connsiteY406" fmla="*/ 770898 h 1978974"/>
                <a:gd name="connsiteX407" fmla="*/ 770900 w 4011346"/>
                <a:gd name="connsiteY407" fmla="*/ 714165 h 1978974"/>
                <a:gd name="connsiteX408" fmla="*/ 744202 w 4011346"/>
                <a:gd name="connsiteY408" fmla="*/ 750874 h 1978974"/>
                <a:gd name="connsiteX409" fmla="*/ 707492 w 4011346"/>
                <a:gd name="connsiteY409" fmla="*/ 744200 h 1978974"/>
                <a:gd name="connsiteX410" fmla="*/ 654097 w 4011346"/>
                <a:gd name="connsiteY410" fmla="*/ 780909 h 1978974"/>
                <a:gd name="connsiteX411" fmla="*/ 644085 w 4011346"/>
                <a:gd name="connsiteY411" fmla="*/ 757549 h 1978974"/>
                <a:gd name="connsiteX412" fmla="*/ 654097 w 4011346"/>
                <a:gd name="connsiteY412" fmla="*/ 720839 h 1978974"/>
                <a:gd name="connsiteX413" fmla="*/ 614050 w 4011346"/>
                <a:gd name="connsiteY413" fmla="*/ 757549 h 1978974"/>
                <a:gd name="connsiteX414" fmla="*/ 594027 w 4011346"/>
                <a:gd name="connsiteY414" fmla="*/ 757549 h 1978974"/>
                <a:gd name="connsiteX415" fmla="*/ 533957 w 4011346"/>
                <a:gd name="connsiteY415" fmla="*/ 790921 h 1978974"/>
                <a:gd name="connsiteX416" fmla="*/ 510596 w 4011346"/>
                <a:gd name="connsiteY416" fmla="*/ 814282 h 1978974"/>
                <a:gd name="connsiteX417" fmla="*/ 500584 w 4011346"/>
                <a:gd name="connsiteY417" fmla="*/ 861003 h 1978974"/>
                <a:gd name="connsiteX418" fmla="*/ 450526 w 4011346"/>
                <a:gd name="connsiteY418" fmla="*/ 847654 h 1978974"/>
                <a:gd name="connsiteX419" fmla="*/ 433840 w 4011346"/>
                <a:gd name="connsiteY419" fmla="*/ 810944 h 1978974"/>
                <a:gd name="connsiteX420" fmla="*/ 467212 w 4011346"/>
                <a:gd name="connsiteY420" fmla="*/ 780909 h 1978974"/>
                <a:gd name="connsiteX421" fmla="*/ 453863 w 4011346"/>
                <a:gd name="connsiteY421" fmla="*/ 757549 h 1978974"/>
                <a:gd name="connsiteX422" fmla="*/ 390456 w 4011346"/>
                <a:gd name="connsiteY422" fmla="*/ 727514 h 1978974"/>
                <a:gd name="connsiteX423" fmla="*/ 417154 w 4011346"/>
                <a:gd name="connsiteY423" fmla="*/ 777572 h 1978974"/>
                <a:gd name="connsiteX424" fmla="*/ 407142 w 4011346"/>
                <a:gd name="connsiteY424" fmla="*/ 820956 h 1978974"/>
                <a:gd name="connsiteX425" fmla="*/ 413817 w 4011346"/>
                <a:gd name="connsiteY425" fmla="*/ 857666 h 1978974"/>
                <a:gd name="connsiteX426" fmla="*/ 427165 w 4011346"/>
                <a:gd name="connsiteY426" fmla="*/ 881026 h 1978974"/>
                <a:gd name="connsiteX427" fmla="*/ 413817 w 4011346"/>
                <a:gd name="connsiteY427" fmla="*/ 911061 h 1978974"/>
                <a:gd name="connsiteX428" fmla="*/ 390456 w 4011346"/>
                <a:gd name="connsiteY428" fmla="*/ 887701 h 1978974"/>
                <a:gd name="connsiteX429" fmla="*/ 360421 w 4011346"/>
                <a:gd name="connsiteY429" fmla="*/ 884363 h 1978974"/>
                <a:gd name="connsiteX430" fmla="*/ 333723 w 4011346"/>
                <a:gd name="connsiteY430" fmla="*/ 924410 h 1978974"/>
                <a:gd name="connsiteX431" fmla="*/ 307025 w 4011346"/>
                <a:gd name="connsiteY431" fmla="*/ 944433 h 1978974"/>
                <a:gd name="connsiteX432" fmla="*/ 320374 w 4011346"/>
                <a:gd name="connsiteY432" fmla="*/ 971131 h 1978974"/>
                <a:gd name="connsiteX433" fmla="*/ 303688 w 4011346"/>
                <a:gd name="connsiteY433" fmla="*/ 994492 h 1978974"/>
                <a:gd name="connsiteX434" fmla="*/ 233606 w 4011346"/>
                <a:gd name="connsiteY434" fmla="*/ 957782 h 1978974"/>
                <a:gd name="connsiteX435" fmla="*/ 243618 w 4011346"/>
                <a:gd name="connsiteY435" fmla="*/ 1007841 h 1978974"/>
                <a:gd name="connsiteX436" fmla="*/ 263641 w 4011346"/>
                <a:gd name="connsiteY436" fmla="*/ 1027864 h 1978974"/>
                <a:gd name="connsiteX437" fmla="*/ 250292 w 4011346"/>
                <a:gd name="connsiteY437" fmla="*/ 1041213 h 1978974"/>
                <a:gd name="connsiteX438" fmla="*/ 193560 w 4011346"/>
                <a:gd name="connsiteY438" fmla="*/ 1004503 h 1978974"/>
                <a:gd name="connsiteX439" fmla="*/ 170199 w 4011346"/>
                <a:gd name="connsiteY439" fmla="*/ 964457 h 1978974"/>
                <a:gd name="connsiteX440" fmla="*/ 170199 w 4011346"/>
                <a:gd name="connsiteY440" fmla="*/ 917736 h 1978974"/>
                <a:gd name="connsiteX441" fmla="*/ 133490 w 4011346"/>
                <a:gd name="connsiteY441" fmla="*/ 840979 h 1978974"/>
                <a:gd name="connsiteX442" fmla="*/ 196897 w 4011346"/>
                <a:gd name="connsiteY442" fmla="*/ 871014 h 1978974"/>
                <a:gd name="connsiteX443" fmla="*/ 256967 w 4011346"/>
                <a:gd name="connsiteY443" fmla="*/ 901049 h 1978974"/>
                <a:gd name="connsiteX444" fmla="*/ 293676 w 4011346"/>
                <a:gd name="connsiteY444" fmla="*/ 904387 h 1978974"/>
                <a:gd name="connsiteX445" fmla="*/ 327049 w 4011346"/>
                <a:gd name="connsiteY445" fmla="*/ 874352 h 1978974"/>
                <a:gd name="connsiteX446" fmla="*/ 343735 w 4011346"/>
                <a:gd name="connsiteY446" fmla="*/ 837642 h 1978974"/>
                <a:gd name="connsiteX447" fmla="*/ 333723 w 4011346"/>
                <a:gd name="connsiteY447" fmla="*/ 787584 h 1978974"/>
                <a:gd name="connsiteX448" fmla="*/ 290339 w 4011346"/>
                <a:gd name="connsiteY448" fmla="*/ 767560 h 1978974"/>
                <a:gd name="connsiteX449" fmla="*/ 236944 w 4011346"/>
                <a:gd name="connsiteY449" fmla="*/ 720839 h 1978974"/>
                <a:gd name="connsiteX450" fmla="*/ 133490 w 4011346"/>
                <a:gd name="connsiteY450" fmla="*/ 664106 h 1978974"/>
                <a:gd name="connsiteX0" fmla="*/ 133490 w 4011346"/>
                <a:gd name="connsiteY0" fmla="*/ 664106 h 1978974"/>
                <a:gd name="connsiteX1" fmla="*/ 46722 w 4011346"/>
                <a:gd name="connsiteY1" fmla="*/ 694141 h 1978974"/>
                <a:gd name="connsiteX2" fmla="*/ 33373 w 4011346"/>
                <a:gd name="connsiteY2" fmla="*/ 724176 h 1978974"/>
                <a:gd name="connsiteX3" fmla="*/ 43384 w 4011346"/>
                <a:gd name="connsiteY3" fmla="*/ 754212 h 1978974"/>
                <a:gd name="connsiteX4" fmla="*/ 60071 w 4011346"/>
                <a:gd name="connsiteY4" fmla="*/ 780909 h 1978974"/>
                <a:gd name="connsiteX5" fmla="*/ 73419 w 4011346"/>
                <a:gd name="connsiteY5" fmla="*/ 810944 h 1978974"/>
                <a:gd name="connsiteX6" fmla="*/ 56733 w 4011346"/>
                <a:gd name="connsiteY6" fmla="*/ 834305 h 1978974"/>
                <a:gd name="connsiteX7" fmla="*/ 76757 w 4011346"/>
                <a:gd name="connsiteY7" fmla="*/ 914398 h 1978974"/>
                <a:gd name="connsiteX8" fmla="*/ 66745 w 4011346"/>
                <a:gd name="connsiteY8" fmla="*/ 931085 h 1978974"/>
                <a:gd name="connsiteX9" fmla="*/ 70082 w 4011346"/>
                <a:gd name="connsiteY9" fmla="*/ 957782 h 1978974"/>
                <a:gd name="connsiteX10" fmla="*/ 70082 w 4011346"/>
                <a:gd name="connsiteY10" fmla="*/ 997829 h 1978974"/>
                <a:gd name="connsiteX11" fmla="*/ 80094 w 4011346"/>
                <a:gd name="connsiteY11" fmla="*/ 1017852 h 1978974"/>
                <a:gd name="connsiteX12" fmla="*/ 76757 w 4011346"/>
                <a:gd name="connsiteY12" fmla="*/ 1041213 h 1978974"/>
                <a:gd name="connsiteX13" fmla="*/ 106792 w 4011346"/>
                <a:gd name="connsiteY13" fmla="*/ 1074585 h 1978974"/>
                <a:gd name="connsiteX14" fmla="*/ 106792 w 4011346"/>
                <a:gd name="connsiteY14" fmla="*/ 1104620 h 1978974"/>
                <a:gd name="connsiteX15" fmla="*/ 13349 w 4011346"/>
                <a:gd name="connsiteY15" fmla="*/ 1194725 h 1978974"/>
                <a:gd name="connsiteX16" fmla="*/ 33373 w 4011346"/>
                <a:gd name="connsiteY16" fmla="*/ 1228098 h 1978974"/>
                <a:gd name="connsiteX17" fmla="*/ 33373 w 4011346"/>
                <a:gd name="connsiteY17" fmla="*/ 1228098 h 1978974"/>
                <a:gd name="connsiteX18" fmla="*/ 16687 w 4011346"/>
                <a:gd name="connsiteY18" fmla="*/ 1258133 h 1978974"/>
                <a:gd name="connsiteX19" fmla="*/ 3338 w 4011346"/>
                <a:gd name="connsiteY19" fmla="*/ 1288168 h 1978974"/>
                <a:gd name="connsiteX20" fmla="*/ 0 w 4011346"/>
                <a:gd name="connsiteY20" fmla="*/ 1348238 h 1978974"/>
                <a:gd name="connsiteX21" fmla="*/ 16687 w 4011346"/>
                <a:gd name="connsiteY21" fmla="*/ 1391622 h 1978974"/>
                <a:gd name="connsiteX22" fmla="*/ 20024 w 4011346"/>
                <a:gd name="connsiteY22" fmla="*/ 1424994 h 1978974"/>
                <a:gd name="connsiteX23" fmla="*/ 56733 w 4011346"/>
                <a:gd name="connsiteY23" fmla="*/ 1435006 h 1978974"/>
                <a:gd name="connsiteX24" fmla="*/ 116803 w 4011346"/>
                <a:gd name="connsiteY24" fmla="*/ 1521774 h 1978974"/>
                <a:gd name="connsiteX25" fmla="*/ 96780 w 4011346"/>
                <a:gd name="connsiteY25" fmla="*/ 1545134 h 1978974"/>
                <a:gd name="connsiteX26" fmla="*/ 93443 w 4011346"/>
                <a:gd name="connsiteY26" fmla="*/ 1575169 h 1978974"/>
                <a:gd name="connsiteX27" fmla="*/ 120141 w 4011346"/>
                <a:gd name="connsiteY27" fmla="*/ 1578506 h 1978974"/>
                <a:gd name="connsiteX28" fmla="*/ 160187 w 4011346"/>
                <a:gd name="connsiteY28" fmla="*/ 1591855 h 1978974"/>
                <a:gd name="connsiteX29" fmla="*/ 186885 w 4011346"/>
                <a:gd name="connsiteY29" fmla="*/ 1605204 h 1978974"/>
                <a:gd name="connsiteX30" fmla="*/ 213583 w 4011346"/>
                <a:gd name="connsiteY30" fmla="*/ 1635239 h 1978974"/>
                <a:gd name="connsiteX31" fmla="*/ 243618 w 4011346"/>
                <a:gd name="connsiteY31" fmla="*/ 1638576 h 1978974"/>
                <a:gd name="connsiteX32" fmla="*/ 287002 w 4011346"/>
                <a:gd name="connsiteY32" fmla="*/ 1668612 h 1978974"/>
                <a:gd name="connsiteX33" fmla="*/ 310363 w 4011346"/>
                <a:gd name="connsiteY33" fmla="*/ 1678623 h 1978974"/>
                <a:gd name="connsiteX34" fmla="*/ 310363 w 4011346"/>
                <a:gd name="connsiteY34" fmla="*/ 1715333 h 1978974"/>
                <a:gd name="connsiteX35" fmla="*/ 270316 w 4011346"/>
                <a:gd name="connsiteY35" fmla="*/ 1755379 h 1978974"/>
                <a:gd name="connsiteX36" fmla="*/ 280327 w 4011346"/>
                <a:gd name="connsiteY36" fmla="*/ 1778740 h 1978974"/>
                <a:gd name="connsiteX37" fmla="*/ 273653 w 4011346"/>
                <a:gd name="connsiteY37" fmla="*/ 1798763 h 1978974"/>
                <a:gd name="connsiteX38" fmla="*/ 266979 w 4011346"/>
                <a:gd name="connsiteY38" fmla="*/ 1815449 h 1978974"/>
                <a:gd name="connsiteX39" fmla="*/ 240281 w 4011346"/>
                <a:gd name="connsiteY39" fmla="*/ 1855496 h 1978974"/>
                <a:gd name="connsiteX40" fmla="*/ 307025 w 4011346"/>
                <a:gd name="connsiteY40" fmla="*/ 1892206 h 1978974"/>
                <a:gd name="connsiteX41" fmla="*/ 337060 w 4011346"/>
                <a:gd name="connsiteY41" fmla="*/ 1898880 h 1978974"/>
                <a:gd name="connsiteX42" fmla="*/ 360421 w 4011346"/>
                <a:gd name="connsiteY42" fmla="*/ 1905555 h 1978974"/>
                <a:gd name="connsiteX43" fmla="*/ 380444 w 4011346"/>
                <a:gd name="connsiteY43" fmla="*/ 1912229 h 1978974"/>
                <a:gd name="connsiteX44" fmla="*/ 407142 w 4011346"/>
                <a:gd name="connsiteY44" fmla="*/ 1932252 h 1978974"/>
                <a:gd name="connsiteX45" fmla="*/ 437177 w 4011346"/>
                <a:gd name="connsiteY45" fmla="*/ 1928915 h 1978974"/>
                <a:gd name="connsiteX46" fmla="*/ 507259 w 4011346"/>
                <a:gd name="connsiteY46" fmla="*/ 1978974 h 1978974"/>
                <a:gd name="connsiteX47" fmla="*/ 517271 w 4011346"/>
                <a:gd name="connsiteY47" fmla="*/ 1965625 h 1978974"/>
                <a:gd name="connsiteX48" fmla="*/ 507259 w 4011346"/>
                <a:gd name="connsiteY48" fmla="*/ 1925578 h 1978974"/>
                <a:gd name="connsiteX49" fmla="*/ 500584 w 4011346"/>
                <a:gd name="connsiteY49" fmla="*/ 1892206 h 1978974"/>
                <a:gd name="connsiteX50" fmla="*/ 483898 w 4011346"/>
                <a:gd name="connsiteY50" fmla="*/ 1848822 h 1978974"/>
                <a:gd name="connsiteX51" fmla="*/ 513933 w 4011346"/>
                <a:gd name="connsiteY51" fmla="*/ 1828798 h 1978974"/>
                <a:gd name="connsiteX52" fmla="*/ 547306 w 4011346"/>
                <a:gd name="connsiteY52" fmla="*/ 1805438 h 1978974"/>
                <a:gd name="connsiteX53" fmla="*/ 527282 w 4011346"/>
                <a:gd name="connsiteY53" fmla="*/ 1788752 h 1978974"/>
                <a:gd name="connsiteX54" fmla="*/ 517271 w 4011346"/>
                <a:gd name="connsiteY54" fmla="*/ 1755379 h 1978974"/>
                <a:gd name="connsiteX55" fmla="*/ 480561 w 4011346"/>
                <a:gd name="connsiteY55" fmla="*/ 1738693 h 1978974"/>
                <a:gd name="connsiteX56" fmla="*/ 470549 w 4011346"/>
                <a:gd name="connsiteY56" fmla="*/ 1718670 h 1978974"/>
                <a:gd name="connsiteX57" fmla="*/ 480561 w 4011346"/>
                <a:gd name="connsiteY57" fmla="*/ 1688635 h 1978974"/>
                <a:gd name="connsiteX58" fmla="*/ 490573 w 4011346"/>
                <a:gd name="connsiteY58" fmla="*/ 1648588 h 1978974"/>
                <a:gd name="connsiteX59" fmla="*/ 513933 w 4011346"/>
                <a:gd name="connsiteY59" fmla="*/ 1668612 h 1978974"/>
                <a:gd name="connsiteX60" fmla="*/ 520608 w 4011346"/>
                <a:gd name="connsiteY60" fmla="*/ 1651925 h 1978974"/>
                <a:gd name="connsiteX61" fmla="*/ 543968 w 4011346"/>
                <a:gd name="connsiteY61" fmla="*/ 1615216 h 1978974"/>
                <a:gd name="connsiteX62" fmla="*/ 574003 w 4011346"/>
                <a:gd name="connsiteY62" fmla="*/ 1598530 h 1978974"/>
                <a:gd name="connsiteX63" fmla="*/ 590690 w 4011346"/>
                <a:gd name="connsiteY63" fmla="*/ 1611879 h 1978974"/>
                <a:gd name="connsiteX64" fmla="*/ 610713 w 4011346"/>
                <a:gd name="connsiteY64" fmla="*/ 1585181 h 1978974"/>
                <a:gd name="connsiteX65" fmla="*/ 630736 w 4011346"/>
                <a:gd name="connsiteY65" fmla="*/ 1611879 h 1978974"/>
                <a:gd name="connsiteX66" fmla="*/ 657434 w 4011346"/>
                <a:gd name="connsiteY66" fmla="*/ 1635239 h 1978974"/>
                <a:gd name="connsiteX67" fmla="*/ 674120 w 4011346"/>
                <a:gd name="connsiteY67" fmla="*/ 1641914 h 1978974"/>
                <a:gd name="connsiteX68" fmla="*/ 697481 w 4011346"/>
                <a:gd name="connsiteY68" fmla="*/ 1641914 h 1978974"/>
                <a:gd name="connsiteX69" fmla="*/ 717504 w 4011346"/>
                <a:gd name="connsiteY69" fmla="*/ 1628565 h 1978974"/>
                <a:gd name="connsiteX70" fmla="*/ 744202 w 4011346"/>
                <a:gd name="connsiteY70" fmla="*/ 1628565 h 1978974"/>
                <a:gd name="connsiteX71" fmla="*/ 760888 w 4011346"/>
                <a:gd name="connsiteY71" fmla="*/ 1625228 h 1978974"/>
                <a:gd name="connsiteX72" fmla="*/ 790923 w 4011346"/>
                <a:gd name="connsiteY72" fmla="*/ 1658600 h 1978974"/>
                <a:gd name="connsiteX73" fmla="*/ 797598 w 4011346"/>
                <a:gd name="connsiteY73" fmla="*/ 1631902 h 1978974"/>
                <a:gd name="connsiteX74" fmla="*/ 817621 w 4011346"/>
                <a:gd name="connsiteY74" fmla="*/ 1648588 h 1978974"/>
                <a:gd name="connsiteX75" fmla="*/ 837644 w 4011346"/>
                <a:gd name="connsiteY75" fmla="*/ 1625228 h 1978974"/>
                <a:gd name="connsiteX76" fmla="*/ 827633 w 4011346"/>
                <a:gd name="connsiteY76" fmla="*/ 1605204 h 1978974"/>
                <a:gd name="connsiteX77" fmla="*/ 810946 w 4011346"/>
                <a:gd name="connsiteY77" fmla="*/ 1591855 h 1978974"/>
                <a:gd name="connsiteX78" fmla="*/ 810946 w 4011346"/>
                <a:gd name="connsiteY78" fmla="*/ 1565158 h 1978974"/>
                <a:gd name="connsiteX79" fmla="*/ 810946 w 4011346"/>
                <a:gd name="connsiteY79" fmla="*/ 1551809 h 1978974"/>
                <a:gd name="connsiteX80" fmla="*/ 830970 w 4011346"/>
                <a:gd name="connsiteY80" fmla="*/ 1548471 h 1978974"/>
                <a:gd name="connsiteX81" fmla="*/ 840981 w 4011346"/>
                <a:gd name="connsiteY81" fmla="*/ 1545134 h 1978974"/>
                <a:gd name="connsiteX82" fmla="*/ 820958 w 4011346"/>
                <a:gd name="connsiteY82" fmla="*/ 1508425 h 1978974"/>
                <a:gd name="connsiteX83" fmla="*/ 854330 w 4011346"/>
                <a:gd name="connsiteY83" fmla="*/ 1501750 h 1978974"/>
                <a:gd name="connsiteX84" fmla="*/ 891040 w 4011346"/>
                <a:gd name="connsiteY84" fmla="*/ 1508425 h 1978974"/>
                <a:gd name="connsiteX85" fmla="*/ 964459 w 4011346"/>
                <a:gd name="connsiteY85" fmla="*/ 1465041 h 1978974"/>
                <a:gd name="connsiteX86" fmla="*/ 1001168 w 4011346"/>
                <a:gd name="connsiteY86" fmla="*/ 1465041 h 1978974"/>
                <a:gd name="connsiteX87" fmla="*/ 1027866 w 4011346"/>
                <a:gd name="connsiteY87" fmla="*/ 1441680 h 1978974"/>
                <a:gd name="connsiteX88" fmla="*/ 1047890 w 4011346"/>
                <a:gd name="connsiteY88" fmla="*/ 1451692 h 1978974"/>
                <a:gd name="connsiteX89" fmla="*/ 1067913 w 4011346"/>
                <a:gd name="connsiteY89" fmla="*/ 1461703 h 1978974"/>
                <a:gd name="connsiteX90" fmla="*/ 1087936 w 4011346"/>
                <a:gd name="connsiteY90" fmla="*/ 1488401 h 1978974"/>
                <a:gd name="connsiteX91" fmla="*/ 1074587 w 4011346"/>
                <a:gd name="connsiteY91" fmla="*/ 1501750 h 1978974"/>
                <a:gd name="connsiteX92" fmla="*/ 1104622 w 4011346"/>
                <a:gd name="connsiteY92" fmla="*/ 1501750 h 1978974"/>
                <a:gd name="connsiteX93" fmla="*/ 1107960 w 4011346"/>
                <a:gd name="connsiteY93" fmla="*/ 1518436 h 1978974"/>
                <a:gd name="connsiteX94" fmla="*/ 1121309 w 4011346"/>
                <a:gd name="connsiteY94" fmla="*/ 1501750 h 1978974"/>
                <a:gd name="connsiteX95" fmla="*/ 1134657 w 4011346"/>
                <a:gd name="connsiteY95" fmla="*/ 1515099 h 1978974"/>
                <a:gd name="connsiteX96" fmla="*/ 1134657 w 4011346"/>
                <a:gd name="connsiteY96" fmla="*/ 1535122 h 1978974"/>
                <a:gd name="connsiteX97" fmla="*/ 1148006 w 4011346"/>
                <a:gd name="connsiteY97" fmla="*/ 1531785 h 1978974"/>
                <a:gd name="connsiteX98" fmla="*/ 1208076 w 4011346"/>
                <a:gd name="connsiteY98" fmla="*/ 1485064 h 1978974"/>
                <a:gd name="connsiteX99" fmla="*/ 1211414 w 4011346"/>
                <a:gd name="connsiteY99" fmla="*/ 1505087 h 1978974"/>
                <a:gd name="connsiteX100" fmla="*/ 1244786 w 4011346"/>
                <a:gd name="connsiteY100" fmla="*/ 1525111 h 1978974"/>
                <a:gd name="connsiteX101" fmla="*/ 1264809 w 4011346"/>
                <a:gd name="connsiteY101" fmla="*/ 1555146 h 1978974"/>
                <a:gd name="connsiteX102" fmla="*/ 1298181 w 4011346"/>
                <a:gd name="connsiteY102" fmla="*/ 1661937 h 1978974"/>
                <a:gd name="connsiteX103" fmla="*/ 1308193 w 4011346"/>
                <a:gd name="connsiteY103" fmla="*/ 1618553 h 1978974"/>
                <a:gd name="connsiteX104" fmla="*/ 1344903 w 4011346"/>
                <a:gd name="connsiteY104" fmla="*/ 1638576 h 1978974"/>
                <a:gd name="connsiteX105" fmla="*/ 1388287 w 4011346"/>
                <a:gd name="connsiteY105" fmla="*/ 1638576 h 1978974"/>
                <a:gd name="connsiteX106" fmla="*/ 1394961 w 4011346"/>
                <a:gd name="connsiteY106" fmla="*/ 1661937 h 1978974"/>
                <a:gd name="connsiteX107" fmla="*/ 1435008 w 4011346"/>
                <a:gd name="connsiteY107" fmla="*/ 1685298 h 1978974"/>
                <a:gd name="connsiteX108" fmla="*/ 1465043 w 4011346"/>
                <a:gd name="connsiteY108" fmla="*/ 1685298 h 1978974"/>
                <a:gd name="connsiteX109" fmla="*/ 1491741 w 4011346"/>
                <a:gd name="connsiteY109" fmla="*/ 1698647 h 1978974"/>
                <a:gd name="connsiteX110" fmla="*/ 1535125 w 4011346"/>
                <a:gd name="connsiteY110" fmla="*/ 1655263 h 1978974"/>
                <a:gd name="connsiteX111" fmla="*/ 1571834 w 4011346"/>
                <a:gd name="connsiteY111" fmla="*/ 1635239 h 1978974"/>
                <a:gd name="connsiteX112" fmla="*/ 1608544 w 4011346"/>
                <a:gd name="connsiteY112" fmla="*/ 1638576 h 1978974"/>
                <a:gd name="connsiteX113" fmla="*/ 1655265 w 4011346"/>
                <a:gd name="connsiteY113" fmla="*/ 1651925 h 1978974"/>
                <a:gd name="connsiteX114" fmla="*/ 1681963 w 4011346"/>
                <a:gd name="connsiteY114" fmla="*/ 1668612 h 1978974"/>
                <a:gd name="connsiteX115" fmla="*/ 1735358 w 4011346"/>
                <a:gd name="connsiteY115" fmla="*/ 1661937 h 1978974"/>
                <a:gd name="connsiteX116" fmla="*/ 1745370 w 4011346"/>
                <a:gd name="connsiteY116" fmla="*/ 1641914 h 1978974"/>
                <a:gd name="connsiteX117" fmla="*/ 1738695 w 4011346"/>
                <a:gd name="connsiteY117" fmla="*/ 1621890 h 1978974"/>
                <a:gd name="connsiteX118" fmla="*/ 1765393 w 4011346"/>
                <a:gd name="connsiteY118" fmla="*/ 1595193 h 1978974"/>
                <a:gd name="connsiteX119" fmla="*/ 1778742 w 4011346"/>
                <a:gd name="connsiteY119" fmla="*/ 1591855 h 1978974"/>
                <a:gd name="connsiteX120" fmla="*/ 1812114 w 4011346"/>
                <a:gd name="connsiteY120" fmla="*/ 1608541 h 1978974"/>
                <a:gd name="connsiteX121" fmla="*/ 1852161 w 4011346"/>
                <a:gd name="connsiteY121" fmla="*/ 1621890 h 1978974"/>
                <a:gd name="connsiteX122" fmla="*/ 1858836 w 4011346"/>
                <a:gd name="connsiteY122" fmla="*/ 1648588 h 1978974"/>
                <a:gd name="connsiteX123" fmla="*/ 1872184 w 4011346"/>
                <a:gd name="connsiteY123" fmla="*/ 1655263 h 1978974"/>
                <a:gd name="connsiteX124" fmla="*/ 1902219 w 4011346"/>
                <a:gd name="connsiteY124" fmla="*/ 1658600 h 1978974"/>
                <a:gd name="connsiteX125" fmla="*/ 1932254 w 4011346"/>
                <a:gd name="connsiteY125" fmla="*/ 1641914 h 1978974"/>
                <a:gd name="connsiteX126" fmla="*/ 1962290 w 4011346"/>
                <a:gd name="connsiteY126" fmla="*/ 1655263 h 1978974"/>
                <a:gd name="connsiteX127" fmla="*/ 1985650 w 4011346"/>
                <a:gd name="connsiteY127" fmla="*/ 1668612 h 1978974"/>
                <a:gd name="connsiteX128" fmla="*/ 1995662 w 4011346"/>
                <a:gd name="connsiteY128" fmla="*/ 1678623 h 1978974"/>
                <a:gd name="connsiteX129" fmla="*/ 2032371 w 4011346"/>
                <a:gd name="connsiteY129" fmla="*/ 1698647 h 1978974"/>
                <a:gd name="connsiteX130" fmla="*/ 2069081 w 4011346"/>
                <a:gd name="connsiteY130" fmla="*/ 1695309 h 1978974"/>
                <a:gd name="connsiteX131" fmla="*/ 2142500 w 4011346"/>
                <a:gd name="connsiteY131" fmla="*/ 1651925 h 1978974"/>
                <a:gd name="connsiteX132" fmla="*/ 2195895 w 4011346"/>
                <a:gd name="connsiteY132" fmla="*/ 1665274 h 1978974"/>
                <a:gd name="connsiteX133" fmla="*/ 2225930 w 4011346"/>
                <a:gd name="connsiteY133" fmla="*/ 1675286 h 1978974"/>
                <a:gd name="connsiteX134" fmla="*/ 2259303 w 4011346"/>
                <a:gd name="connsiteY134" fmla="*/ 1661937 h 1978974"/>
                <a:gd name="connsiteX135" fmla="*/ 2262640 w 4011346"/>
                <a:gd name="connsiteY135" fmla="*/ 1635239 h 1978974"/>
                <a:gd name="connsiteX136" fmla="*/ 2282663 w 4011346"/>
                <a:gd name="connsiteY136" fmla="*/ 1605204 h 1978974"/>
                <a:gd name="connsiteX137" fmla="*/ 2299349 w 4011346"/>
                <a:gd name="connsiteY137" fmla="*/ 1551809 h 1978974"/>
                <a:gd name="connsiteX138" fmla="*/ 2282663 w 4011346"/>
                <a:gd name="connsiteY138" fmla="*/ 1555146 h 1978974"/>
                <a:gd name="connsiteX139" fmla="*/ 2312698 w 4011346"/>
                <a:gd name="connsiteY139" fmla="*/ 1528448 h 1978974"/>
                <a:gd name="connsiteX140" fmla="*/ 2339396 w 4011346"/>
                <a:gd name="connsiteY140" fmla="*/ 1525111 h 1978974"/>
                <a:gd name="connsiteX141" fmla="*/ 2396129 w 4011346"/>
                <a:gd name="connsiteY141" fmla="*/ 1535122 h 1978974"/>
                <a:gd name="connsiteX142" fmla="*/ 2436176 w 4011346"/>
                <a:gd name="connsiteY142" fmla="*/ 1561820 h 1978974"/>
                <a:gd name="connsiteX143" fmla="*/ 2462873 w 4011346"/>
                <a:gd name="connsiteY143" fmla="*/ 1591855 h 1978974"/>
                <a:gd name="connsiteX144" fmla="*/ 2469548 w 4011346"/>
                <a:gd name="connsiteY144" fmla="*/ 1628565 h 1978974"/>
                <a:gd name="connsiteX145" fmla="*/ 2476222 w 4011346"/>
                <a:gd name="connsiteY145" fmla="*/ 1668612 h 1978974"/>
                <a:gd name="connsiteX146" fmla="*/ 2486234 w 4011346"/>
                <a:gd name="connsiteY146" fmla="*/ 1688635 h 1978974"/>
                <a:gd name="connsiteX147" fmla="*/ 2529618 w 4011346"/>
                <a:gd name="connsiteY147" fmla="*/ 1701984 h 1978974"/>
                <a:gd name="connsiteX148" fmla="*/ 2549641 w 4011346"/>
                <a:gd name="connsiteY148" fmla="*/ 1722007 h 1978974"/>
                <a:gd name="connsiteX149" fmla="*/ 2562990 w 4011346"/>
                <a:gd name="connsiteY149" fmla="*/ 1755379 h 1978974"/>
                <a:gd name="connsiteX150" fmla="*/ 2586351 w 4011346"/>
                <a:gd name="connsiteY150" fmla="*/ 1748705 h 1978974"/>
                <a:gd name="connsiteX151" fmla="*/ 2606374 w 4011346"/>
                <a:gd name="connsiteY151" fmla="*/ 1738693 h 1978974"/>
                <a:gd name="connsiteX152" fmla="*/ 2639746 w 4011346"/>
                <a:gd name="connsiteY152" fmla="*/ 1722007 h 1978974"/>
                <a:gd name="connsiteX153" fmla="*/ 2643084 w 4011346"/>
                <a:gd name="connsiteY153" fmla="*/ 1738693 h 1978974"/>
                <a:gd name="connsiteX154" fmla="*/ 2626398 w 4011346"/>
                <a:gd name="connsiteY154" fmla="*/ 1768728 h 1978974"/>
                <a:gd name="connsiteX155" fmla="*/ 2616386 w 4011346"/>
                <a:gd name="connsiteY155" fmla="*/ 1805438 h 1978974"/>
                <a:gd name="connsiteX156" fmla="*/ 2603037 w 4011346"/>
                <a:gd name="connsiteY156" fmla="*/ 1858833 h 1978974"/>
                <a:gd name="connsiteX157" fmla="*/ 2579676 w 4011346"/>
                <a:gd name="connsiteY157" fmla="*/ 1832136 h 1978974"/>
                <a:gd name="connsiteX158" fmla="*/ 2552979 w 4011346"/>
                <a:gd name="connsiteY158" fmla="*/ 1855496 h 1978974"/>
                <a:gd name="connsiteX159" fmla="*/ 2559653 w 4011346"/>
                <a:gd name="connsiteY159" fmla="*/ 1882194 h 1978974"/>
                <a:gd name="connsiteX160" fmla="*/ 2559653 w 4011346"/>
                <a:gd name="connsiteY160" fmla="*/ 1918903 h 1978974"/>
                <a:gd name="connsiteX161" fmla="*/ 2549641 w 4011346"/>
                <a:gd name="connsiteY161" fmla="*/ 1938927 h 1978974"/>
                <a:gd name="connsiteX162" fmla="*/ 2589688 w 4011346"/>
                <a:gd name="connsiteY162" fmla="*/ 1918903 h 1978974"/>
                <a:gd name="connsiteX163" fmla="*/ 2626398 w 4011346"/>
                <a:gd name="connsiteY163" fmla="*/ 1928915 h 1978974"/>
                <a:gd name="connsiteX164" fmla="*/ 2653095 w 4011346"/>
                <a:gd name="connsiteY164" fmla="*/ 1905555 h 1978974"/>
                <a:gd name="connsiteX165" fmla="*/ 2683130 w 4011346"/>
                <a:gd name="connsiteY165" fmla="*/ 1852159 h 1978974"/>
                <a:gd name="connsiteX166" fmla="*/ 2753212 w 4011346"/>
                <a:gd name="connsiteY166" fmla="*/ 1765391 h 1978974"/>
                <a:gd name="connsiteX167" fmla="*/ 2783247 w 4011346"/>
                <a:gd name="connsiteY167" fmla="*/ 1695309 h 1978974"/>
                <a:gd name="connsiteX168" fmla="*/ 2803271 w 4011346"/>
                <a:gd name="connsiteY168" fmla="*/ 1591855 h 1978974"/>
                <a:gd name="connsiteX169" fmla="*/ 2793259 w 4011346"/>
                <a:gd name="connsiteY169" fmla="*/ 1541797 h 1978974"/>
                <a:gd name="connsiteX170" fmla="*/ 2769898 w 4011346"/>
                <a:gd name="connsiteY170" fmla="*/ 1508425 h 1978974"/>
                <a:gd name="connsiteX171" fmla="*/ 2726514 w 4011346"/>
                <a:gd name="connsiteY171" fmla="*/ 1508425 h 1978974"/>
                <a:gd name="connsiteX172" fmla="*/ 2699817 w 4011346"/>
                <a:gd name="connsiteY172" fmla="*/ 1508425 h 1978974"/>
                <a:gd name="connsiteX173" fmla="*/ 2683130 w 4011346"/>
                <a:gd name="connsiteY173" fmla="*/ 1488401 h 1978974"/>
                <a:gd name="connsiteX174" fmla="*/ 2669781 w 4011346"/>
                <a:gd name="connsiteY174" fmla="*/ 1468378 h 1978974"/>
                <a:gd name="connsiteX175" fmla="*/ 2763224 w 4011346"/>
                <a:gd name="connsiteY175" fmla="*/ 1351575 h 1978974"/>
                <a:gd name="connsiteX176" fmla="*/ 2846654 w 4011346"/>
                <a:gd name="connsiteY176" fmla="*/ 1284831 h 1978974"/>
                <a:gd name="connsiteX177" fmla="*/ 2890038 w 4011346"/>
                <a:gd name="connsiteY177" fmla="*/ 1261470 h 1978974"/>
                <a:gd name="connsiteX178" fmla="*/ 2933422 w 4011346"/>
                <a:gd name="connsiteY178" fmla="*/ 1281493 h 1978974"/>
                <a:gd name="connsiteX179" fmla="*/ 2950109 w 4011346"/>
                <a:gd name="connsiteY179" fmla="*/ 1264807 h 1978974"/>
                <a:gd name="connsiteX180" fmla="*/ 2993492 w 4011346"/>
                <a:gd name="connsiteY180" fmla="*/ 1281493 h 1978974"/>
                <a:gd name="connsiteX181" fmla="*/ 3006841 w 4011346"/>
                <a:gd name="connsiteY181" fmla="*/ 1248121 h 1978974"/>
                <a:gd name="connsiteX182" fmla="*/ 3053563 w 4011346"/>
                <a:gd name="connsiteY182" fmla="*/ 1258133 h 1978974"/>
                <a:gd name="connsiteX183" fmla="*/ 3070249 w 4011346"/>
                <a:gd name="connsiteY183" fmla="*/ 1274819 h 1978974"/>
                <a:gd name="connsiteX184" fmla="*/ 3060237 w 4011346"/>
                <a:gd name="connsiteY184" fmla="*/ 1294842 h 1978974"/>
                <a:gd name="connsiteX185" fmla="*/ 3123644 w 4011346"/>
                <a:gd name="connsiteY185" fmla="*/ 1278156 h 1978974"/>
                <a:gd name="connsiteX186" fmla="*/ 3140330 w 4011346"/>
                <a:gd name="connsiteY186" fmla="*/ 1264807 h 1978974"/>
                <a:gd name="connsiteX187" fmla="*/ 3123644 w 4011346"/>
                <a:gd name="connsiteY187" fmla="*/ 1251458 h 1978974"/>
                <a:gd name="connsiteX188" fmla="*/ 3143668 w 4011346"/>
                <a:gd name="connsiteY188" fmla="*/ 1211412 h 1978974"/>
                <a:gd name="connsiteX189" fmla="*/ 3190389 w 4011346"/>
                <a:gd name="connsiteY189" fmla="*/ 1141330 h 1978974"/>
                <a:gd name="connsiteX190" fmla="*/ 3233773 w 4011346"/>
                <a:gd name="connsiteY190" fmla="*/ 1137993 h 1978974"/>
                <a:gd name="connsiteX191" fmla="*/ 3273819 w 4011346"/>
                <a:gd name="connsiteY191" fmla="*/ 1148004 h 1978974"/>
                <a:gd name="connsiteX192" fmla="*/ 3277157 w 4011346"/>
                <a:gd name="connsiteY192" fmla="*/ 1204737 h 1978974"/>
                <a:gd name="connsiteX193" fmla="*/ 3320541 w 4011346"/>
                <a:gd name="connsiteY193" fmla="*/ 1161353 h 1978974"/>
                <a:gd name="connsiteX194" fmla="*/ 3343901 w 4011346"/>
                <a:gd name="connsiteY194" fmla="*/ 1144667 h 1978974"/>
                <a:gd name="connsiteX195" fmla="*/ 3350576 w 4011346"/>
                <a:gd name="connsiteY195" fmla="*/ 1111295 h 1978974"/>
                <a:gd name="connsiteX196" fmla="*/ 3377273 w 4011346"/>
                <a:gd name="connsiteY196" fmla="*/ 1094609 h 1978974"/>
                <a:gd name="connsiteX197" fmla="*/ 3407309 w 4011346"/>
                <a:gd name="connsiteY197" fmla="*/ 1104620 h 1978974"/>
                <a:gd name="connsiteX198" fmla="*/ 3373936 w 4011346"/>
                <a:gd name="connsiteY198" fmla="*/ 1134655 h 1978974"/>
                <a:gd name="connsiteX199" fmla="*/ 3360587 w 4011346"/>
                <a:gd name="connsiteY199" fmla="*/ 1184714 h 1978974"/>
                <a:gd name="connsiteX200" fmla="*/ 3323878 w 4011346"/>
                <a:gd name="connsiteY200" fmla="*/ 1224760 h 1978974"/>
                <a:gd name="connsiteX201" fmla="*/ 3210412 w 4011346"/>
                <a:gd name="connsiteY201" fmla="*/ 1321540 h 1978974"/>
                <a:gd name="connsiteX202" fmla="*/ 3163691 w 4011346"/>
                <a:gd name="connsiteY202" fmla="*/ 1391622 h 1978974"/>
                <a:gd name="connsiteX203" fmla="*/ 3160354 w 4011346"/>
                <a:gd name="connsiteY203" fmla="*/ 1465041 h 1978974"/>
                <a:gd name="connsiteX204" fmla="*/ 3170365 w 4011346"/>
                <a:gd name="connsiteY204" fmla="*/ 1555146 h 1978974"/>
                <a:gd name="connsiteX205" fmla="*/ 3190389 w 4011346"/>
                <a:gd name="connsiteY205" fmla="*/ 1618553 h 1978974"/>
                <a:gd name="connsiteX206" fmla="*/ 3217087 w 4011346"/>
                <a:gd name="connsiteY206" fmla="*/ 1608541 h 1978974"/>
                <a:gd name="connsiteX207" fmla="*/ 3240447 w 4011346"/>
                <a:gd name="connsiteY207" fmla="*/ 1541797 h 1978974"/>
                <a:gd name="connsiteX208" fmla="*/ 3270482 w 4011346"/>
                <a:gd name="connsiteY208" fmla="*/ 1538460 h 1978974"/>
                <a:gd name="connsiteX209" fmla="*/ 3287168 w 4011346"/>
                <a:gd name="connsiteY209" fmla="*/ 1478390 h 1978974"/>
                <a:gd name="connsiteX210" fmla="*/ 3313866 w 4011346"/>
                <a:gd name="connsiteY210" fmla="*/ 1468378 h 1978974"/>
                <a:gd name="connsiteX211" fmla="*/ 3313866 w 4011346"/>
                <a:gd name="connsiteY211" fmla="*/ 1438343 h 1978974"/>
                <a:gd name="connsiteX212" fmla="*/ 3337227 w 4011346"/>
                <a:gd name="connsiteY212" fmla="*/ 1401633 h 1978974"/>
                <a:gd name="connsiteX213" fmla="*/ 3330552 w 4011346"/>
                <a:gd name="connsiteY213" fmla="*/ 1358249 h 1978974"/>
                <a:gd name="connsiteX214" fmla="*/ 3333890 w 4011346"/>
                <a:gd name="connsiteY214" fmla="*/ 1328214 h 1978974"/>
                <a:gd name="connsiteX215" fmla="*/ 3323878 w 4011346"/>
                <a:gd name="connsiteY215" fmla="*/ 1318203 h 1978974"/>
                <a:gd name="connsiteX216" fmla="*/ 3363925 w 4011346"/>
                <a:gd name="connsiteY216" fmla="*/ 1231435 h 1978974"/>
                <a:gd name="connsiteX217" fmla="*/ 3383948 w 4011346"/>
                <a:gd name="connsiteY217" fmla="*/ 1241447 h 1978974"/>
                <a:gd name="connsiteX218" fmla="*/ 3410646 w 4011346"/>
                <a:gd name="connsiteY218" fmla="*/ 1214749 h 1978974"/>
                <a:gd name="connsiteX219" fmla="*/ 3420657 w 4011346"/>
                <a:gd name="connsiteY219" fmla="*/ 1241447 h 1978974"/>
                <a:gd name="connsiteX220" fmla="*/ 3447355 w 4011346"/>
                <a:gd name="connsiteY220" fmla="*/ 1224760 h 1978974"/>
                <a:gd name="connsiteX221" fmla="*/ 3477390 w 4011346"/>
                <a:gd name="connsiteY221" fmla="*/ 1214749 h 1978974"/>
                <a:gd name="connsiteX222" fmla="*/ 3514100 w 4011346"/>
                <a:gd name="connsiteY222" fmla="*/ 1241447 h 1978974"/>
                <a:gd name="connsiteX223" fmla="*/ 3574170 w 4011346"/>
                <a:gd name="connsiteY223" fmla="*/ 1174702 h 1978974"/>
                <a:gd name="connsiteX224" fmla="*/ 3637577 w 4011346"/>
                <a:gd name="connsiteY224" fmla="*/ 1127981 h 1978974"/>
                <a:gd name="connsiteX225" fmla="*/ 3690973 w 4011346"/>
                <a:gd name="connsiteY225" fmla="*/ 1091271 h 1978974"/>
                <a:gd name="connsiteX226" fmla="*/ 3741031 w 4011346"/>
                <a:gd name="connsiteY226" fmla="*/ 1117969 h 1978974"/>
                <a:gd name="connsiteX227" fmla="*/ 3751043 w 4011346"/>
                <a:gd name="connsiteY227" fmla="*/ 1091271 h 1978974"/>
                <a:gd name="connsiteX228" fmla="*/ 3727682 w 4011346"/>
                <a:gd name="connsiteY228" fmla="*/ 1024527 h 1978974"/>
                <a:gd name="connsiteX229" fmla="*/ 3700984 w 4011346"/>
                <a:gd name="connsiteY229" fmla="*/ 1007841 h 1978974"/>
                <a:gd name="connsiteX230" fmla="*/ 3697647 w 4011346"/>
                <a:gd name="connsiteY230" fmla="*/ 977806 h 1978974"/>
                <a:gd name="connsiteX231" fmla="*/ 3751043 w 4011346"/>
                <a:gd name="connsiteY231" fmla="*/ 984480 h 1978974"/>
                <a:gd name="connsiteX232" fmla="*/ 3774403 w 4011346"/>
                <a:gd name="connsiteY232" fmla="*/ 941096 h 1978974"/>
                <a:gd name="connsiteX233" fmla="*/ 3767729 w 4011346"/>
                <a:gd name="connsiteY233" fmla="*/ 914398 h 1978974"/>
                <a:gd name="connsiteX234" fmla="*/ 3794427 w 4011346"/>
                <a:gd name="connsiteY234" fmla="*/ 881026 h 1978974"/>
                <a:gd name="connsiteX235" fmla="*/ 3804438 w 4011346"/>
                <a:gd name="connsiteY235" fmla="*/ 924410 h 1978974"/>
                <a:gd name="connsiteX236" fmla="*/ 3827799 w 4011346"/>
                <a:gd name="connsiteY236" fmla="*/ 941096 h 1978974"/>
                <a:gd name="connsiteX237" fmla="*/ 3874520 w 4011346"/>
                <a:gd name="connsiteY237" fmla="*/ 961120 h 1978974"/>
                <a:gd name="connsiteX238" fmla="*/ 3894544 w 4011346"/>
                <a:gd name="connsiteY238" fmla="*/ 987817 h 1978974"/>
                <a:gd name="connsiteX239" fmla="*/ 3941265 w 4011346"/>
                <a:gd name="connsiteY239" fmla="*/ 1011178 h 1978974"/>
                <a:gd name="connsiteX240" fmla="*/ 3947939 w 4011346"/>
                <a:gd name="connsiteY240" fmla="*/ 997829 h 1978974"/>
                <a:gd name="connsiteX241" fmla="*/ 3957951 w 4011346"/>
                <a:gd name="connsiteY241" fmla="*/ 934422 h 1978974"/>
                <a:gd name="connsiteX242" fmla="*/ 4004672 w 4011346"/>
                <a:gd name="connsiteY242" fmla="*/ 927747 h 1978974"/>
                <a:gd name="connsiteX243" fmla="*/ 4011346 w 4011346"/>
                <a:gd name="connsiteY243" fmla="*/ 894375 h 1978974"/>
                <a:gd name="connsiteX244" fmla="*/ 3967963 w 4011346"/>
                <a:gd name="connsiteY244" fmla="*/ 857666 h 1978974"/>
                <a:gd name="connsiteX245" fmla="*/ 3921241 w 4011346"/>
                <a:gd name="connsiteY245" fmla="*/ 840979 h 1978974"/>
                <a:gd name="connsiteX246" fmla="*/ 3907892 w 4011346"/>
                <a:gd name="connsiteY246" fmla="*/ 844317 h 1978974"/>
                <a:gd name="connsiteX247" fmla="*/ 3907892 w 4011346"/>
                <a:gd name="connsiteY247" fmla="*/ 877689 h 1978974"/>
                <a:gd name="connsiteX248" fmla="*/ 3887869 w 4011346"/>
                <a:gd name="connsiteY248" fmla="*/ 871014 h 1978974"/>
                <a:gd name="connsiteX249" fmla="*/ 3874520 w 4011346"/>
                <a:gd name="connsiteY249" fmla="*/ 817619 h 1978974"/>
                <a:gd name="connsiteX250" fmla="*/ 3817787 w 4011346"/>
                <a:gd name="connsiteY250" fmla="*/ 754212 h 1978974"/>
                <a:gd name="connsiteX251" fmla="*/ 3717671 w 4011346"/>
                <a:gd name="connsiteY251" fmla="*/ 677455 h 1978974"/>
                <a:gd name="connsiteX252" fmla="*/ 3664275 w 4011346"/>
                <a:gd name="connsiteY252" fmla="*/ 657432 h 1978974"/>
                <a:gd name="connsiteX253" fmla="*/ 3584181 w 4011346"/>
                <a:gd name="connsiteY253" fmla="*/ 650758 h 1978974"/>
                <a:gd name="connsiteX254" fmla="*/ 3520774 w 4011346"/>
                <a:gd name="connsiteY254" fmla="*/ 634071 h 1978974"/>
                <a:gd name="connsiteX255" fmla="*/ 3530786 w 4011346"/>
                <a:gd name="connsiteY255" fmla="*/ 674118 h 1978974"/>
                <a:gd name="connsiteX256" fmla="*/ 3537460 w 4011346"/>
                <a:gd name="connsiteY256" fmla="*/ 700816 h 1978974"/>
                <a:gd name="connsiteX257" fmla="*/ 3507425 w 4011346"/>
                <a:gd name="connsiteY257" fmla="*/ 724176 h 1978974"/>
                <a:gd name="connsiteX258" fmla="*/ 3477390 w 4011346"/>
                <a:gd name="connsiteY258" fmla="*/ 697479 h 1978974"/>
                <a:gd name="connsiteX259" fmla="*/ 3477390 w 4011346"/>
                <a:gd name="connsiteY259" fmla="*/ 677455 h 1978974"/>
                <a:gd name="connsiteX260" fmla="*/ 3504088 w 4011346"/>
                <a:gd name="connsiteY260" fmla="*/ 657432 h 1978974"/>
                <a:gd name="connsiteX261" fmla="*/ 3467379 w 4011346"/>
                <a:gd name="connsiteY261" fmla="*/ 644083 h 1978974"/>
                <a:gd name="connsiteX262" fmla="*/ 3450692 w 4011346"/>
                <a:gd name="connsiteY262" fmla="*/ 670781 h 1978974"/>
                <a:gd name="connsiteX263" fmla="*/ 3440681 w 4011346"/>
                <a:gd name="connsiteY263" fmla="*/ 684130 h 1978974"/>
                <a:gd name="connsiteX264" fmla="*/ 3357250 w 4011346"/>
                <a:gd name="connsiteY264" fmla="*/ 670781 h 1978974"/>
                <a:gd name="connsiteX265" fmla="*/ 3297180 w 4011346"/>
                <a:gd name="connsiteY265" fmla="*/ 677455 h 1978974"/>
                <a:gd name="connsiteX266" fmla="*/ 3267145 w 4011346"/>
                <a:gd name="connsiteY266" fmla="*/ 654095 h 1978974"/>
                <a:gd name="connsiteX267" fmla="*/ 3267145 w 4011346"/>
                <a:gd name="connsiteY267" fmla="*/ 617385 h 1978974"/>
                <a:gd name="connsiteX268" fmla="*/ 3203738 w 4011346"/>
                <a:gd name="connsiteY268" fmla="*/ 560652 h 1978974"/>
                <a:gd name="connsiteX269" fmla="*/ 3076923 w 4011346"/>
                <a:gd name="connsiteY269" fmla="*/ 567327 h 1978974"/>
                <a:gd name="connsiteX270" fmla="*/ 3043551 w 4011346"/>
                <a:gd name="connsiteY270" fmla="*/ 543966 h 1978974"/>
                <a:gd name="connsiteX271" fmla="*/ 3000167 w 4011346"/>
                <a:gd name="connsiteY271" fmla="*/ 497245 h 1978974"/>
                <a:gd name="connsiteX272" fmla="*/ 3013516 w 4011346"/>
                <a:gd name="connsiteY272" fmla="*/ 490571 h 1978974"/>
                <a:gd name="connsiteX273" fmla="*/ 3000167 w 4011346"/>
                <a:gd name="connsiteY273" fmla="*/ 470547 h 1978974"/>
                <a:gd name="connsiteX274" fmla="*/ 2970132 w 4011346"/>
                <a:gd name="connsiteY274" fmla="*/ 467210 h 1978974"/>
                <a:gd name="connsiteX275" fmla="*/ 2920073 w 4011346"/>
                <a:gd name="connsiteY275" fmla="*/ 513931 h 1978974"/>
                <a:gd name="connsiteX276" fmla="*/ 2920073 w 4011346"/>
                <a:gd name="connsiteY276" fmla="*/ 513931 h 1978974"/>
                <a:gd name="connsiteX277" fmla="*/ 2916736 w 4011346"/>
                <a:gd name="connsiteY277" fmla="*/ 463873 h 1978974"/>
                <a:gd name="connsiteX278" fmla="*/ 2936760 w 4011346"/>
                <a:gd name="connsiteY278" fmla="*/ 460536 h 1978974"/>
                <a:gd name="connsiteX279" fmla="*/ 2866678 w 4011346"/>
                <a:gd name="connsiteY279" fmla="*/ 430501 h 1978974"/>
                <a:gd name="connsiteX280" fmla="*/ 2813282 w 4011346"/>
                <a:gd name="connsiteY280" fmla="*/ 427163 h 1978974"/>
                <a:gd name="connsiteX281" fmla="*/ 2793259 w 4011346"/>
                <a:gd name="connsiteY281" fmla="*/ 450524 h 1978974"/>
                <a:gd name="connsiteX282" fmla="*/ 2743200 w 4011346"/>
                <a:gd name="connsiteY282" fmla="*/ 460536 h 1978974"/>
                <a:gd name="connsiteX283" fmla="*/ 2786584 w 4011346"/>
                <a:gd name="connsiteY283" fmla="*/ 470547 h 1978974"/>
                <a:gd name="connsiteX284" fmla="*/ 2763224 w 4011346"/>
                <a:gd name="connsiteY284" fmla="*/ 490571 h 1978974"/>
                <a:gd name="connsiteX285" fmla="*/ 2769898 w 4011346"/>
                <a:gd name="connsiteY285" fmla="*/ 540629 h 1978974"/>
                <a:gd name="connsiteX286" fmla="*/ 2749875 w 4011346"/>
                <a:gd name="connsiteY286" fmla="*/ 523943 h 1978974"/>
                <a:gd name="connsiteX287" fmla="*/ 2733189 w 4011346"/>
                <a:gd name="connsiteY287" fmla="*/ 537292 h 1978974"/>
                <a:gd name="connsiteX288" fmla="*/ 2666444 w 4011346"/>
                <a:gd name="connsiteY288" fmla="*/ 527280 h 1978974"/>
                <a:gd name="connsiteX289" fmla="*/ 2636409 w 4011346"/>
                <a:gd name="connsiteY289" fmla="*/ 537292 h 1978974"/>
                <a:gd name="connsiteX290" fmla="*/ 2603037 w 4011346"/>
                <a:gd name="connsiteY290" fmla="*/ 497245 h 1978974"/>
                <a:gd name="connsiteX291" fmla="*/ 2569665 w 4011346"/>
                <a:gd name="connsiteY291" fmla="*/ 580676 h 1978974"/>
                <a:gd name="connsiteX292" fmla="*/ 2552979 w 4011346"/>
                <a:gd name="connsiteY292" fmla="*/ 600699 h 1978974"/>
                <a:gd name="connsiteX293" fmla="*/ 2469548 w 4011346"/>
                <a:gd name="connsiteY293" fmla="*/ 463873 h 1978974"/>
                <a:gd name="connsiteX294" fmla="*/ 2446187 w 4011346"/>
                <a:gd name="connsiteY294" fmla="*/ 480559 h 1978974"/>
                <a:gd name="connsiteX295" fmla="*/ 2442850 w 4011346"/>
                <a:gd name="connsiteY295" fmla="*/ 447187 h 1978974"/>
                <a:gd name="connsiteX296" fmla="*/ 2449525 w 4011346"/>
                <a:gd name="connsiteY296" fmla="*/ 377105 h 1978974"/>
                <a:gd name="connsiteX297" fmla="*/ 2386117 w 4011346"/>
                <a:gd name="connsiteY297" fmla="*/ 350407 h 1978974"/>
                <a:gd name="connsiteX298" fmla="*/ 2369431 w 4011346"/>
                <a:gd name="connsiteY298" fmla="*/ 390454 h 1978974"/>
                <a:gd name="connsiteX299" fmla="*/ 2379443 w 4011346"/>
                <a:gd name="connsiteY299" fmla="*/ 413814 h 1978974"/>
                <a:gd name="connsiteX300" fmla="*/ 2376106 w 4011346"/>
                <a:gd name="connsiteY300" fmla="*/ 433838 h 1978974"/>
                <a:gd name="connsiteX301" fmla="*/ 2352745 w 4011346"/>
                <a:gd name="connsiteY301" fmla="*/ 410477 h 1978974"/>
                <a:gd name="connsiteX302" fmla="*/ 2316036 w 4011346"/>
                <a:gd name="connsiteY302" fmla="*/ 417152 h 1978974"/>
                <a:gd name="connsiteX303" fmla="*/ 2272652 w 4011346"/>
                <a:gd name="connsiteY303" fmla="*/ 403803 h 1978974"/>
                <a:gd name="connsiteX304" fmla="*/ 2245954 w 4011346"/>
                <a:gd name="connsiteY304" fmla="*/ 363756 h 1978974"/>
                <a:gd name="connsiteX305" fmla="*/ 2209244 w 4011346"/>
                <a:gd name="connsiteY305" fmla="*/ 360419 h 1978974"/>
                <a:gd name="connsiteX306" fmla="*/ 2159186 w 4011346"/>
                <a:gd name="connsiteY306" fmla="*/ 350407 h 1978974"/>
                <a:gd name="connsiteX307" fmla="*/ 2132488 w 4011346"/>
                <a:gd name="connsiteY307" fmla="*/ 367093 h 1978974"/>
                <a:gd name="connsiteX308" fmla="*/ 2115802 w 4011346"/>
                <a:gd name="connsiteY308" fmla="*/ 380442 h 1978974"/>
                <a:gd name="connsiteX309" fmla="*/ 2115802 w 4011346"/>
                <a:gd name="connsiteY309" fmla="*/ 350407 h 1978974"/>
                <a:gd name="connsiteX310" fmla="*/ 2082430 w 4011346"/>
                <a:gd name="connsiteY310" fmla="*/ 347070 h 1978974"/>
                <a:gd name="connsiteX311" fmla="*/ 2045720 w 4011346"/>
                <a:gd name="connsiteY311" fmla="*/ 320372 h 1978974"/>
                <a:gd name="connsiteX312" fmla="*/ 2025697 w 4011346"/>
                <a:gd name="connsiteY312" fmla="*/ 350407 h 1978974"/>
                <a:gd name="connsiteX313" fmla="*/ 2055732 w 4011346"/>
                <a:gd name="connsiteY313" fmla="*/ 347070 h 1978974"/>
                <a:gd name="connsiteX314" fmla="*/ 2045720 w 4011346"/>
                <a:gd name="connsiteY314" fmla="*/ 373768 h 1978974"/>
                <a:gd name="connsiteX315" fmla="*/ 1988987 w 4011346"/>
                <a:gd name="connsiteY315" fmla="*/ 393791 h 1978974"/>
                <a:gd name="connsiteX316" fmla="*/ 1935592 w 4011346"/>
                <a:gd name="connsiteY316" fmla="*/ 403803 h 1978974"/>
                <a:gd name="connsiteX317" fmla="*/ 1995662 w 4011346"/>
                <a:gd name="connsiteY317" fmla="*/ 347070 h 1978974"/>
                <a:gd name="connsiteX318" fmla="*/ 2055732 w 4011346"/>
                <a:gd name="connsiteY318" fmla="*/ 276988 h 1978974"/>
                <a:gd name="connsiteX319" fmla="*/ 2055732 w 4011346"/>
                <a:gd name="connsiteY319" fmla="*/ 276988 h 1978974"/>
                <a:gd name="connsiteX320" fmla="*/ 1882196 w 4011346"/>
                <a:gd name="connsiteY320" fmla="*/ 50058 h 1978974"/>
                <a:gd name="connsiteX321" fmla="*/ 1835474 w 4011346"/>
                <a:gd name="connsiteY321" fmla="*/ 0 h 1978974"/>
                <a:gd name="connsiteX322" fmla="*/ 1838813 w 4011346"/>
                <a:gd name="connsiteY322" fmla="*/ 93441 h 1978974"/>
                <a:gd name="connsiteX323" fmla="*/ 1782079 w 4011346"/>
                <a:gd name="connsiteY323" fmla="*/ 80092 h 1978974"/>
                <a:gd name="connsiteX324" fmla="*/ 1768731 w 4011346"/>
                <a:gd name="connsiteY324" fmla="*/ 126814 h 1978974"/>
                <a:gd name="connsiteX325" fmla="*/ 1705322 w 4011346"/>
                <a:gd name="connsiteY325" fmla="*/ 150174 h 1978974"/>
                <a:gd name="connsiteX326" fmla="*/ 1685300 w 4011346"/>
                <a:gd name="connsiteY326" fmla="*/ 123476 h 1978974"/>
                <a:gd name="connsiteX327" fmla="*/ 1615218 w 4011346"/>
                <a:gd name="connsiteY327" fmla="*/ 126814 h 1978974"/>
                <a:gd name="connsiteX328" fmla="*/ 1638579 w 4011346"/>
                <a:gd name="connsiteY328" fmla="*/ 156849 h 1978974"/>
                <a:gd name="connsiteX329" fmla="*/ 1528449 w 4011346"/>
                <a:gd name="connsiteY329" fmla="*/ 183545 h 1978974"/>
                <a:gd name="connsiteX330" fmla="*/ 1465043 w 4011346"/>
                <a:gd name="connsiteY330" fmla="*/ 266976 h 1978974"/>
                <a:gd name="connsiteX331" fmla="*/ 1448357 w 4011346"/>
                <a:gd name="connsiteY331" fmla="*/ 293674 h 1978974"/>
                <a:gd name="connsiteX332" fmla="*/ 1481729 w 4011346"/>
                <a:gd name="connsiteY332" fmla="*/ 327047 h 1978974"/>
                <a:gd name="connsiteX333" fmla="*/ 1481729 w 4011346"/>
                <a:gd name="connsiteY333" fmla="*/ 357082 h 1978974"/>
                <a:gd name="connsiteX334" fmla="*/ 1458368 w 4011346"/>
                <a:gd name="connsiteY334" fmla="*/ 360419 h 1978974"/>
                <a:gd name="connsiteX335" fmla="*/ 1458368 w 4011346"/>
                <a:gd name="connsiteY335" fmla="*/ 340395 h 1978974"/>
                <a:gd name="connsiteX336" fmla="*/ 1418322 w 4011346"/>
                <a:gd name="connsiteY336" fmla="*/ 350407 h 1978974"/>
                <a:gd name="connsiteX337" fmla="*/ 1368263 w 4011346"/>
                <a:gd name="connsiteY337" fmla="*/ 357082 h 1978974"/>
                <a:gd name="connsiteX338" fmla="*/ 1321542 w 4011346"/>
                <a:gd name="connsiteY338" fmla="*/ 363756 h 1978974"/>
                <a:gd name="connsiteX339" fmla="*/ 1318205 w 4011346"/>
                <a:gd name="connsiteY339" fmla="*/ 450524 h 1978974"/>
                <a:gd name="connsiteX340" fmla="*/ 1358252 w 4011346"/>
                <a:gd name="connsiteY340" fmla="*/ 473885 h 1978974"/>
                <a:gd name="connsiteX341" fmla="*/ 1374938 w 4011346"/>
                <a:gd name="connsiteY341" fmla="*/ 503920 h 1978974"/>
                <a:gd name="connsiteX342" fmla="*/ 1384949 w 4011346"/>
                <a:gd name="connsiteY342" fmla="*/ 527280 h 1978974"/>
                <a:gd name="connsiteX343" fmla="*/ 1394961 w 4011346"/>
                <a:gd name="connsiteY343" fmla="*/ 577339 h 1978974"/>
                <a:gd name="connsiteX344" fmla="*/ 1384949 w 4011346"/>
                <a:gd name="connsiteY344" fmla="*/ 607374 h 1978974"/>
                <a:gd name="connsiteX345" fmla="*/ 1358252 w 4011346"/>
                <a:gd name="connsiteY345" fmla="*/ 574001 h 1978974"/>
                <a:gd name="connsiteX346" fmla="*/ 1361589 w 4011346"/>
                <a:gd name="connsiteY346" fmla="*/ 543966 h 1978974"/>
                <a:gd name="connsiteX347" fmla="*/ 1351577 w 4011346"/>
                <a:gd name="connsiteY347" fmla="*/ 503920 h 1978974"/>
                <a:gd name="connsiteX348" fmla="*/ 1328217 w 4011346"/>
                <a:gd name="connsiteY348" fmla="*/ 510594 h 1978974"/>
                <a:gd name="connsiteX349" fmla="*/ 1281495 w 4011346"/>
                <a:gd name="connsiteY349" fmla="*/ 473885 h 1978974"/>
                <a:gd name="connsiteX350" fmla="*/ 1241449 w 4011346"/>
                <a:gd name="connsiteY350" fmla="*/ 470547 h 1978974"/>
                <a:gd name="connsiteX351" fmla="*/ 1241449 w 4011346"/>
                <a:gd name="connsiteY351" fmla="*/ 517268 h 1978974"/>
                <a:gd name="connsiteX352" fmla="*/ 1201402 w 4011346"/>
                <a:gd name="connsiteY352" fmla="*/ 497245 h 1978974"/>
                <a:gd name="connsiteX353" fmla="*/ 1228100 w 4011346"/>
                <a:gd name="connsiteY353" fmla="*/ 547303 h 1978974"/>
                <a:gd name="connsiteX354" fmla="*/ 1258135 w 4011346"/>
                <a:gd name="connsiteY354" fmla="*/ 557315 h 1978974"/>
                <a:gd name="connsiteX355" fmla="*/ 1258135 w 4011346"/>
                <a:gd name="connsiteY355" fmla="*/ 577339 h 1978974"/>
                <a:gd name="connsiteX356" fmla="*/ 1198065 w 4011346"/>
                <a:gd name="connsiteY356" fmla="*/ 553978 h 1978974"/>
                <a:gd name="connsiteX357" fmla="*/ 1181379 w 4011346"/>
                <a:gd name="connsiteY357" fmla="*/ 553978 h 1978974"/>
                <a:gd name="connsiteX358" fmla="*/ 1178041 w 4011346"/>
                <a:gd name="connsiteY358" fmla="*/ 510594 h 1978974"/>
                <a:gd name="connsiteX359" fmla="*/ 1171367 w 4011346"/>
                <a:gd name="connsiteY359" fmla="*/ 423826 h 1978974"/>
                <a:gd name="connsiteX360" fmla="*/ 1161355 w 4011346"/>
                <a:gd name="connsiteY360" fmla="*/ 493908 h 1978974"/>
                <a:gd name="connsiteX361" fmla="*/ 1137995 w 4011346"/>
                <a:gd name="connsiteY361" fmla="*/ 523943 h 1978974"/>
                <a:gd name="connsiteX362" fmla="*/ 1158018 w 4011346"/>
                <a:gd name="connsiteY362" fmla="*/ 570664 h 1978974"/>
                <a:gd name="connsiteX363" fmla="*/ 1158018 w 4011346"/>
                <a:gd name="connsiteY363" fmla="*/ 604036 h 1978974"/>
                <a:gd name="connsiteX364" fmla="*/ 1141332 w 4011346"/>
                <a:gd name="connsiteY364" fmla="*/ 654095 h 1978974"/>
                <a:gd name="connsiteX365" fmla="*/ 1154681 w 4011346"/>
                <a:gd name="connsiteY365" fmla="*/ 687467 h 1978974"/>
                <a:gd name="connsiteX366" fmla="*/ 1184716 w 4011346"/>
                <a:gd name="connsiteY366" fmla="*/ 694141 h 1978974"/>
                <a:gd name="connsiteX367" fmla="*/ 1221425 w 4011346"/>
                <a:gd name="connsiteY367" fmla="*/ 700816 h 1978974"/>
                <a:gd name="connsiteX368" fmla="*/ 1241449 w 4011346"/>
                <a:gd name="connsiteY368" fmla="*/ 724176 h 1978974"/>
                <a:gd name="connsiteX369" fmla="*/ 1258135 w 4011346"/>
                <a:gd name="connsiteY369" fmla="*/ 767560 h 1978974"/>
                <a:gd name="connsiteX370" fmla="*/ 1258135 w 4011346"/>
                <a:gd name="connsiteY370" fmla="*/ 767560 h 1978974"/>
                <a:gd name="connsiteX371" fmla="*/ 1254798 w 4011346"/>
                <a:gd name="connsiteY371" fmla="*/ 800933 h 1978974"/>
                <a:gd name="connsiteX372" fmla="*/ 1274821 w 4011346"/>
                <a:gd name="connsiteY372" fmla="*/ 820956 h 1978974"/>
                <a:gd name="connsiteX373" fmla="*/ 1244786 w 4011346"/>
                <a:gd name="connsiteY373" fmla="*/ 827631 h 1978974"/>
                <a:gd name="connsiteX374" fmla="*/ 1224763 w 4011346"/>
                <a:gd name="connsiteY374" fmla="*/ 787584 h 1978974"/>
                <a:gd name="connsiteX375" fmla="*/ 1224763 w 4011346"/>
                <a:gd name="connsiteY375" fmla="*/ 747537 h 1978974"/>
                <a:gd name="connsiteX376" fmla="*/ 1194727 w 4011346"/>
                <a:gd name="connsiteY376" fmla="*/ 710828 h 1978974"/>
                <a:gd name="connsiteX377" fmla="*/ 1164692 w 4011346"/>
                <a:gd name="connsiteY377" fmla="*/ 754212 h 1978974"/>
                <a:gd name="connsiteX378" fmla="*/ 1178041 w 4011346"/>
                <a:gd name="connsiteY378" fmla="*/ 797595 h 1978974"/>
                <a:gd name="connsiteX379" fmla="*/ 1137995 w 4011346"/>
                <a:gd name="connsiteY379" fmla="*/ 854328 h 1978974"/>
                <a:gd name="connsiteX380" fmla="*/ 1097948 w 4011346"/>
                <a:gd name="connsiteY380" fmla="*/ 911061 h 1978974"/>
                <a:gd name="connsiteX381" fmla="*/ 1007843 w 4011346"/>
                <a:gd name="connsiteY381" fmla="*/ 874352 h 1978974"/>
                <a:gd name="connsiteX382" fmla="*/ 1074587 w 4011346"/>
                <a:gd name="connsiteY382" fmla="*/ 871014 h 1978974"/>
                <a:gd name="connsiteX383" fmla="*/ 1107960 w 4011346"/>
                <a:gd name="connsiteY383" fmla="*/ 807607 h 1978974"/>
                <a:gd name="connsiteX384" fmla="*/ 1121309 w 4011346"/>
                <a:gd name="connsiteY384" fmla="*/ 764223 h 1978974"/>
                <a:gd name="connsiteX385" fmla="*/ 1127983 w 4011346"/>
                <a:gd name="connsiteY385" fmla="*/ 730851 h 1978974"/>
                <a:gd name="connsiteX386" fmla="*/ 1117971 w 4011346"/>
                <a:gd name="connsiteY386" fmla="*/ 714165 h 1978974"/>
                <a:gd name="connsiteX387" fmla="*/ 1114634 w 4011346"/>
                <a:gd name="connsiteY387" fmla="*/ 664106 h 1978974"/>
                <a:gd name="connsiteX388" fmla="*/ 1104622 w 4011346"/>
                <a:gd name="connsiteY388" fmla="*/ 584013 h 1978974"/>
                <a:gd name="connsiteX389" fmla="*/ 1101285 w 4011346"/>
                <a:gd name="connsiteY389" fmla="*/ 523943 h 1978974"/>
                <a:gd name="connsiteX390" fmla="*/ 1124646 w 4011346"/>
                <a:gd name="connsiteY390" fmla="*/ 430501 h 1978974"/>
                <a:gd name="connsiteX391" fmla="*/ 1031203 w 4011346"/>
                <a:gd name="connsiteY391" fmla="*/ 420489 h 1978974"/>
                <a:gd name="connsiteX392" fmla="*/ 1014517 w 4011346"/>
                <a:gd name="connsiteY392" fmla="*/ 477222 h 1978974"/>
                <a:gd name="connsiteX393" fmla="*/ 1024529 w 4011346"/>
                <a:gd name="connsiteY393" fmla="*/ 523943 h 1978974"/>
                <a:gd name="connsiteX394" fmla="*/ 981145 w 4011346"/>
                <a:gd name="connsiteY394" fmla="*/ 577339 h 1978974"/>
                <a:gd name="connsiteX395" fmla="*/ 991157 w 4011346"/>
                <a:gd name="connsiteY395" fmla="*/ 614048 h 1978974"/>
                <a:gd name="connsiteX396" fmla="*/ 981145 w 4011346"/>
                <a:gd name="connsiteY396" fmla="*/ 660769 h 1978974"/>
                <a:gd name="connsiteX397" fmla="*/ 1001168 w 4011346"/>
                <a:gd name="connsiteY397" fmla="*/ 684130 h 1978974"/>
                <a:gd name="connsiteX398" fmla="*/ 1017854 w 4011346"/>
                <a:gd name="connsiteY398" fmla="*/ 730851 h 1978974"/>
                <a:gd name="connsiteX399" fmla="*/ 1047890 w 4011346"/>
                <a:gd name="connsiteY399" fmla="*/ 717502 h 1978974"/>
                <a:gd name="connsiteX400" fmla="*/ 1014517 w 4011346"/>
                <a:gd name="connsiteY400" fmla="*/ 770898 h 1978974"/>
                <a:gd name="connsiteX401" fmla="*/ 957784 w 4011346"/>
                <a:gd name="connsiteY401" fmla="*/ 717502 h 1978974"/>
                <a:gd name="connsiteX402" fmla="*/ 884365 w 4011346"/>
                <a:gd name="connsiteY402" fmla="*/ 680793 h 1978974"/>
                <a:gd name="connsiteX403" fmla="*/ 824295 w 4011346"/>
                <a:gd name="connsiteY403" fmla="*/ 657432 h 1978974"/>
                <a:gd name="connsiteX404" fmla="*/ 810946 w 4011346"/>
                <a:gd name="connsiteY404" fmla="*/ 694141 h 1978974"/>
                <a:gd name="connsiteX405" fmla="*/ 827633 w 4011346"/>
                <a:gd name="connsiteY405" fmla="*/ 730851 h 1978974"/>
                <a:gd name="connsiteX406" fmla="*/ 814284 w 4011346"/>
                <a:gd name="connsiteY406" fmla="*/ 754212 h 1978974"/>
                <a:gd name="connsiteX407" fmla="*/ 800935 w 4011346"/>
                <a:gd name="connsiteY407" fmla="*/ 770898 h 1978974"/>
                <a:gd name="connsiteX408" fmla="*/ 770900 w 4011346"/>
                <a:gd name="connsiteY408" fmla="*/ 714165 h 1978974"/>
                <a:gd name="connsiteX409" fmla="*/ 744202 w 4011346"/>
                <a:gd name="connsiteY409" fmla="*/ 750874 h 1978974"/>
                <a:gd name="connsiteX410" fmla="*/ 707492 w 4011346"/>
                <a:gd name="connsiteY410" fmla="*/ 744200 h 1978974"/>
                <a:gd name="connsiteX411" fmla="*/ 654097 w 4011346"/>
                <a:gd name="connsiteY411" fmla="*/ 780909 h 1978974"/>
                <a:gd name="connsiteX412" fmla="*/ 644085 w 4011346"/>
                <a:gd name="connsiteY412" fmla="*/ 757549 h 1978974"/>
                <a:gd name="connsiteX413" fmla="*/ 654097 w 4011346"/>
                <a:gd name="connsiteY413" fmla="*/ 720839 h 1978974"/>
                <a:gd name="connsiteX414" fmla="*/ 614050 w 4011346"/>
                <a:gd name="connsiteY414" fmla="*/ 757549 h 1978974"/>
                <a:gd name="connsiteX415" fmla="*/ 594027 w 4011346"/>
                <a:gd name="connsiteY415" fmla="*/ 757549 h 1978974"/>
                <a:gd name="connsiteX416" fmla="*/ 533957 w 4011346"/>
                <a:gd name="connsiteY416" fmla="*/ 790921 h 1978974"/>
                <a:gd name="connsiteX417" fmla="*/ 510596 w 4011346"/>
                <a:gd name="connsiteY417" fmla="*/ 814282 h 1978974"/>
                <a:gd name="connsiteX418" fmla="*/ 500584 w 4011346"/>
                <a:gd name="connsiteY418" fmla="*/ 861003 h 1978974"/>
                <a:gd name="connsiteX419" fmla="*/ 450526 w 4011346"/>
                <a:gd name="connsiteY419" fmla="*/ 847654 h 1978974"/>
                <a:gd name="connsiteX420" fmla="*/ 433840 w 4011346"/>
                <a:gd name="connsiteY420" fmla="*/ 810944 h 1978974"/>
                <a:gd name="connsiteX421" fmla="*/ 467212 w 4011346"/>
                <a:gd name="connsiteY421" fmla="*/ 780909 h 1978974"/>
                <a:gd name="connsiteX422" fmla="*/ 453863 w 4011346"/>
                <a:gd name="connsiteY422" fmla="*/ 757549 h 1978974"/>
                <a:gd name="connsiteX423" fmla="*/ 390456 w 4011346"/>
                <a:gd name="connsiteY423" fmla="*/ 727514 h 1978974"/>
                <a:gd name="connsiteX424" fmla="*/ 417154 w 4011346"/>
                <a:gd name="connsiteY424" fmla="*/ 777572 h 1978974"/>
                <a:gd name="connsiteX425" fmla="*/ 407142 w 4011346"/>
                <a:gd name="connsiteY425" fmla="*/ 820956 h 1978974"/>
                <a:gd name="connsiteX426" fmla="*/ 413817 w 4011346"/>
                <a:gd name="connsiteY426" fmla="*/ 857666 h 1978974"/>
                <a:gd name="connsiteX427" fmla="*/ 427165 w 4011346"/>
                <a:gd name="connsiteY427" fmla="*/ 881026 h 1978974"/>
                <a:gd name="connsiteX428" fmla="*/ 413817 w 4011346"/>
                <a:gd name="connsiteY428" fmla="*/ 911061 h 1978974"/>
                <a:gd name="connsiteX429" fmla="*/ 390456 w 4011346"/>
                <a:gd name="connsiteY429" fmla="*/ 887701 h 1978974"/>
                <a:gd name="connsiteX430" fmla="*/ 360421 w 4011346"/>
                <a:gd name="connsiteY430" fmla="*/ 884363 h 1978974"/>
                <a:gd name="connsiteX431" fmla="*/ 333723 w 4011346"/>
                <a:gd name="connsiteY431" fmla="*/ 924410 h 1978974"/>
                <a:gd name="connsiteX432" fmla="*/ 307025 w 4011346"/>
                <a:gd name="connsiteY432" fmla="*/ 944433 h 1978974"/>
                <a:gd name="connsiteX433" fmla="*/ 320374 w 4011346"/>
                <a:gd name="connsiteY433" fmla="*/ 971131 h 1978974"/>
                <a:gd name="connsiteX434" fmla="*/ 303688 w 4011346"/>
                <a:gd name="connsiteY434" fmla="*/ 994492 h 1978974"/>
                <a:gd name="connsiteX435" fmla="*/ 233606 w 4011346"/>
                <a:gd name="connsiteY435" fmla="*/ 957782 h 1978974"/>
                <a:gd name="connsiteX436" fmla="*/ 243618 w 4011346"/>
                <a:gd name="connsiteY436" fmla="*/ 1007841 h 1978974"/>
                <a:gd name="connsiteX437" fmla="*/ 263641 w 4011346"/>
                <a:gd name="connsiteY437" fmla="*/ 1027864 h 1978974"/>
                <a:gd name="connsiteX438" fmla="*/ 250292 w 4011346"/>
                <a:gd name="connsiteY438" fmla="*/ 1041213 h 1978974"/>
                <a:gd name="connsiteX439" fmla="*/ 193560 w 4011346"/>
                <a:gd name="connsiteY439" fmla="*/ 1004503 h 1978974"/>
                <a:gd name="connsiteX440" fmla="*/ 170199 w 4011346"/>
                <a:gd name="connsiteY440" fmla="*/ 964457 h 1978974"/>
                <a:gd name="connsiteX441" fmla="*/ 170199 w 4011346"/>
                <a:gd name="connsiteY441" fmla="*/ 917736 h 1978974"/>
                <a:gd name="connsiteX442" fmla="*/ 133490 w 4011346"/>
                <a:gd name="connsiteY442" fmla="*/ 840979 h 1978974"/>
                <a:gd name="connsiteX443" fmla="*/ 196897 w 4011346"/>
                <a:gd name="connsiteY443" fmla="*/ 871014 h 1978974"/>
                <a:gd name="connsiteX444" fmla="*/ 256967 w 4011346"/>
                <a:gd name="connsiteY444" fmla="*/ 901049 h 1978974"/>
                <a:gd name="connsiteX445" fmla="*/ 293676 w 4011346"/>
                <a:gd name="connsiteY445" fmla="*/ 904387 h 1978974"/>
                <a:gd name="connsiteX446" fmla="*/ 327049 w 4011346"/>
                <a:gd name="connsiteY446" fmla="*/ 874352 h 1978974"/>
                <a:gd name="connsiteX447" fmla="*/ 343735 w 4011346"/>
                <a:gd name="connsiteY447" fmla="*/ 837642 h 1978974"/>
                <a:gd name="connsiteX448" fmla="*/ 333723 w 4011346"/>
                <a:gd name="connsiteY448" fmla="*/ 787584 h 1978974"/>
                <a:gd name="connsiteX449" fmla="*/ 290339 w 4011346"/>
                <a:gd name="connsiteY449" fmla="*/ 767560 h 1978974"/>
                <a:gd name="connsiteX450" fmla="*/ 236944 w 4011346"/>
                <a:gd name="connsiteY450" fmla="*/ 720839 h 1978974"/>
                <a:gd name="connsiteX451" fmla="*/ 133490 w 4011346"/>
                <a:gd name="connsiteY451" fmla="*/ 664106 h 1978974"/>
                <a:gd name="connsiteX0" fmla="*/ 133490 w 4011346"/>
                <a:gd name="connsiteY0" fmla="*/ 690804 h 2005672"/>
                <a:gd name="connsiteX1" fmla="*/ 46722 w 4011346"/>
                <a:gd name="connsiteY1" fmla="*/ 720839 h 2005672"/>
                <a:gd name="connsiteX2" fmla="*/ 33373 w 4011346"/>
                <a:gd name="connsiteY2" fmla="*/ 750874 h 2005672"/>
                <a:gd name="connsiteX3" fmla="*/ 43384 w 4011346"/>
                <a:gd name="connsiteY3" fmla="*/ 780910 h 2005672"/>
                <a:gd name="connsiteX4" fmla="*/ 60071 w 4011346"/>
                <a:gd name="connsiteY4" fmla="*/ 807607 h 2005672"/>
                <a:gd name="connsiteX5" fmla="*/ 73419 w 4011346"/>
                <a:gd name="connsiteY5" fmla="*/ 837642 h 2005672"/>
                <a:gd name="connsiteX6" fmla="*/ 56733 w 4011346"/>
                <a:gd name="connsiteY6" fmla="*/ 861003 h 2005672"/>
                <a:gd name="connsiteX7" fmla="*/ 76757 w 4011346"/>
                <a:gd name="connsiteY7" fmla="*/ 941096 h 2005672"/>
                <a:gd name="connsiteX8" fmla="*/ 66745 w 4011346"/>
                <a:gd name="connsiteY8" fmla="*/ 957783 h 2005672"/>
                <a:gd name="connsiteX9" fmla="*/ 70082 w 4011346"/>
                <a:gd name="connsiteY9" fmla="*/ 984480 h 2005672"/>
                <a:gd name="connsiteX10" fmla="*/ 70082 w 4011346"/>
                <a:gd name="connsiteY10" fmla="*/ 1024527 h 2005672"/>
                <a:gd name="connsiteX11" fmla="*/ 80094 w 4011346"/>
                <a:gd name="connsiteY11" fmla="*/ 1044550 h 2005672"/>
                <a:gd name="connsiteX12" fmla="*/ 76757 w 4011346"/>
                <a:gd name="connsiteY12" fmla="*/ 1067911 h 2005672"/>
                <a:gd name="connsiteX13" fmla="*/ 106792 w 4011346"/>
                <a:gd name="connsiteY13" fmla="*/ 1101283 h 2005672"/>
                <a:gd name="connsiteX14" fmla="*/ 106792 w 4011346"/>
                <a:gd name="connsiteY14" fmla="*/ 1131318 h 2005672"/>
                <a:gd name="connsiteX15" fmla="*/ 13349 w 4011346"/>
                <a:gd name="connsiteY15" fmla="*/ 1221423 h 2005672"/>
                <a:gd name="connsiteX16" fmla="*/ 33373 w 4011346"/>
                <a:gd name="connsiteY16" fmla="*/ 1254796 h 2005672"/>
                <a:gd name="connsiteX17" fmla="*/ 33373 w 4011346"/>
                <a:gd name="connsiteY17" fmla="*/ 1254796 h 2005672"/>
                <a:gd name="connsiteX18" fmla="*/ 16687 w 4011346"/>
                <a:gd name="connsiteY18" fmla="*/ 1284831 h 2005672"/>
                <a:gd name="connsiteX19" fmla="*/ 3338 w 4011346"/>
                <a:gd name="connsiteY19" fmla="*/ 1314866 h 2005672"/>
                <a:gd name="connsiteX20" fmla="*/ 0 w 4011346"/>
                <a:gd name="connsiteY20" fmla="*/ 1374936 h 2005672"/>
                <a:gd name="connsiteX21" fmla="*/ 16687 w 4011346"/>
                <a:gd name="connsiteY21" fmla="*/ 1418320 h 2005672"/>
                <a:gd name="connsiteX22" fmla="*/ 20024 w 4011346"/>
                <a:gd name="connsiteY22" fmla="*/ 1451692 h 2005672"/>
                <a:gd name="connsiteX23" fmla="*/ 56733 w 4011346"/>
                <a:gd name="connsiteY23" fmla="*/ 1461704 h 2005672"/>
                <a:gd name="connsiteX24" fmla="*/ 116803 w 4011346"/>
                <a:gd name="connsiteY24" fmla="*/ 1548472 h 2005672"/>
                <a:gd name="connsiteX25" fmla="*/ 96780 w 4011346"/>
                <a:gd name="connsiteY25" fmla="*/ 1571832 h 2005672"/>
                <a:gd name="connsiteX26" fmla="*/ 93443 w 4011346"/>
                <a:gd name="connsiteY26" fmla="*/ 1601867 h 2005672"/>
                <a:gd name="connsiteX27" fmla="*/ 120141 w 4011346"/>
                <a:gd name="connsiteY27" fmla="*/ 1605204 h 2005672"/>
                <a:gd name="connsiteX28" fmla="*/ 160187 w 4011346"/>
                <a:gd name="connsiteY28" fmla="*/ 1618553 h 2005672"/>
                <a:gd name="connsiteX29" fmla="*/ 186885 w 4011346"/>
                <a:gd name="connsiteY29" fmla="*/ 1631902 h 2005672"/>
                <a:gd name="connsiteX30" fmla="*/ 213583 w 4011346"/>
                <a:gd name="connsiteY30" fmla="*/ 1661937 h 2005672"/>
                <a:gd name="connsiteX31" fmla="*/ 243618 w 4011346"/>
                <a:gd name="connsiteY31" fmla="*/ 1665274 h 2005672"/>
                <a:gd name="connsiteX32" fmla="*/ 287002 w 4011346"/>
                <a:gd name="connsiteY32" fmla="*/ 1695310 h 2005672"/>
                <a:gd name="connsiteX33" fmla="*/ 310363 w 4011346"/>
                <a:gd name="connsiteY33" fmla="*/ 1705321 h 2005672"/>
                <a:gd name="connsiteX34" fmla="*/ 310363 w 4011346"/>
                <a:gd name="connsiteY34" fmla="*/ 1742031 h 2005672"/>
                <a:gd name="connsiteX35" fmla="*/ 270316 w 4011346"/>
                <a:gd name="connsiteY35" fmla="*/ 1782077 h 2005672"/>
                <a:gd name="connsiteX36" fmla="*/ 280327 w 4011346"/>
                <a:gd name="connsiteY36" fmla="*/ 1805438 h 2005672"/>
                <a:gd name="connsiteX37" fmla="*/ 273653 w 4011346"/>
                <a:gd name="connsiteY37" fmla="*/ 1825461 h 2005672"/>
                <a:gd name="connsiteX38" fmla="*/ 266979 w 4011346"/>
                <a:gd name="connsiteY38" fmla="*/ 1842147 h 2005672"/>
                <a:gd name="connsiteX39" fmla="*/ 240281 w 4011346"/>
                <a:gd name="connsiteY39" fmla="*/ 1882194 h 2005672"/>
                <a:gd name="connsiteX40" fmla="*/ 307025 w 4011346"/>
                <a:gd name="connsiteY40" fmla="*/ 1918904 h 2005672"/>
                <a:gd name="connsiteX41" fmla="*/ 337060 w 4011346"/>
                <a:gd name="connsiteY41" fmla="*/ 1925578 h 2005672"/>
                <a:gd name="connsiteX42" fmla="*/ 360421 w 4011346"/>
                <a:gd name="connsiteY42" fmla="*/ 1932253 h 2005672"/>
                <a:gd name="connsiteX43" fmla="*/ 380444 w 4011346"/>
                <a:gd name="connsiteY43" fmla="*/ 1938927 h 2005672"/>
                <a:gd name="connsiteX44" fmla="*/ 407142 w 4011346"/>
                <a:gd name="connsiteY44" fmla="*/ 1958950 h 2005672"/>
                <a:gd name="connsiteX45" fmla="*/ 437177 w 4011346"/>
                <a:gd name="connsiteY45" fmla="*/ 1955613 h 2005672"/>
                <a:gd name="connsiteX46" fmla="*/ 507259 w 4011346"/>
                <a:gd name="connsiteY46" fmla="*/ 2005672 h 2005672"/>
                <a:gd name="connsiteX47" fmla="*/ 517271 w 4011346"/>
                <a:gd name="connsiteY47" fmla="*/ 1992323 h 2005672"/>
                <a:gd name="connsiteX48" fmla="*/ 507259 w 4011346"/>
                <a:gd name="connsiteY48" fmla="*/ 1952276 h 2005672"/>
                <a:gd name="connsiteX49" fmla="*/ 500584 w 4011346"/>
                <a:gd name="connsiteY49" fmla="*/ 1918904 h 2005672"/>
                <a:gd name="connsiteX50" fmla="*/ 483898 w 4011346"/>
                <a:gd name="connsiteY50" fmla="*/ 1875520 h 2005672"/>
                <a:gd name="connsiteX51" fmla="*/ 513933 w 4011346"/>
                <a:gd name="connsiteY51" fmla="*/ 1855496 h 2005672"/>
                <a:gd name="connsiteX52" fmla="*/ 547306 w 4011346"/>
                <a:gd name="connsiteY52" fmla="*/ 1832136 h 2005672"/>
                <a:gd name="connsiteX53" fmla="*/ 527282 w 4011346"/>
                <a:gd name="connsiteY53" fmla="*/ 1815450 h 2005672"/>
                <a:gd name="connsiteX54" fmla="*/ 517271 w 4011346"/>
                <a:gd name="connsiteY54" fmla="*/ 1782077 h 2005672"/>
                <a:gd name="connsiteX55" fmla="*/ 480561 w 4011346"/>
                <a:gd name="connsiteY55" fmla="*/ 1765391 h 2005672"/>
                <a:gd name="connsiteX56" fmla="*/ 470549 w 4011346"/>
                <a:gd name="connsiteY56" fmla="*/ 1745368 h 2005672"/>
                <a:gd name="connsiteX57" fmla="*/ 480561 w 4011346"/>
                <a:gd name="connsiteY57" fmla="*/ 1715333 h 2005672"/>
                <a:gd name="connsiteX58" fmla="*/ 490573 w 4011346"/>
                <a:gd name="connsiteY58" fmla="*/ 1675286 h 2005672"/>
                <a:gd name="connsiteX59" fmla="*/ 513933 w 4011346"/>
                <a:gd name="connsiteY59" fmla="*/ 1695310 h 2005672"/>
                <a:gd name="connsiteX60" fmla="*/ 520608 w 4011346"/>
                <a:gd name="connsiteY60" fmla="*/ 1678623 h 2005672"/>
                <a:gd name="connsiteX61" fmla="*/ 543968 w 4011346"/>
                <a:gd name="connsiteY61" fmla="*/ 1641914 h 2005672"/>
                <a:gd name="connsiteX62" fmla="*/ 574003 w 4011346"/>
                <a:gd name="connsiteY62" fmla="*/ 1625228 h 2005672"/>
                <a:gd name="connsiteX63" fmla="*/ 590690 w 4011346"/>
                <a:gd name="connsiteY63" fmla="*/ 1638577 h 2005672"/>
                <a:gd name="connsiteX64" fmla="*/ 610713 w 4011346"/>
                <a:gd name="connsiteY64" fmla="*/ 1611879 h 2005672"/>
                <a:gd name="connsiteX65" fmla="*/ 630736 w 4011346"/>
                <a:gd name="connsiteY65" fmla="*/ 1638577 h 2005672"/>
                <a:gd name="connsiteX66" fmla="*/ 657434 w 4011346"/>
                <a:gd name="connsiteY66" fmla="*/ 1661937 h 2005672"/>
                <a:gd name="connsiteX67" fmla="*/ 674120 w 4011346"/>
                <a:gd name="connsiteY67" fmla="*/ 1668612 h 2005672"/>
                <a:gd name="connsiteX68" fmla="*/ 697481 w 4011346"/>
                <a:gd name="connsiteY68" fmla="*/ 1668612 h 2005672"/>
                <a:gd name="connsiteX69" fmla="*/ 717504 w 4011346"/>
                <a:gd name="connsiteY69" fmla="*/ 1655263 h 2005672"/>
                <a:gd name="connsiteX70" fmla="*/ 744202 w 4011346"/>
                <a:gd name="connsiteY70" fmla="*/ 1655263 h 2005672"/>
                <a:gd name="connsiteX71" fmla="*/ 760888 w 4011346"/>
                <a:gd name="connsiteY71" fmla="*/ 1651926 h 2005672"/>
                <a:gd name="connsiteX72" fmla="*/ 790923 w 4011346"/>
                <a:gd name="connsiteY72" fmla="*/ 1685298 h 2005672"/>
                <a:gd name="connsiteX73" fmla="*/ 797598 w 4011346"/>
                <a:gd name="connsiteY73" fmla="*/ 1658600 h 2005672"/>
                <a:gd name="connsiteX74" fmla="*/ 817621 w 4011346"/>
                <a:gd name="connsiteY74" fmla="*/ 1675286 h 2005672"/>
                <a:gd name="connsiteX75" fmla="*/ 837644 w 4011346"/>
                <a:gd name="connsiteY75" fmla="*/ 1651926 h 2005672"/>
                <a:gd name="connsiteX76" fmla="*/ 827633 w 4011346"/>
                <a:gd name="connsiteY76" fmla="*/ 1631902 h 2005672"/>
                <a:gd name="connsiteX77" fmla="*/ 810946 w 4011346"/>
                <a:gd name="connsiteY77" fmla="*/ 1618553 h 2005672"/>
                <a:gd name="connsiteX78" fmla="*/ 810946 w 4011346"/>
                <a:gd name="connsiteY78" fmla="*/ 1591856 h 2005672"/>
                <a:gd name="connsiteX79" fmla="*/ 810946 w 4011346"/>
                <a:gd name="connsiteY79" fmla="*/ 1578507 h 2005672"/>
                <a:gd name="connsiteX80" fmla="*/ 830970 w 4011346"/>
                <a:gd name="connsiteY80" fmla="*/ 1575169 h 2005672"/>
                <a:gd name="connsiteX81" fmla="*/ 840981 w 4011346"/>
                <a:gd name="connsiteY81" fmla="*/ 1571832 h 2005672"/>
                <a:gd name="connsiteX82" fmla="*/ 820958 w 4011346"/>
                <a:gd name="connsiteY82" fmla="*/ 1535123 h 2005672"/>
                <a:gd name="connsiteX83" fmla="*/ 854330 w 4011346"/>
                <a:gd name="connsiteY83" fmla="*/ 1528448 h 2005672"/>
                <a:gd name="connsiteX84" fmla="*/ 891040 w 4011346"/>
                <a:gd name="connsiteY84" fmla="*/ 1535123 h 2005672"/>
                <a:gd name="connsiteX85" fmla="*/ 964459 w 4011346"/>
                <a:gd name="connsiteY85" fmla="*/ 1491739 h 2005672"/>
                <a:gd name="connsiteX86" fmla="*/ 1001168 w 4011346"/>
                <a:gd name="connsiteY86" fmla="*/ 1491739 h 2005672"/>
                <a:gd name="connsiteX87" fmla="*/ 1027866 w 4011346"/>
                <a:gd name="connsiteY87" fmla="*/ 1468378 h 2005672"/>
                <a:gd name="connsiteX88" fmla="*/ 1047890 w 4011346"/>
                <a:gd name="connsiteY88" fmla="*/ 1478390 h 2005672"/>
                <a:gd name="connsiteX89" fmla="*/ 1067913 w 4011346"/>
                <a:gd name="connsiteY89" fmla="*/ 1488401 h 2005672"/>
                <a:gd name="connsiteX90" fmla="*/ 1087936 w 4011346"/>
                <a:gd name="connsiteY90" fmla="*/ 1515099 h 2005672"/>
                <a:gd name="connsiteX91" fmla="*/ 1074587 w 4011346"/>
                <a:gd name="connsiteY91" fmla="*/ 1528448 h 2005672"/>
                <a:gd name="connsiteX92" fmla="*/ 1104622 w 4011346"/>
                <a:gd name="connsiteY92" fmla="*/ 1528448 h 2005672"/>
                <a:gd name="connsiteX93" fmla="*/ 1107960 w 4011346"/>
                <a:gd name="connsiteY93" fmla="*/ 1545134 h 2005672"/>
                <a:gd name="connsiteX94" fmla="*/ 1121309 w 4011346"/>
                <a:gd name="connsiteY94" fmla="*/ 1528448 h 2005672"/>
                <a:gd name="connsiteX95" fmla="*/ 1134657 w 4011346"/>
                <a:gd name="connsiteY95" fmla="*/ 1541797 h 2005672"/>
                <a:gd name="connsiteX96" fmla="*/ 1134657 w 4011346"/>
                <a:gd name="connsiteY96" fmla="*/ 1561820 h 2005672"/>
                <a:gd name="connsiteX97" fmla="*/ 1148006 w 4011346"/>
                <a:gd name="connsiteY97" fmla="*/ 1558483 h 2005672"/>
                <a:gd name="connsiteX98" fmla="*/ 1208076 w 4011346"/>
                <a:gd name="connsiteY98" fmla="*/ 1511762 h 2005672"/>
                <a:gd name="connsiteX99" fmla="*/ 1211414 w 4011346"/>
                <a:gd name="connsiteY99" fmla="*/ 1531785 h 2005672"/>
                <a:gd name="connsiteX100" fmla="*/ 1244786 w 4011346"/>
                <a:gd name="connsiteY100" fmla="*/ 1551809 h 2005672"/>
                <a:gd name="connsiteX101" fmla="*/ 1264809 w 4011346"/>
                <a:gd name="connsiteY101" fmla="*/ 1581844 h 2005672"/>
                <a:gd name="connsiteX102" fmla="*/ 1298181 w 4011346"/>
                <a:gd name="connsiteY102" fmla="*/ 1688635 h 2005672"/>
                <a:gd name="connsiteX103" fmla="*/ 1308193 w 4011346"/>
                <a:gd name="connsiteY103" fmla="*/ 1645251 h 2005672"/>
                <a:gd name="connsiteX104" fmla="*/ 1344903 w 4011346"/>
                <a:gd name="connsiteY104" fmla="*/ 1665274 h 2005672"/>
                <a:gd name="connsiteX105" fmla="*/ 1388287 w 4011346"/>
                <a:gd name="connsiteY105" fmla="*/ 1665274 h 2005672"/>
                <a:gd name="connsiteX106" fmla="*/ 1394961 w 4011346"/>
                <a:gd name="connsiteY106" fmla="*/ 1688635 h 2005672"/>
                <a:gd name="connsiteX107" fmla="*/ 1435008 w 4011346"/>
                <a:gd name="connsiteY107" fmla="*/ 1711996 h 2005672"/>
                <a:gd name="connsiteX108" fmla="*/ 1465043 w 4011346"/>
                <a:gd name="connsiteY108" fmla="*/ 1711996 h 2005672"/>
                <a:gd name="connsiteX109" fmla="*/ 1491741 w 4011346"/>
                <a:gd name="connsiteY109" fmla="*/ 1725345 h 2005672"/>
                <a:gd name="connsiteX110" fmla="*/ 1535125 w 4011346"/>
                <a:gd name="connsiteY110" fmla="*/ 1681961 h 2005672"/>
                <a:gd name="connsiteX111" fmla="*/ 1571834 w 4011346"/>
                <a:gd name="connsiteY111" fmla="*/ 1661937 h 2005672"/>
                <a:gd name="connsiteX112" fmla="*/ 1608544 w 4011346"/>
                <a:gd name="connsiteY112" fmla="*/ 1665274 h 2005672"/>
                <a:gd name="connsiteX113" fmla="*/ 1655265 w 4011346"/>
                <a:gd name="connsiteY113" fmla="*/ 1678623 h 2005672"/>
                <a:gd name="connsiteX114" fmla="*/ 1681963 w 4011346"/>
                <a:gd name="connsiteY114" fmla="*/ 1695310 h 2005672"/>
                <a:gd name="connsiteX115" fmla="*/ 1735358 w 4011346"/>
                <a:gd name="connsiteY115" fmla="*/ 1688635 h 2005672"/>
                <a:gd name="connsiteX116" fmla="*/ 1745370 w 4011346"/>
                <a:gd name="connsiteY116" fmla="*/ 1668612 h 2005672"/>
                <a:gd name="connsiteX117" fmla="*/ 1738695 w 4011346"/>
                <a:gd name="connsiteY117" fmla="*/ 1648588 h 2005672"/>
                <a:gd name="connsiteX118" fmla="*/ 1765393 w 4011346"/>
                <a:gd name="connsiteY118" fmla="*/ 1621891 h 2005672"/>
                <a:gd name="connsiteX119" fmla="*/ 1778742 w 4011346"/>
                <a:gd name="connsiteY119" fmla="*/ 1618553 h 2005672"/>
                <a:gd name="connsiteX120" fmla="*/ 1812114 w 4011346"/>
                <a:gd name="connsiteY120" fmla="*/ 1635239 h 2005672"/>
                <a:gd name="connsiteX121" fmla="*/ 1852161 w 4011346"/>
                <a:gd name="connsiteY121" fmla="*/ 1648588 h 2005672"/>
                <a:gd name="connsiteX122" fmla="*/ 1858836 w 4011346"/>
                <a:gd name="connsiteY122" fmla="*/ 1675286 h 2005672"/>
                <a:gd name="connsiteX123" fmla="*/ 1872184 w 4011346"/>
                <a:gd name="connsiteY123" fmla="*/ 1681961 h 2005672"/>
                <a:gd name="connsiteX124" fmla="*/ 1902219 w 4011346"/>
                <a:gd name="connsiteY124" fmla="*/ 1685298 h 2005672"/>
                <a:gd name="connsiteX125" fmla="*/ 1932254 w 4011346"/>
                <a:gd name="connsiteY125" fmla="*/ 1668612 h 2005672"/>
                <a:gd name="connsiteX126" fmla="*/ 1962290 w 4011346"/>
                <a:gd name="connsiteY126" fmla="*/ 1681961 h 2005672"/>
                <a:gd name="connsiteX127" fmla="*/ 1985650 w 4011346"/>
                <a:gd name="connsiteY127" fmla="*/ 1695310 h 2005672"/>
                <a:gd name="connsiteX128" fmla="*/ 1995662 w 4011346"/>
                <a:gd name="connsiteY128" fmla="*/ 1705321 h 2005672"/>
                <a:gd name="connsiteX129" fmla="*/ 2032371 w 4011346"/>
                <a:gd name="connsiteY129" fmla="*/ 1725345 h 2005672"/>
                <a:gd name="connsiteX130" fmla="*/ 2069081 w 4011346"/>
                <a:gd name="connsiteY130" fmla="*/ 1722007 h 2005672"/>
                <a:gd name="connsiteX131" fmla="*/ 2142500 w 4011346"/>
                <a:gd name="connsiteY131" fmla="*/ 1678623 h 2005672"/>
                <a:gd name="connsiteX132" fmla="*/ 2195895 w 4011346"/>
                <a:gd name="connsiteY132" fmla="*/ 1691972 h 2005672"/>
                <a:gd name="connsiteX133" fmla="*/ 2225930 w 4011346"/>
                <a:gd name="connsiteY133" fmla="*/ 1701984 h 2005672"/>
                <a:gd name="connsiteX134" fmla="*/ 2259303 w 4011346"/>
                <a:gd name="connsiteY134" fmla="*/ 1688635 h 2005672"/>
                <a:gd name="connsiteX135" fmla="*/ 2262640 w 4011346"/>
                <a:gd name="connsiteY135" fmla="*/ 1661937 h 2005672"/>
                <a:gd name="connsiteX136" fmla="*/ 2282663 w 4011346"/>
                <a:gd name="connsiteY136" fmla="*/ 1631902 h 2005672"/>
                <a:gd name="connsiteX137" fmla="*/ 2299349 w 4011346"/>
                <a:gd name="connsiteY137" fmla="*/ 1578507 h 2005672"/>
                <a:gd name="connsiteX138" fmla="*/ 2282663 w 4011346"/>
                <a:gd name="connsiteY138" fmla="*/ 1581844 h 2005672"/>
                <a:gd name="connsiteX139" fmla="*/ 2312698 w 4011346"/>
                <a:gd name="connsiteY139" fmla="*/ 1555146 h 2005672"/>
                <a:gd name="connsiteX140" fmla="*/ 2339396 w 4011346"/>
                <a:gd name="connsiteY140" fmla="*/ 1551809 h 2005672"/>
                <a:gd name="connsiteX141" fmla="*/ 2396129 w 4011346"/>
                <a:gd name="connsiteY141" fmla="*/ 1561820 h 2005672"/>
                <a:gd name="connsiteX142" fmla="*/ 2436176 w 4011346"/>
                <a:gd name="connsiteY142" fmla="*/ 1588518 h 2005672"/>
                <a:gd name="connsiteX143" fmla="*/ 2462873 w 4011346"/>
                <a:gd name="connsiteY143" fmla="*/ 1618553 h 2005672"/>
                <a:gd name="connsiteX144" fmla="*/ 2469548 w 4011346"/>
                <a:gd name="connsiteY144" fmla="*/ 1655263 h 2005672"/>
                <a:gd name="connsiteX145" fmla="*/ 2476222 w 4011346"/>
                <a:gd name="connsiteY145" fmla="*/ 1695310 h 2005672"/>
                <a:gd name="connsiteX146" fmla="*/ 2486234 w 4011346"/>
                <a:gd name="connsiteY146" fmla="*/ 1715333 h 2005672"/>
                <a:gd name="connsiteX147" fmla="*/ 2529618 w 4011346"/>
                <a:gd name="connsiteY147" fmla="*/ 1728682 h 2005672"/>
                <a:gd name="connsiteX148" fmla="*/ 2549641 w 4011346"/>
                <a:gd name="connsiteY148" fmla="*/ 1748705 h 2005672"/>
                <a:gd name="connsiteX149" fmla="*/ 2562990 w 4011346"/>
                <a:gd name="connsiteY149" fmla="*/ 1782077 h 2005672"/>
                <a:gd name="connsiteX150" fmla="*/ 2586351 w 4011346"/>
                <a:gd name="connsiteY150" fmla="*/ 1775403 h 2005672"/>
                <a:gd name="connsiteX151" fmla="*/ 2606374 w 4011346"/>
                <a:gd name="connsiteY151" fmla="*/ 1765391 h 2005672"/>
                <a:gd name="connsiteX152" fmla="*/ 2639746 w 4011346"/>
                <a:gd name="connsiteY152" fmla="*/ 1748705 h 2005672"/>
                <a:gd name="connsiteX153" fmla="*/ 2643084 w 4011346"/>
                <a:gd name="connsiteY153" fmla="*/ 1765391 h 2005672"/>
                <a:gd name="connsiteX154" fmla="*/ 2626398 w 4011346"/>
                <a:gd name="connsiteY154" fmla="*/ 1795426 h 2005672"/>
                <a:gd name="connsiteX155" fmla="*/ 2616386 w 4011346"/>
                <a:gd name="connsiteY155" fmla="*/ 1832136 h 2005672"/>
                <a:gd name="connsiteX156" fmla="*/ 2603037 w 4011346"/>
                <a:gd name="connsiteY156" fmla="*/ 1885531 h 2005672"/>
                <a:gd name="connsiteX157" fmla="*/ 2579676 w 4011346"/>
                <a:gd name="connsiteY157" fmla="*/ 1858834 h 2005672"/>
                <a:gd name="connsiteX158" fmla="*/ 2552979 w 4011346"/>
                <a:gd name="connsiteY158" fmla="*/ 1882194 h 2005672"/>
                <a:gd name="connsiteX159" fmla="*/ 2559653 w 4011346"/>
                <a:gd name="connsiteY159" fmla="*/ 1908892 h 2005672"/>
                <a:gd name="connsiteX160" fmla="*/ 2559653 w 4011346"/>
                <a:gd name="connsiteY160" fmla="*/ 1945601 h 2005672"/>
                <a:gd name="connsiteX161" fmla="*/ 2549641 w 4011346"/>
                <a:gd name="connsiteY161" fmla="*/ 1965625 h 2005672"/>
                <a:gd name="connsiteX162" fmla="*/ 2589688 w 4011346"/>
                <a:gd name="connsiteY162" fmla="*/ 1945601 h 2005672"/>
                <a:gd name="connsiteX163" fmla="*/ 2626398 w 4011346"/>
                <a:gd name="connsiteY163" fmla="*/ 1955613 h 2005672"/>
                <a:gd name="connsiteX164" fmla="*/ 2653095 w 4011346"/>
                <a:gd name="connsiteY164" fmla="*/ 1932253 h 2005672"/>
                <a:gd name="connsiteX165" fmla="*/ 2683130 w 4011346"/>
                <a:gd name="connsiteY165" fmla="*/ 1878857 h 2005672"/>
                <a:gd name="connsiteX166" fmla="*/ 2753212 w 4011346"/>
                <a:gd name="connsiteY166" fmla="*/ 1792089 h 2005672"/>
                <a:gd name="connsiteX167" fmla="*/ 2783247 w 4011346"/>
                <a:gd name="connsiteY167" fmla="*/ 1722007 h 2005672"/>
                <a:gd name="connsiteX168" fmla="*/ 2803271 w 4011346"/>
                <a:gd name="connsiteY168" fmla="*/ 1618553 h 2005672"/>
                <a:gd name="connsiteX169" fmla="*/ 2793259 w 4011346"/>
                <a:gd name="connsiteY169" fmla="*/ 1568495 h 2005672"/>
                <a:gd name="connsiteX170" fmla="*/ 2769898 w 4011346"/>
                <a:gd name="connsiteY170" fmla="*/ 1535123 h 2005672"/>
                <a:gd name="connsiteX171" fmla="*/ 2726514 w 4011346"/>
                <a:gd name="connsiteY171" fmla="*/ 1535123 h 2005672"/>
                <a:gd name="connsiteX172" fmla="*/ 2699817 w 4011346"/>
                <a:gd name="connsiteY172" fmla="*/ 1535123 h 2005672"/>
                <a:gd name="connsiteX173" fmla="*/ 2683130 w 4011346"/>
                <a:gd name="connsiteY173" fmla="*/ 1515099 h 2005672"/>
                <a:gd name="connsiteX174" fmla="*/ 2669781 w 4011346"/>
                <a:gd name="connsiteY174" fmla="*/ 1495076 h 2005672"/>
                <a:gd name="connsiteX175" fmla="*/ 2763224 w 4011346"/>
                <a:gd name="connsiteY175" fmla="*/ 1378273 h 2005672"/>
                <a:gd name="connsiteX176" fmla="*/ 2846654 w 4011346"/>
                <a:gd name="connsiteY176" fmla="*/ 1311529 h 2005672"/>
                <a:gd name="connsiteX177" fmla="*/ 2890038 w 4011346"/>
                <a:gd name="connsiteY177" fmla="*/ 1288168 h 2005672"/>
                <a:gd name="connsiteX178" fmla="*/ 2933422 w 4011346"/>
                <a:gd name="connsiteY178" fmla="*/ 1308191 h 2005672"/>
                <a:gd name="connsiteX179" fmla="*/ 2950109 w 4011346"/>
                <a:gd name="connsiteY179" fmla="*/ 1291505 h 2005672"/>
                <a:gd name="connsiteX180" fmla="*/ 2993492 w 4011346"/>
                <a:gd name="connsiteY180" fmla="*/ 1308191 h 2005672"/>
                <a:gd name="connsiteX181" fmla="*/ 3006841 w 4011346"/>
                <a:gd name="connsiteY181" fmla="*/ 1274819 h 2005672"/>
                <a:gd name="connsiteX182" fmla="*/ 3053563 w 4011346"/>
                <a:gd name="connsiteY182" fmla="*/ 1284831 h 2005672"/>
                <a:gd name="connsiteX183" fmla="*/ 3070249 w 4011346"/>
                <a:gd name="connsiteY183" fmla="*/ 1301517 h 2005672"/>
                <a:gd name="connsiteX184" fmla="*/ 3060237 w 4011346"/>
                <a:gd name="connsiteY184" fmla="*/ 1321540 h 2005672"/>
                <a:gd name="connsiteX185" fmla="*/ 3123644 w 4011346"/>
                <a:gd name="connsiteY185" fmla="*/ 1304854 h 2005672"/>
                <a:gd name="connsiteX186" fmla="*/ 3140330 w 4011346"/>
                <a:gd name="connsiteY186" fmla="*/ 1291505 h 2005672"/>
                <a:gd name="connsiteX187" fmla="*/ 3123644 w 4011346"/>
                <a:gd name="connsiteY187" fmla="*/ 1278156 h 2005672"/>
                <a:gd name="connsiteX188" fmla="*/ 3143668 w 4011346"/>
                <a:gd name="connsiteY188" fmla="*/ 1238110 h 2005672"/>
                <a:gd name="connsiteX189" fmla="*/ 3190389 w 4011346"/>
                <a:gd name="connsiteY189" fmla="*/ 1168028 h 2005672"/>
                <a:gd name="connsiteX190" fmla="*/ 3233773 w 4011346"/>
                <a:gd name="connsiteY190" fmla="*/ 1164691 h 2005672"/>
                <a:gd name="connsiteX191" fmla="*/ 3273819 w 4011346"/>
                <a:gd name="connsiteY191" fmla="*/ 1174702 h 2005672"/>
                <a:gd name="connsiteX192" fmla="*/ 3277157 w 4011346"/>
                <a:gd name="connsiteY192" fmla="*/ 1231435 h 2005672"/>
                <a:gd name="connsiteX193" fmla="*/ 3320541 w 4011346"/>
                <a:gd name="connsiteY193" fmla="*/ 1188051 h 2005672"/>
                <a:gd name="connsiteX194" fmla="*/ 3343901 w 4011346"/>
                <a:gd name="connsiteY194" fmla="*/ 1171365 h 2005672"/>
                <a:gd name="connsiteX195" fmla="*/ 3350576 w 4011346"/>
                <a:gd name="connsiteY195" fmla="*/ 1137993 h 2005672"/>
                <a:gd name="connsiteX196" fmla="*/ 3377273 w 4011346"/>
                <a:gd name="connsiteY196" fmla="*/ 1121307 h 2005672"/>
                <a:gd name="connsiteX197" fmla="*/ 3407309 w 4011346"/>
                <a:gd name="connsiteY197" fmla="*/ 1131318 h 2005672"/>
                <a:gd name="connsiteX198" fmla="*/ 3373936 w 4011346"/>
                <a:gd name="connsiteY198" fmla="*/ 1161353 h 2005672"/>
                <a:gd name="connsiteX199" fmla="*/ 3360587 w 4011346"/>
                <a:gd name="connsiteY199" fmla="*/ 1211412 h 2005672"/>
                <a:gd name="connsiteX200" fmla="*/ 3323878 w 4011346"/>
                <a:gd name="connsiteY200" fmla="*/ 1251458 h 2005672"/>
                <a:gd name="connsiteX201" fmla="*/ 3210412 w 4011346"/>
                <a:gd name="connsiteY201" fmla="*/ 1348238 h 2005672"/>
                <a:gd name="connsiteX202" fmla="*/ 3163691 w 4011346"/>
                <a:gd name="connsiteY202" fmla="*/ 1418320 h 2005672"/>
                <a:gd name="connsiteX203" fmla="*/ 3160354 w 4011346"/>
                <a:gd name="connsiteY203" fmla="*/ 1491739 h 2005672"/>
                <a:gd name="connsiteX204" fmla="*/ 3170365 w 4011346"/>
                <a:gd name="connsiteY204" fmla="*/ 1581844 h 2005672"/>
                <a:gd name="connsiteX205" fmla="*/ 3190389 w 4011346"/>
                <a:gd name="connsiteY205" fmla="*/ 1645251 h 2005672"/>
                <a:gd name="connsiteX206" fmla="*/ 3217087 w 4011346"/>
                <a:gd name="connsiteY206" fmla="*/ 1635239 h 2005672"/>
                <a:gd name="connsiteX207" fmla="*/ 3240447 w 4011346"/>
                <a:gd name="connsiteY207" fmla="*/ 1568495 h 2005672"/>
                <a:gd name="connsiteX208" fmla="*/ 3270482 w 4011346"/>
                <a:gd name="connsiteY208" fmla="*/ 1565158 h 2005672"/>
                <a:gd name="connsiteX209" fmla="*/ 3287168 w 4011346"/>
                <a:gd name="connsiteY209" fmla="*/ 1505088 h 2005672"/>
                <a:gd name="connsiteX210" fmla="*/ 3313866 w 4011346"/>
                <a:gd name="connsiteY210" fmla="*/ 1495076 h 2005672"/>
                <a:gd name="connsiteX211" fmla="*/ 3313866 w 4011346"/>
                <a:gd name="connsiteY211" fmla="*/ 1465041 h 2005672"/>
                <a:gd name="connsiteX212" fmla="*/ 3337227 w 4011346"/>
                <a:gd name="connsiteY212" fmla="*/ 1428331 h 2005672"/>
                <a:gd name="connsiteX213" fmla="*/ 3330552 w 4011346"/>
                <a:gd name="connsiteY213" fmla="*/ 1384947 h 2005672"/>
                <a:gd name="connsiteX214" fmla="*/ 3333890 w 4011346"/>
                <a:gd name="connsiteY214" fmla="*/ 1354912 h 2005672"/>
                <a:gd name="connsiteX215" fmla="*/ 3323878 w 4011346"/>
                <a:gd name="connsiteY215" fmla="*/ 1344901 h 2005672"/>
                <a:gd name="connsiteX216" fmla="*/ 3363925 w 4011346"/>
                <a:gd name="connsiteY216" fmla="*/ 1258133 h 2005672"/>
                <a:gd name="connsiteX217" fmla="*/ 3383948 w 4011346"/>
                <a:gd name="connsiteY217" fmla="*/ 1268145 h 2005672"/>
                <a:gd name="connsiteX218" fmla="*/ 3410646 w 4011346"/>
                <a:gd name="connsiteY218" fmla="*/ 1241447 h 2005672"/>
                <a:gd name="connsiteX219" fmla="*/ 3420657 w 4011346"/>
                <a:gd name="connsiteY219" fmla="*/ 1268145 h 2005672"/>
                <a:gd name="connsiteX220" fmla="*/ 3447355 w 4011346"/>
                <a:gd name="connsiteY220" fmla="*/ 1251458 h 2005672"/>
                <a:gd name="connsiteX221" fmla="*/ 3477390 w 4011346"/>
                <a:gd name="connsiteY221" fmla="*/ 1241447 h 2005672"/>
                <a:gd name="connsiteX222" fmla="*/ 3514100 w 4011346"/>
                <a:gd name="connsiteY222" fmla="*/ 1268145 h 2005672"/>
                <a:gd name="connsiteX223" fmla="*/ 3574170 w 4011346"/>
                <a:gd name="connsiteY223" fmla="*/ 1201400 h 2005672"/>
                <a:gd name="connsiteX224" fmla="*/ 3637577 w 4011346"/>
                <a:gd name="connsiteY224" fmla="*/ 1154679 h 2005672"/>
                <a:gd name="connsiteX225" fmla="*/ 3690973 w 4011346"/>
                <a:gd name="connsiteY225" fmla="*/ 1117969 h 2005672"/>
                <a:gd name="connsiteX226" fmla="*/ 3741031 w 4011346"/>
                <a:gd name="connsiteY226" fmla="*/ 1144667 h 2005672"/>
                <a:gd name="connsiteX227" fmla="*/ 3751043 w 4011346"/>
                <a:gd name="connsiteY227" fmla="*/ 1117969 h 2005672"/>
                <a:gd name="connsiteX228" fmla="*/ 3727682 w 4011346"/>
                <a:gd name="connsiteY228" fmla="*/ 1051225 h 2005672"/>
                <a:gd name="connsiteX229" fmla="*/ 3700984 w 4011346"/>
                <a:gd name="connsiteY229" fmla="*/ 1034539 h 2005672"/>
                <a:gd name="connsiteX230" fmla="*/ 3697647 w 4011346"/>
                <a:gd name="connsiteY230" fmla="*/ 1004504 h 2005672"/>
                <a:gd name="connsiteX231" fmla="*/ 3751043 w 4011346"/>
                <a:gd name="connsiteY231" fmla="*/ 1011178 h 2005672"/>
                <a:gd name="connsiteX232" fmla="*/ 3774403 w 4011346"/>
                <a:gd name="connsiteY232" fmla="*/ 967794 h 2005672"/>
                <a:gd name="connsiteX233" fmla="*/ 3767729 w 4011346"/>
                <a:gd name="connsiteY233" fmla="*/ 941096 h 2005672"/>
                <a:gd name="connsiteX234" fmla="*/ 3794427 w 4011346"/>
                <a:gd name="connsiteY234" fmla="*/ 907724 h 2005672"/>
                <a:gd name="connsiteX235" fmla="*/ 3804438 w 4011346"/>
                <a:gd name="connsiteY235" fmla="*/ 951108 h 2005672"/>
                <a:gd name="connsiteX236" fmla="*/ 3827799 w 4011346"/>
                <a:gd name="connsiteY236" fmla="*/ 967794 h 2005672"/>
                <a:gd name="connsiteX237" fmla="*/ 3874520 w 4011346"/>
                <a:gd name="connsiteY237" fmla="*/ 987818 h 2005672"/>
                <a:gd name="connsiteX238" fmla="*/ 3894544 w 4011346"/>
                <a:gd name="connsiteY238" fmla="*/ 1014515 h 2005672"/>
                <a:gd name="connsiteX239" fmla="*/ 3941265 w 4011346"/>
                <a:gd name="connsiteY239" fmla="*/ 1037876 h 2005672"/>
                <a:gd name="connsiteX240" fmla="*/ 3947939 w 4011346"/>
                <a:gd name="connsiteY240" fmla="*/ 1024527 h 2005672"/>
                <a:gd name="connsiteX241" fmla="*/ 3957951 w 4011346"/>
                <a:gd name="connsiteY241" fmla="*/ 961120 h 2005672"/>
                <a:gd name="connsiteX242" fmla="*/ 4004672 w 4011346"/>
                <a:gd name="connsiteY242" fmla="*/ 954445 h 2005672"/>
                <a:gd name="connsiteX243" fmla="*/ 4011346 w 4011346"/>
                <a:gd name="connsiteY243" fmla="*/ 921073 h 2005672"/>
                <a:gd name="connsiteX244" fmla="*/ 3967963 w 4011346"/>
                <a:gd name="connsiteY244" fmla="*/ 884364 h 2005672"/>
                <a:gd name="connsiteX245" fmla="*/ 3921241 w 4011346"/>
                <a:gd name="connsiteY245" fmla="*/ 867677 h 2005672"/>
                <a:gd name="connsiteX246" fmla="*/ 3907892 w 4011346"/>
                <a:gd name="connsiteY246" fmla="*/ 871015 h 2005672"/>
                <a:gd name="connsiteX247" fmla="*/ 3907892 w 4011346"/>
                <a:gd name="connsiteY247" fmla="*/ 904387 h 2005672"/>
                <a:gd name="connsiteX248" fmla="*/ 3887869 w 4011346"/>
                <a:gd name="connsiteY248" fmla="*/ 897712 h 2005672"/>
                <a:gd name="connsiteX249" fmla="*/ 3874520 w 4011346"/>
                <a:gd name="connsiteY249" fmla="*/ 844317 h 2005672"/>
                <a:gd name="connsiteX250" fmla="*/ 3817787 w 4011346"/>
                <a:gd name="connsiteY250" fmla="*/ 780910 h 2005672"/>
                <a:gd name="connsiteX251" fmla="*/ 3717671 w 4011346"/>
                <a:gd name="connsiteY251" fmla="*/ 704153 h 2005672"/>
                <a:gd name="connsiteX252" fmla="*/ 3664275 w 4011346"/>
                <a:gd name="connsiteY252" fmla="*/ 684130 h 2005672"/>
                <a:gd name="connsiteX253" fmla="*/ 3584181 w 4011346"/>
                <a:gd name="connsiteY253" fmla="*/ 677456 h 2005672"/>
                <a:gd name="connsiteX254" fmla="*/ 3520774 w 4011346"/>
                <a:gd name="connsiteY254" fmla="*/ 660769 h 2005672"/>
                <a:gd name="connsiteX255" fmla="*/ 3530786 w 4011346"/>
                <a:gd name="connsiteY255" fmla="*/ 700816 h 2005672"/>
                <a:gd name="connsiteX256" fmla="*/ 3537460 w 4011346"/>
                <a:gd name="connsiteY256" fmla="*/ 727514 h 2005672"/>
                <a:gd name="connsiteX257" fmla="*/ 3507425 w 4011346"/>
                <a:gd name="connsiteY257" fmla="*/ 750874 h 2005672"/>
                <a:gd name="connsiteX258" fmla="*/ 3477390 w 4011346"/>
                <a:gd name="connsiteY258" fmla="*/ 724177 h 2005672"/>
                <a:gd name="connsiteX259" fmla="*/ 3477390 w 4011346"/>
                <a:gd name="connsiteY259" fmla="*/ 704153 h 2005672"/>
                <a:gd name="connsiteX260" fmla="*/ 3504088 w 4011346"/>
                <a:gd name="connsiteY260" fmla="*/ 684130 h 2005672"/>
                <a:gd name="connsiteX261" fmla="*/ 3467379 w 4011346"/>
                <a:gd name="connsiteY261" fmla="*/ 670781 h 2005672"/>
                <a:gd name="connsiteX262" fmla="*/ 3450692 w 4011346"/>
                <a:gd name="connsiteY262" fmla="*/ 697479 h 2005672"/>
                <a:gd name="connsiteX263" fmla="*/ 3440681 w 4011346"/>
                <a:gd name="connsiteY263" fmla="*/ 710828 h 2005672"/>
                <a:gd name="connsiteX264" fmla="*/ 3357250 w 4011346"/>
                <a:gd name="connsiteY264" fmla="*/ 697479 h 2005672"/>
                <a:gd name="connsiteX265" fmla="*/ 3297180 w 4011346"/>
                <a:gd name="connsiteY265" fmla="*/ 704153 h 2005672"/>
                <a:gd name="connsiteX266" fmla="*/ 3267145 w 4011346"/>
                <a:gd name="connsiteY266" fmla="*/ 680793 h 2005672"/>
                <a:gd name="connsiteX267" fmla="*/ 3267145 w 4011346"/>
                <a:gd name="connsiteY267" fmla="*/ 644083 h 2005672"/>
                <a:gd name="connsiteX268" fmla="*/ 3203738 w 4011346"/>
                <a:gd name="connsiteY268" fmla="*/ 587350 h 2005672"/>
                <a:gd name="connsiteX269" fmla="*/ 3076923 w 4011346"/>
                <a:gd name="connsiteY269" fmla="*/ 594025 h 2005672"/>
                <a:gd name="connsiteX270" fmla="*/ 3043551 w 4011346"/>
                <a:gd name="connsiteY270" fmla="*/ 570664 h 2005672"/>
                <a:gd name="connsiteX271" fmla="*/ 3000167 w 4011346"/>
                <a:gd name="connsiteY271" fmla="*/ 523943 h 2005672"/>
                <a:gd name="connsiteX272" fmla="*/ 3013516 w 4011346"/>
                <a:gd name="connsiteY272" fmla="*/ 517269 h 2005672"/>
                <a:gd name="connsiteX273" fmla="*/ 3000167 w 4011346"/>
                <a:gd name="connsiteY273" fmla="*/ 497245 h 2005672"/>
                <a:gd name="connsiteX274" fmla="*/ 2970132 w 4011346"/>
                <a:gd name="connsiteY274" fmla="*/ 493908 h 2005672"/>
                <a:gd name="connsiteX275" fmla="*/ 2920073 w 4011346"/>
                <a:gd name="connsiteY275" fmla="*/ 540629 h 2005672"/>
                <a:gd name="connsiteX276" fmla="*/ 2920073 w 4011346"/>
                <a:gd name="connsiteY276" fmla="*/ 540629 h 2005672"/>
                <a:gd name="connsiteX277" fmla="*/ 2916736 w 4011346"/>
                <a:gd name="connsiteY277" fmla="*/ 490571 h 2005672"/>
                <a:gd name="connsiteX278" fmla="*/ 2936760 w 4011346"/>
                <a:gd name="connsiteY278" fmla="*/ 487234 h 2005672"/>
                <a:gd name="connsiteX279" fmla="*/ 2866678 w 4011346"/>
                <a:gd name="connsiteY279" fmla="*/ 457199 h 2005672"/>
                <a:gd name="connsiteX280" fmla="*/ 2813282 w 4011346"/>
                <a:gd name="connsiteY280" fmla="*/ 453861 h 2005672"/>
                <a:gd name="connsiteX281" fmla="*/ 2793259 w 4011346"/>
                <a:gd name="connsiteY281" fmla="*/ 477222 h 2005672"/>
                <a:gd name="connsiteX282" fmla="*/ 2743200 w 4011346"/>
                <a:gd name="connsiteY282" fmla="*/ 487234 h 2005672"/>
                <a:gd name="connsiteX283" fmla="*/ 2786584 w 4011346"/>
                <a:gd name="connsiteY283" fmla="*/ 497245 h 2005672"/>
                <a:gd name="connsiteX284" fmla="*/ 2763224 w 4011346"/>
                <a:gd name="connsiteY284" fmla="*/ 517269 h 2005672"/>
                <a:gd name="connsiteX285" fmla="*/ 2769898 w 4011346"/>
                <a:gd name="connsiteY285" fmla="*/ 567327 h 2005672"/>
                <a:gd name="connsiteX286" fmla="*/ 2749875 w 4011346"/>
                <a:gd name="connsiteY286" fmla="*/ 550641 h 2005672"/>
                <a:gd name="connsiteX287" fmla="*/ 2733189 w 4011346"/>
                <a:gd name="connsiteY287" fmla="*/ 563990 h 2005672"/>
                <a:gd name="connsiteX288" fmla="*/ 2666444 w 4011346"/>
                <a:gd name="connsiteY288" fmla="*/ 553978 h 2005672"/>
                <a:gd name="connsiteX289" fmla="*/ 2636409 w 4011346"/>
                <a:gd name="connsiteY289" fmla="*/ 563990 h 2005672"/>
                <a:gd name="connsiteX290" fmla="*/ 2603037 w 4011346"/>
                <a:gd name="connsiteY290" fmla="*/ 523943 h 2005672"/>
                <a:gd name="connsiteX291" fmla="*/ 2569665 w 4011346"/>
                <a:gd name="connsiteY291" fmla="*/ 607374 h 2005672"/>
                <a:gd name="connsiteX292" fmla="*/ 2552979 w 4011346"/>
                <a:gd name="connsiteY292" fmla="*/ 627397 h 2005672"/>
                <a:gd name="connsiteX293" fmla="*/ 2469548 w 4011346"/>
                <a:gd name="connsiteY293" fmla="*/ 490571 h 2005672"/>
                <a:gd name="connsiteX294" fmla="*/ 2446187 w 4011346"/>
                <a:gd name="connsiteY294" fmla="*/ 507257 h 2005672"/>
                <a:gd name="connsiteX295" fmla="*/ 2442850 w 4011346"/>
                <a:gd name="connsiteY295" fmla="*/ 473885 h 2005672"/>
                <a:gd name="connsiteX296" fmla="*/ 2449525 w 4011346"/>
                <a:gd name="connsiteY296" fmla="*/ 403803 h 2005672"/>
                <a:gd name="connsiteX297" fmla="*/ 2386117 w 4011346"/>
                <a:gd name="connsiteY297" fmla="*/ 377105 h 2005672"/>
                <a:gd name="connsiteX298" fmla="*/ 2369431 w 4011346"/>
                <a:gd name="connsiteY298" fmla="*/ 417152 h 2005672"/>
                <a:gd name="connsiteX299" fmla="*/ 2379443 w 4011346"/>
                <a:gd name="connsiteY299" fmla="*/ 440512 h 2005672"/>
                <a:gd name="connsiteX300" fmla="*/ 2376106 w 4011346"/>
                <a:gd name="connsiteY300" fmla="*/ 460536 h 2005672"/>
                <a:gd name="connsiteX301" fmla="*/ 2352745 w 4011346"/>
                <a:gd name="connsiteY301" fmla="*/ 437175 h 2005672"/>
                <a:gd name="connsiteX302" fmla="*/ 2316036 w 4011346"/>
                <a:gd name="connsiteY302" fmla="*/ 443850 h 2005672"/>
                <a:gd name="connsiteX303" fmla="*/ 2272652 w 4011346"/>
                <a:gd name="connsiteY303" fmla="*/ 430501 h 2005672"/>
                <a:gd name="connsiteX304" fmla="*/ 2245954 w 4011346"/>
                <a:gd name="connsiteY304" fmla="*/ 390454 h 2005672"/>
                <a:gd name="connsiteX305" fmla="*/ 2209244 w 4011346"/>
                <a:gd name="connsiteY305" fmla="*/ 387117 h 2005672"/>
                <a:gd name="connsiteX306" fmla="*/ 2159186 w 4011346"/>
                <a:gd name="connsiteY306" fmla="*/ 377105 h 2005672"/>
                <a:gd name="connsiteX307" fmla="*/ 2132488 w 4011346"/>
                <a:gd name="connsiteY307" fmla="*/ 393791 h 2005672"/>
                <a:gd name="connsiteX308" fmla="*/ 2115802 w 4011346"/>
                <a:gd name="connsiteY308" fmla="*/ 407140 h 2005672"/>
                <a:gd name="connsiteX309" fmla="*/ 2115802 w 4011346"/>
                <a:gd name="connsiteY309" fmla="*/ 377105 h 2005672"/>
                <a:gd name="connsiteX310" fmla="*/ 2082430 w 4011346"/>
                <a:gd name="connsiteY310" fmla="*/ 373768 h 2005672"/>
                <a:gd name="connsiteX311" fmla="*/ 2045720 w 4011346"/>
                <a:gd name="connsiteY311" fmla="*/ 347070 h 2005672"/>
                <a:gd name="connsiteX312" fmla="*/ 2025697 w 4011346"/>
                <a:gd name="connsiteY312" fmla="*/ 377105 h 2005672"/>
                <a:gd name="connsiteX313" fmla="*/ 2055732 w 4011346"/>
                <a:gd name="connsiteY313" fmla="*/ 373768 h 2005672"/>
                <a:gd name="connsiteX314" fmla="*/ 2045720 w 4011346"/>
                <a:gd name="connsiteY314" fmla="*/ 400466 h 2005672"/>
                <a:gd name="connsiteX315" fmla="*/ 1988987 w 4011346"/>
                <a:gd name="connsiteY315" fmla="*/ 420489 h 2005672"/>
                <a:gd name="connsiteX316" fmla="*/ 1935592 w 4011346"/>
                <a:gd name="connsiteY316" fmla="*/ 430501 h 2005672"/>
                <a:gd name="connsiteX317" fmla="*/ 1995662 w 4011346"/>
                <a:gd name="connsiteY317" fmla="*/ 373768 h 2005672"/>
                <a:gd name="connsiteX318" fmla="*/ 2055732 w 4011346"/>
                <a:gd name="connsiteY318" fmla="*/ 303686 h 2005672"/>
                <a:gd name="connsiteX319" fmla="*/ 2055732 w 4011346"/>
                <a:gd name="connsiteY319" fmla="*/ 303686 h 2005672"/>
                <a:gd name="connsiteX320" fmla="*/ 1888870 w 4011346"/>
                <a:gd name="connsiteY320" fmla="*/ 0 h 2005672"/>
                <a:gd name="connsiteX321" fmla="*/ 1835474 w 4011346"/>
                <a:gd name="connsiteY321" fmla="*/ 26698 h 2005672"/>
                <a:gd name="connsiteX322" fmla="*/ 1838813 w 4011346"/>
                <a:gd name="connsiteY322" fmla="*/ 120139 h 2005672"/>
                <a:gd name="connsiteX323" fmla="*/ 1782079 w 4011346"/>
                <a:gd name="connsiteY323" fmla="*/ 106790 h 2005672"/>
                <a:gd name="connsiteX324" fmla="*/ 1768731 w 4011346"/>
                <a:gd name="connsiteY324" fmla="*/ 153512 h 2005672"/>
                <a:gd name="connsiteX325" fmla="*/ 1705322 w 4011346"/>
                <a:gd name="connsiteY325" fmla="*/ 176872 h 2005672"/>
                <a:gd name="connsiteX326" fmla="*/ 1685300 w 4011346"/>
                <a:gd name="connsiteY326" fmla="*/ 150174 h 2005672"/>
                <a:gd name="connsiteX327" fmla="*/ 1615218 w 4011346"/>
                <a:gd name="connsiteY327" fmla="*/ 153512 h 2005672"/>
                <a:gd name="connsiteX328" fmla="*/ 1638579 w 4011346"/>
                <a:gd name="connsiteY328" fmla="*/ 183547 h 2005672"/>
                <a:gd name="connsiteX329" fmla="*/ 1528449 w 4011346"/>
                <a:gd name="connsiteY329" fmla="*/ 210243 h 2005672"/>
                <a:gd name="connsiteX330" fmla="*/ 1465043 w 4011346"/>
                <a:gd name="connsiteY330" fmla="*/ 293674 h 2005672"/>
                <a:gd name="connsiteX331" fmla="*/ 1448357 w 4011346"/>
                <a:gd name="connsiteY331" fmla="*/ 320372 h 2005672"/>
                <a:gd name="connsiteX332" fmla="*/ 1481729 w 4011346"/>
                <a:gd name="connsiteY332" fmla="*/ 353745 h 2005672"/>
                <a:gd name="connsiteX333" fmla="*/ 1481729 w 4011346"/>
                <a:gd name="connsiteY333" fmla="*/ 383780 h 2005672"/>
                <a:gd name="connsiteX334" fmla="*/ 1458368 w 4011346"/>
                <a:gd name="connsiteY334" fmla="*/ 387117 h 2005672"/>
                <a:gd name="connsiteX335" fmla="*/ 1458368 w 4011346"/>
                <a:gd name="connsiteY335" fmla="*/ 367093 h 2005672"/>
                <a:gd name="connsiteX336" fmla="*/ 1418322 w 4011346"/>
                <a:gd name="connsiteY336" fmla="*/ 377105 h 2005672"/>
                <a:gd name="connsiteX337" fmla="*/ 1368263 w 4011346"/>
                <a:gd name="connsiteY337" fmla="*/ 383780 h 2005672"/>
                <a:gd name="connsiteX338" fmla="*/ 1321542 w 4011346"/>
                <a:gd name="connsiteY338" fmla="*/ 390454 h 2005672"/>
                <a:gd name="connsiteX339" fmla="*/ 1318205 w 4011346"/>
                <a:gd name="connsiteY339" fmla="*/ 477222 h 2005672"/>
                <a:gd name="connsiteX340" fmla="*/ 1358252 w 4011346"/>
                <a:gd name="connsiteY340" fmla="*/ 500583 h 2005672"/>
                <a:gd name="connsiteX341" fmla="*/ 1374938 w 4011346"/>
                <a:gd name="connsiteY341" fmla="*/ 530618 h 2005672"/>
                <a:gd name="connsiteX342" fmla="*/ 1384949 w 4011346"/>
                <a:gd name="connsiteY342" fmla="*/ 553978 h 2005672"/>
                <a:gd name="connsiteX343" fmla="*/ 1394961 w 4011346"/>
                <a:gd name="connsiteY343" fmla="*/ 604037 h 2005672"/>
                <a:gd name="connsiteX344" fmla="*/ 1384949 w 4011346"/>
                <a:gd name="connsiteY344" fmla="*/ 634072 h 2005672"/>
                <a:gd name="connsiteX345" fmla="*/ 1358252 w 4011346"/>
                <a:gd name="connsiteY345" fmla="*/ 600699 h 2005672"/>
                <a:gd name="connsiteX346" fmla="*/ 1361589 w 4011346"/>
                <a:gd name="connsiteY346" fmla="*/ 570664 h 2005672"/>
                <a:gd name="connsiteX347" fmla="*/ 1351577 w 4011346"/>
                <a:gd name="connsiteY347" fmla="*/ 530618 h 2005672"/>
                <a:gd name="connsiteX348" fmla="*/ 1328217 w 4011346"/>
                <a:gd name="connsiteY348" fmla="*/ 537292 h 2005672"/>
                <a:gd name="connsiteX349" fmla="*/ 1281495 w 4011346"/>
                <a:gd name="connsiteY349" fmla="*/ 500583 h 2005672"/>
                <a:gd name="connsiteX350" fmla="*/ 1241449 w 4011346"/>
                <a:gd name="connsiteY350" fmla="*/ 497245 h 2005672"/>
                <a:gd name="connsiteX351" fmla="*/ 1241449 w 4011346"/>
                <a:gd name="connsiteY351" fmla="*/ 543966 h 2005672"/>
                <a:gd name="connsiteX352" fmla="*/ 1201402 w 4011346"/>
                <a:gd name="connsiteY352" fmla="*/ 523943 h 2005672"/>
                <a:gd name="connsiteX353" fmla="*/ 1228100 w 4011346"/>
                <a:gd name="connsiteY353" fmla="*/ 574001 h 2005672"/>
                <a:gd name="connsiteX354" fmla="*/ 1258135 w 4011346"/>
                <a:gd name="connsiteY354" fmla="*/ 584013 h 2005672"/>
                <a:gd name="connsiteX355" fmla="*/ 1258135 w 4011346"/>
                <a:gd name="connsiteY355" fmla="*/ 604037 h 2005672"/>
                <a:gd name="connsiteX356" fmla="*/ 1198065 w 4011346"/>
                <a:gd name="connsiteY356" fmla="*/ 580676 h 2005672"/>
                <a:gd name="connsiteX357" fmla="*/ 1181379 w 4011346"/>
                <a:gd name="connsiteY357" fmla="*/ 580676 h 2005672"/>
                <a:gd name="connsiteX358" fmla="*/ 1178041 w 4011346"/>
                <a:gd name="connsiteY358" fmla="*/ 537292 h 2005672"/>
                <a:gd name="connsiteX359" fmla="*/ 1171367 w 4011346"/>
                <a:gd name="connsiteY359" fmla="*/ 450524 h 2005672"/>
                <a:gd name="connsiteX360" fmla="*/ 1161355 w 4011346"/>
                <a:gd name="connsiteY360" fmla="*/ 520606 h 2005672"/>
                <a:gd name="connsiteX361" fmla="*/ 1137995 w 4011346"/>
                <a:gd name="connsiteY361" fmla="*/ 550641 h 2005672"/>
                <a:gd name="connsiteX362" fmla="*/ 1158018 w 4011346"/>
                <a:gd name="connsiteY362" fmla="*/ 597362 h 2005672"/>
                <a:gd name="connsiteX363" fmla="*/ 1158018 w 4011346"/>
                <a:gd name="connsiteY363" fmla="*/ 630734 h 2005672"/>
                <a:gd name="connsiteX364" fmla="*/ 1141332 w 4011346"/>
                <a:gd name="connsiteY364" fmla="*/ 680793 h 2005672"/>
                <a:gd name="connsiteX365" fmla="*/ 1154681 w 4011346"/>
                <a:gd name="connsiteY365" fmla="*/ 714165 h 2005672"/>
                <a:gd name="connsiteX366" fmla="*/ 1184716 w 4011346"/>
                <a:gd name="connsiteY366" fmla="*/ 720839 h 2005672"/>
                <a:gd name="connsiteX367" fmla="*/ 1221425 w 4011346"/>
                <a:gd name="connsiteY367" fmla="*/ 727514 h 2005672"/>
                <a:gd name="connsiteX368" fmla="*/ 1241449 w 4011346"/>
                <a:gd name="connsiteY368" fmla="*/ 750874 h 2005672"/>
                <a:gd name="connsiteX369" fmla="*/ 1258135 w 4011346"/>
                <a:gd name="connsiteY369" fmla="*/ 794258 h 2005672"/>
                <a:gd name="connsiteX370" fmla="*/ 1258135 w 4011346"/>
                <a:gd name="connsiteY370" fmla="*/ 794258 h 2005672"/>
                <a:gd name="connsiteX371" fmla="*/ 1254798 w 4011346"/>
                <a:gd name="connsiteY371" fmla="*/ 827631 h 2005672"/>
                <a:gd name="connsiteX372" fmla="*/ 1274821 w 4011346"/>
                <a:gd name="connsiteY372" fmla="*/ 847654 h 2005672"/>
                <a:gd name="connsiteX373" fmla="*/ 1244786 w 4011346"/>
                <a:gd name="connsiteY373" fmla="*/ 854329 h 2005672"/>
                <a:gd name="connsiteX374" fmla="*/ 1224763 w 4011346"/>
                <a:gd name="connsiteY374" fmla="*/ 814282 h 2005672"/>
                <a:gd name="connsiteX375" fmla="*/ 1224763 w 4011346"/>
                <a:gd name="connsiteY375" fmla="*/ 774235 h 2005672"/>
                <a:gd name="connsiteX376" fmla="*/ 1194727 w 4011346"/>
                <a:gd name="connsiteY376" fmla="*/ 737526 h 2005672"/>
                <a:gd name="connsiteX377" fmla="*/ 1164692 w 4011346"/>
                <a:gd name="connsiteY377" fmla="*/ 780910 h 2005672"/>
                <a:gd name="connsiteX378" fmla="*/ 1178041 w 4011346"/>
                <a:gd name="connsiteY378" fmla="*/ 824293 h 2005672"/>
                <a:gd name="connsiteX379" fmla="*/ 1137995 w 4011346"/>
                <a:gd name="connsiteY379" fmla="*/ 881026 h 2005672"/>
                <a:gd name="connsiteX380" fmla="*/ 1097948 w 4011346"/>
                <a:gd name="connsiteY380" fmla="*/ 937759 h 2005672"/>
                <a:gd name="connsiteX381" fmla="*/ 1007843 w 4011346"/>
                <a:gd name="connsiteY381" fmla="*/ 901050 h 2005672"/>
                <a:gd name="connsiteX382" fmla="*/ 1074587 w 4011346"/>
                <a:gd name="connsiteY382" fmla="*/ 897712 h 2005672"/>
                <a:gd name="connsiteX383" fmla="*/ 1107960 w 4011346"/>
                <a:gd name="connsiteY383" fmla="*/ 834305 h 2005672"/>
                <a:gd name="connsiteX384" fmla="*/ 1121309 w 4011346"/>
                <a:gd name="connsiteY384" fmla="*/ 790921 h 2005672"/>
                <a:gd name="connsiteX385" fmla="*/ 1127983 w 4011346"/>
                <a:gd name="connsiteY385" fmla="*/ 757549 h 2005672"/>
                <a:gd name="connsiteX386" fmla="*/ 1117971 w 4011346"/>
                <a:gd name="connsiteY386" fmla="*/ 740863 h 2005672"/>
                <a:gd name="connsiteX387" fmla="*/ 1114634 w 4011346"/>
                <a:gd name="connsiteY387" fmla="*/ 690804 h 2005672"/>
                <a:gd name="connsiteX388" fmla="*/ 1104622 w 4011346"/>
                <a:gd name="connsiteY388" fmla="*/ 610711 h 2005672"/>
                <a:gd name="connsiteX389" fmla="*/ 1101285 w 4011346"/>
                <a:gd name="connsiteY389" fmla="*/ 550641 h 2005672"/>
                <a:gd name="connsiteX390" fmla="*/ 1124646 w 4011346"/>
                <a:gd name="connsiteY390" fmla="*/ 457199 h 2005672"/>
                <a:gd name="connsiteX391" fmla="*/ 1031203 w 4011346"/>
                <a:gd name="connsiteY391" fmla="*/ 447187 h 2005672"/>
                <a:gd name="connsiteX392" fmla="*/ 1014517 w 4011346"/>
                <a:gd name="connsiteY392" fmla="*/ 503920 h 2005672"/>
                <a:gd name="connsiteX393" fmla="*/ 1024529 w 4011346"/>
                <a:gd name="connsiteY393" fmla="*/ 550641 h 2005672"/>
                <a:gd name="connsiteX394" fmla="*/ 981145 w 4011346"/>
                <a:gd name="connsiteY394" fmla="*/ 604037 h 2005672"/>
                <a:gd name="connsiteX395" fmla="*/ 991157 w 4011346"/>
                <a:gd name="connsiteY395" fmla="*/ 640746 h 2005672"/>
                <a:gd name="connsiteX396" fmla="*/ 981145 w 4011346"/>
                <a:gd name="connsiteY396" fmla="*/ 687467 h 2005672"/>
                <a:gd name="connsiteX397" fmla="*/ 1001168 w 4011346"/>
                <a:gd name="connsiteY397" fmla="*/ 710828 h 2005672"/>
                <a:gd name="connsiteX398" fmla="*/ 1017854 w 4011346"/>
                <a:gd name="connsiteY398" fmla="*/ 757549 h 2005672"/>
                <a:gd name="connsiteX399" fmla="*/ 1047890 w 4011346"/>
                <a:gd name="connsiteY399" fmla="*/ 744200 h 2005672"/>
                <a:gd name="connsiteX400" fmla="*/ 1014517 w 4011346"/>
                <a:gd name="connsiteY400" fmla="*/ 797596 h 2005672"/>
                <a:gd name="connsiteX401" fmla="*/ 957784 w 4011346"/>
                <a:gd name="connsiteY401" fmla="*/ 744200 h 2005672"/>
                <a:gd name="connsiteX402" fmla="*/ 884365 w 4011346"/>
                <a:gd name="connsiteY402" fmla="*/ 707491 h 2005672"/>
                <a:gd name="connsiteX403" fmla="*/ 824295 w 4011346"/>
                <a:gd name="connsiteY403" fmla="*/ 684130 h 2005672"/>
                <a:gd name="connsiteX404" fmla="*/ 810946 w 4011346"/>
                <a:gd name="connsiteY404" fmla="*/ 720839 h 2005672"/>
                <a:gd name="connsiteX405" fmla="*/ 827633 w 4011346"/>
                <a:gd name="connsiteY405" fmla="*/ 757549 h 2005672"/>
                <a:gd name="connsiteX406" fmla="*/ 814284 w 4011346"/>
                <a:gd name="connsiteY406" fmla="*/ 780910 h 2005672"/>
                <a:gd name="connsiteX407" fmla="*/ 800935 w 4011346"/>
                <a:gd name="connsiteY407" fmla="*/ 797596 h 2005672"/>
                <a:gd name="connsiteX408" fmla="*/ 770900 w 4011346"/>
                <a:gd name="connsiteY408" fmla="*/ 740863 h 2005672"/>
                <a:gd name="connsiteX409" fmla="*/ 744202 w 4011346"/>
                <a:gd name="connsiteY409" fmla="*/ 777572 h 2005672"/>
                <a:gd name="connsiteX410" fmla="*/ 707492 w 4011346"/>
                <a:gd name="connsiteY410" fmla="*/ 770898 h 2005672"/>
                <a:gd name="connsiteX411" fmla="*/ 654097 w 4011346"/>
                <a:gd name="connsiteY411" fmla="*/ 807607 h 2005672"/>
                <a:gd name="connsiteX412" fmla="*/ 644085 w 4011346"/>
                <a:gd name="connsiteY412" fmla="*/ 784247 h 2005672"/>
                <a:gd name="connsiteX413" fmla="*/ 654097 w 4011346"/>
                <a:gd name="connsiteY413" fmla="*/ 747537 h 2005672"/>
                <a:gd name="connsiteX414" fmla="*/ 614050 w 4011346"/>
                <a:gd name="connsiteY414" fmla="*/ 784247 h 2005672"/>
                <a:gd name="connsiteX415" fmla="*/ 594027 w 4011346"/>
                <a:gd name="connsiteY415" fmla="*/ 784247 h 2005672"/>
                <a:gd name="connsiteX416" fmla="*/ 533957 w 4011346"/>
                <a:gd name="connsiteY416" fmla="*/ 817619 h 2005672"/>
                <a:gd name="connsiteX417" fmla="*/ 510596 w 4011346"/>
                <a:gd name="connsiteY417" fmla="*/ 840980 h 2005672"/>
                <a:gd name="connsiteX418" fmla="*/ 500584 w 4011346"/>
                <a:gd name="connsiteY418" fmla="*/ 887701 h 2005672"/>
                <a:gd name="connsiteX419" fmla="*/ 450526 w 4011346"/>
                <a:gd name="connsiteY419" fmla="*/ 874352 h 2005672"/>
                <a:gd name="connsiteX420" fmla="*/ 433840 w 4011346"/>
                <a:gd name="connsiteY420" fmla="*/ 837642 h 2005672"/>
                <a:gd name="connsiteX421" fmla="*/ 467212 w 4011346"/>
                <a:gd name="connsiteY421" fmla="*/ 807607 h 2005672"/>
                <a:gd name="connsiteX422" fmla="*/ 453863 w 4011346"/>
                <a:gd name="connsiteY422" fmla="*/ 784247 h 2005672"/>
                <a:gd name="connsiteX423" fmla="*/ 390456 w 4011346"/>
                <a:gd name="connsiteY423" fmla="*/ 754212 h 2005672"/>
                <a:gd name="connsiteX424" fmla="*/ 417154 w 4011346"/>
                <a:gd name="connsiteY424" fmla="*/ 804270 h 2005672"/>
                <a:gd name="connsiteX425" fmla="*/ 407142 w 4011346"/>
                <a:gd name="connsiteY425" fmla="*/ 847654 h 2005672"/>
                <a:gd name="connsiteX426" fmla="*/ 413817 w 4011346"/>
                <a:gd name="connsiteY426" fmla="*/ 884364 h 2005672"/>
                <a:gd name="connsiteX427" fmla="*/ 427165 w 4011346"/>
                <a:gd name="connsiteY427" fmla="*/ 907724 h 2005672"/>
                <a:gd name="connsiteX428" fmla="*/ 413817 w 4011346"/>
                <a:gd name="connsiteY428" fmla="*/ 937759 h 2005672"/>
                <a:gd name="connsiteX429" fmla="*/ 390456 w 4011346"/>
                <a:gd name="connsiteY429" fmla="*/ 914399 h 2005672"/>
                <a:gd name="connsiteX430" fmla="*/ 360421 w 4011346"/>
                <a:gd name="connsiteY430" fmla="*/ 911061 h 2005672"/>
                <a:gd name="connsiteX431" fmla="*/ 333723 w 4011346"/>
                <a:gd name="connsiteY431" fmla="*/ 951108 h 2005672"/>
                <a:gd name="connsiteX432" fmla="*/ 307025 w 4011346"/>
                <a:gd name="connsiteY432" fmla="*/ 971131 h 2005672"/>
                <a:gd name="connsiteX433" fmla="*/ 320374 w 4011346"/>
                <a:gd name="connsiteY433" fmla="*/ 997829 h 2005672"/>
                <a:gd name="connsiteX434" fmla="*/ 303688 w 4011346"/>
                <a:gd name="connsiteY434" fmla="*/ 1021190 h 2005672"/>
                <a:gd name="connsiteX435" fmla="*/ 233606 w 4011346"/>
                <a:gd name="connsiteY435" fmla="*/ 984480 h 2005672"/>
                <a:gd name="connsiteX436" fmla="*/ 243618 w 4011346"/>
                <a:gd name="connsiteY436" fmla="*/ 1034539 h 2005672"/>
                <a:gd name="connsiteX437" fmla="*/ 263641 w 4011346"/>
                <a:gd name="connsiteY437" fmla="*/ 1054562 h 2005672"/>
                <a:gd name="connsiteX438" fmla="*/ 250292 w 4011346"/>
                <a:gd name="connsiteY438" fmla="*/ 1067911 h 2005672"/>
                <a:gd name="connsiteX439" fmla="*/ 193560 w 4011346"/>
                <a:gd name="connsiteY439" fmla="*/ 1031201 h 2005672"/>
                <a:gd name="connsiteX440" fmla="*/ 170199 w 4011346"/>
                <a:gd name="connsiteY440" fmla="*/ 991155 h 2005672"/>
                <a:gd name="connsiteX441" fmla="*/ 170199 w 4011346"/>
                <a:gd name="connsiteY441" fmla="*/ 944434 h 2005672"/>
                <a:gd name="connsiteX442" fmla="*/ 133490 w 4011346"/>
                <a:gd name="connsiteY442" fmla="*/ 867677 h 2005672"/>
                <a:gd name="connsiteX443" fmla="*/ 196897 w 4011346"/>
                <a:gd name="connsiteY443" fmla="*/ 897712 h 2005672"/>
                <a:gd name="connsiteX444" fmla="*/ 256967 w 4011346"/>
                <a:gd name="connsiteY444" fmla="*/ 927747 h 2005672"/>
                <a:gd name="connsiteX445" fmla="*/ 293676 w 4011346"/>
                <a:gd name="connsiteY445" fmla="*/ 931085 h 2005672"/>
                <a:gd name="connsiteX446" fmla="*/ 327049 w 4011346"/>
                <a:gd name="connsiteY446" fmla="*/ 901050 h 2005672"/>
                <a:gd name="connsiteX447" fmla="*/ 343735 w 4011346"/>
                <a:gd name="connsiteY447" fmla="*/ 864340 h 2005672"/>
                <a:gd name="connsiteX448" fmla="*/ 333723 w 4011346"/>
                <a:gd name="connsiteY448" fmla="*/ 814282 h 2005672"/>
                <a:gd name="connsiteX449" fmla="*/ 290339 w 4011346"/>
                <a:gd name="connsiteY449" fmla="*/ 794258 h 2005672"/>
                <a:gd name="connsiteX450" fmla="*/ 236944 w 4011346"/>
                <a:gd name="connsiteY450" fmla="*/ 747537 h 2005672"/>
                <a:gd name="connsiteX451" fmla="*/ 133490 w 4011346"/>
                <a:gd name="connsiteY451" fmla="*/ 690804 h 2005672"/>
                <a:gd name="connsiteX0" fmla="*/ 133490 w 4011346"/>
                <a:gd name="connsiteY0" fmla="*/ 690804 h 2005672"/>
                <a:gd name="connsiteX1" fmla="*/ 46722 w 4011346"/>
                <a:gd name="connsiteY1" fmla="*/ 720839 h 2005672"/>
                <a:gd name="connsiteX2" fmla="*/ 33373 w 4011346"/>
                <a:gd name="connsiteY2" fmla="*/ 750874 h 2005672"/>
                <a:gd name="connsiteX3" fmla="*/ 43384 w 4011346"/>
                <a:gd name="connsiteY3" fmla="*/ 780910 h 2005672"/>
                <a:gd name="connsiteX4" fmla="*/ 60071 w 4011346"/>
                <a:gd name="connsiteY4" fmla="*/ 807607 h 2005672"/>
                <a:gd name="connsiteX5" fmla="*/ 73419 w 4011346"/>
                <a:gd name="connsiteY5" fmla="*/ 837642 h 2005672"/>
                <a:gd name="connsiteX6" fmla="*/ 56733 w 4011346"/>
                <a:gd name="connsiteY6" fmla="*/ 861003 h 2005672"/>
                <a:gd name="connsiteX7" fmla="*/ 76757 w 4011346"/>
                <a:gd name="connsiteY7" fmla="*/ 941096 h 2005672"/>
                <a:gd name="connsiteX8" fmla="*/ 66745 w 4011346"/>
                <a:gd name="connsiteY8" fmla="*/ 957783 h 2005672"/>
                <a:gd name="connsiteX9" fmla="*/ 70082 w 4011346"/>
                <a:gd name="connsiteY9" fmla="*/ 984480 h 2005672"/>
                <a:gd name="connsiteX10" fmla="*/ 70082 w 4011346"/>
                <a:gd name="connsiteY10" fmla="*/ 1024527 h 2005672"/>
                <a:gd name="connsiteX11" fmla="*/ 80094 w 4011346"/>
                <a:gd name="connsiteY11" fmla="*/ 1044550 h 2005672"/>
                <a:gd name="connsiteX12" fmla="*/ 76757 w 4011346"/>
                <a:gd name="connsiteY12" fmla="*/ 1067911 h 2005672"/>
                <a:gd name="connsiteX13" fmla="*/ 106792 w 4011346"/>
                <a:gd name="connsiteY13" fmla="*/ 1101283 h 2005672"/>
                <a:gd name="connsiteX14" fmla="*/ 106792 w 4011346"/>
                <a:gd name="connsiteY14" fmla="*/ 1131318 h 2005672"/>
                <a:gd name="connsiteX15" fmla="*/ 13349 w 4011346"/>
                <a:gd name="connsiteY15" fmla="*/ 1221423 h 2005672"/>
                <a:gd name="connsiteX16" fmla="*/ 33373 w 4011346"/>
                <a:gd name="connsiteY16" fmla="*/ 1254796 h 2005672"/>
                <a:gd name="connsiteX17" fmla="*/ 33373 w 4011346"/>
                <a:gd name="connsiteY17" fmla="*/ 1254796 h 2005672"/>
                <a:gd name="connsiteX18" fmla="*/ 16687 w 4011346"/>
                <a:gd name="connsiteY18" fmla="*/ 1284831 h 2005672"/>
                <a:gd name="connsiteX19" fmla="*/ 3338 w 4011346"/>
                <a:gd name="connsiteY19" fmla="*/ 1314866 h 2005672"/>
                <a:gd name="connsiteX20" fmla="*/ 0 w 4011346"/>
                <a:gd name="connsiteY20" fmla="*/ 1374936 h 2005672"/>
                <a:gd name="connsiteX21" fmla="*/ 16687 w 4011346"/>
                <a:gd name="connsiteY21" fmla="*/ 1418320 h 2005672"/>
                <a:gd name="connsiteX22" fmla="*/ 20024 w 4011346"/>
                <a:gd name="connsiteY22" fmla="*/ 1451692 h 2005672"/>
                <a:gd name="connsiteX23" fmla="*/ 56733 w 4011346"/>
                <a:gd name="connsiteY23" fmla="*/ 1461704 h 2005672"/>
                <a:gd name="connsiteX24" fmla="*/ 116803 w 4011346"/>
                <a:gd name="connsiteY24" fmla="*/ 1548472 h 2005672"/>
                <a:gd name="connsiteX25" fmla="*/ 96780 w 4011346"/>
                <a:gd name="connsiteY25" fmla="*/ 1571832 h 2005672"/>
                <a:gd name="connsiteX26" fmla="*/ 93443 w 4011346"/>
                <a:gd name="connsiteY26" fmla="*/ 1601867 h 2005672"/>
                <a:gd name="connsiteX27" fmla="*/ 120141 w 4011346"/>
                <a:gd name="connsiteY27" fmla="*/ 1605204 h 2005672"/>
                <a:gd name="connsiteX28" fmla="*/ 160187 w 4011346"/>
                <a:gd name="connsiteY28" fmla="*/ 1618553 h 2005672"/>
                <a:gd name="connsiteX29" fmla="*/ 186885 w 4011346"/>
                <a:gd name="connsiteY29" fmla="*/ 1631902 h 2005672"/>
                <a:gd name="connsiteX30" fmla="*/ 213583 w 4011346"/>
                <a:gd name="connsiteY30" fmla="*/ 1661937 h 2005672"/>
                <a:gd name="connsiteX31" fmla="*/ 243618 w 4011346"/>
                <a:gd name="connsiteY31" fmla="*/ 1665274 h 2005672"/>
                <a:gd name="connsiteX32" fmla="*/ 287002 w 4011346"/>
                <a:gd name="connsiteY32" fmla="*/ 1695310 h 2005672"/>
                <a:gd name="connsiteX33" fmla="*/ 310363 w 4011346"/>
                <a:gd name="connsiteY33" fmla="*/ 1705321 h 2005672"/>
                <a:gd name="connsiteX34" fmla="*/ 310363 w 4011346"/>
                <a:gd name="connsiteY34" fmla="*/ 1742031 h 2005672"/>
                <a:gd name="connsiteX35" fmla="*/ 270316 w 4011346"/>
                <a:gd name="connsiteY35" fmla="*/ 1782077 h 2005672"/>
                <a:gd name="connsiteX36" fmla="*/ 280327 w 4011346"/>
                <a:gd name="connsiteY36" fmla="*/ 1805438 h 2005672"/>
                <a:gd name="connsiteX37" fmla="*/ 273653 w 4011346"/>
                <a:gd name="connsiteY37" fmla="*/ 1825461 h 2005672"/>
                <a:gd name="connsiteX38" fmla="*/ 266979 w 4011346"/>
                <a:gd name="connsiteY38" fmla="*/ 1842147 h 2005672"/>
                <a:gd name="connsiteX39" fmla="*/ 240281 w 4011346"/>
                <a:gd name="connsiteY39" fmla="*/ 1882194 h 2005672"/>
                <a:gd name="connsiteX40" fmla="*/ 307025 w 4011346"/>
                <a:gd name="connsiteY40" fmla="*/ 1918904 h 2005672"/>
                <a:gd name="connsiteX41" fmla="*/ 337060 w 4011346"/>
                <a:gd name="connsiteY41" fmla="*/ 1925578 h 2005672"/>
                <a:gd name="connsiteX42" fmla="*/ 360421 w 4011346"/>
                <a:gd name="connsiteY42" fmla="*/ 1932253 h 2005672"/>
                <a:gd name="connsiteX43" fmla="*/ 380444 w 4011346"/>
                <a:gd name="connsiteY43" fmla="*/ 1938927 h 2005672"/>
                <a:gd name="connsiteX44" fmla="*/ 407142 w 4011346"/>
                <a:gd name="connsiteY44" fmla="*/ 1958950 h 2005672"/>
                <a:gd name="connsiteX45" fmla="*/ 437177 w 4011346"/>
                <a:gd name="connsiteY45" fmla="*/ 1955613 h 2005672"/>
                <a:gd name="connsiteX46" fmla="*/ 507259 w 4011346"/>
                <a:gd name="connsiteY46" fmla="*/ 2005672 h 2005672"/>
                <a:gd name="connsiteX47" fmla="*/ 517271 w 4011346"/>
                <a:gd name="connsiteY47" fmla="*/ 1992323 h 2005672"/>
                <a:gd name="connsiteX48" fmla="*/ 507259 w 4011346"/>
                <a:gd name="connsiteY48" fmla="*/ 1952276 h 2005672"/>
                <a:gd name="connsiteX49" fmla="*/ 500584 w 4011346"/>
                <a:gd name="connsiteY49" fmla="*/ 1918904 h 2005672"/>
                <a:gd name="connsiteX50" fmla="*/ 483898 w 4011346"/>
                <a:gd name="connsiteY50" fmla="*/ 1875520 h 2005672"/>
                <a:gd name="connsiteX51" fmla="*/ 513933 w 4011346"/>
                <a:gd name="connsiteY51" fmla="*/ 1855496 h 2005672"/>
                <a:gd name="connsiteX52" fmla="*/ 547306 w 4011346"/>
                <a:gd name="connsiteY52" fmla="*/ 1832136 h 2005672"/>
                <a:gd name="connsiteX53" fmla="*/ 527282 w 4011346"/>
                <a:gd name="connsiteY53" fmla="*/ 1815450 h 2005672"/>
                <a:gd name="connsiteX54" fmla="*/ 517271 w 4011346"/>
                <a:gd name="connsiteY54" fmla="*/ 1782077 h 2005672"/>
                <a:gd name="connsiteX55" fmla="*/ 480561 w 4011346"/>
                <a:gd name="connsiteY55" fmla="*/ 1765391 h 2005672"/>
                <a:gd name="connsiteX56" fmla="*/ 470549 w 4011346"/>
                <a:gd name="connsiteY56" fmla="*/ 1745368 h 2005672"/>
                <a:gd name="connsiteX57" fmla="*/ 480561 w 4011346"/>
                <a:gd name="connsiteY57" fmla="*/ 1715333 h 2005672"/>
                <a:gd name="connsiteX58" fmla="*/ 490573 w 4011346"/>
                <a:gd name="connsiteY58" fmla="*/ 1675286 h 2005672"/>
                <a:gd name="connsiteX59" fmla="*/ 513933 w 4011346"/>
                <a:gd name="connsiteY59" fmla="*/ 1695310 h 2005672"/>
                <a:gd name="connsiteX60" fmla="*/ 520608 w 4011346"/>
                <a:gd name="connsiteY60" fmla="*/ 1678623 h 2005672"/>
                <a:gd name="connsiteX61" fmla="*/ 543968 w 4011346"/>
                <a:gd name="connsiteY61" fmla="*/ 1641914 h 2005672"/>
                <a:gd name="connsiteX62" fmla="*/ 574003 w 4011346"/>
                <a:gd name="connsiteY62" fmla="*/ 1625228 h 2005672"/>
                <a:gd name="connsiteX63" fmla="*/ 590690 w 4011346"/>
                <a:gd name="connsiteY63" fmla="*/ 1638577 h 2005672"/>
                <a:gd name="connsiteX64" fmla="*/ 610713 w 4011346"/>
                <a:gd name="connsiteY64" fmla="*/ 1611879 h 2005672"/>
                <a:gd name="connsiteX65" fmla="*/ 630736 w 4011346"/>
                <a:gd name="connsiteY65" fmla="*/ 1638577 h 2005672"/>
                <a:gd name="connsiteX66" fmla="*/ 657434 w 4011346"/>
                <a:gd name="connsiteY66" fmla="*/ 1661937 h 2005672"/>
                <a:gd name="connsiteX67" fmla="*/ 674120 w 4011346"/>
                <a:gd name="connsiteY67" fmla="*/ 1668612 h 2005672"/>
                <a:gd name="connsiteX68" fmla="*/ 697481 w 4011346"/>
                <a:gd name="connsiteY68" fmla="*/ 1668612 h 2005672"/>
                <a:gd name="connsiteX69" fmla="*/ 717504 w 4011346"/>
                <a:gd name="connsiteY69" fmla="*/ 1655263 h 2005672"/>
                <a:gd name="connsiteX70" fmla="*/ 744202 w 4011346"/>
                <a:gd name="connsiteY70" fmla="*/ 1655263 h 2005672"/>
                <a:gd name="connsiteX71" fmla="*/ 760888 w 4011346"/>
                <a:gd name="connsiteY71" fmla="*/ 1651926 h 2005672"/>
                <a:gd name="connsiteX72" fmla="*/ 790923 w 4011346"/>
                <a:gd name="connsiteY72" fmla="*/ 1685298 h 2005672"/>
                <a:gd name="connsiteX73" fmla="*/ 797598 w 4011346"/>
                <a:gd name="connsiteY73" fmla="*/ 1658600 h 2005672"/>
                <a:gd name="connsiteX74" fmla="*/ 817621 w 4011346"/>
                <a:gd name="connsiteY74" fmla="*/ 1675286 h 2005672"/>
                <a:gd name="connsiteX75" fmla="*/ 837644 w 4011346"/>
                <a:gd name="connsiteY75" fmla="*/ 1651926 h 2005672"/>
                <a:gd name="connsiteX76" fmla="*/ 827633 w 4011346"/>
                <a:gd name="connsiteY76" fmla="*/ 1631902 h 2005672"/>
                <a:gd name="connsiteX77" fmla="*/ 810946 w 4011346"/>
                <a:gd name="connsiteY77" fmla="*/ 1618553 h 2005672"/>
                <a:gd name="connsiteX78" fmla="*/ 810946 w 4011346"/>
                <a:gd name="connsiteY78" fmla="*/ 1591856 h 2005672"/>
                <a:gd name="connsiteX79" fmla="*/ 810946 w 4011346"/>
                <a:gd name="connsiteY79" fmla="*/ 1578507 h 2005672"/>
                <a:gd name="connsiteX80" fmla="*/ 830970 w 4011346"/>
                <a:gd name="connsiteY80" fmla="*/ 1575169 h 2005672"/>
                <a:gd name="connsiteX81" fmla="*/ 840981 w 4011346"/>
                <a:gd name="connsiteY81" fmla="*/ 1571832 h 2005672"/>
                <a:gd name="connsiteX82" fmla="*/ 820958 w 4011346"/>
                <a:gd name="connsiteY82" fmla="*/ 1535123 h 2005672"/>
                <a:gd name="connsiteX83" fmla="*/ 854330 w 4011346"/>
                <a:gd name="connsiteY83" fmla="*/ 1528448 h 2005672"/>
                <a:gd name="connsiteX84" fmla="*/ 891040 w 4011346"/>
                <a:gd name="connsiteY84" fmla="*/ 1535123 h 2005672"/>
                <a:gd name="connsiteX85" fmla="*/ 964459 w 4011346"/>
                <a:gd name="connsiteY85" fmla="*/ 1491739 h 2005672"/>
                <a:gd name="connsiteX86" fmla="*/ 1001168 w 4011346"/>
                <a:gd name="connsiteY86" fmla="*/ 1491739 h 2005672"/>
                <a:gd name="connsiteX87" fmla="*/ 1027866 w 4011346"/>
                <a:gd name="connsiteY87" fmla="*/ 1468378 h 2005672"/>
                <a:gd name="connsiteX88" fmla="*/ 1047890 w 4011346"/>
                <a:gd name="connsiteY88" fmla="*/ 1478390 h 2005672"/>
                <a:gd name="connsiteX89" fmla="*/ 1067913 w 4011346"/>
                <a:gd name="connsiteY89" fmla="*/ 1488401 h 2005672"/>
                <a:gd name="connsiteX90" fmla="*/ 1087936 w 4011346"/>
                <a:gd name="connsiteY90" fmla="*/ 1515099 h 2005672"/>
                <a:gd name="connsiteX91" fmla="*/ 1074587 w 4011346"/>
                <a:gd name="connsiteY91" fmla="*/ 1528448 h 2005672"/>
                <a:gd name="connsiteX92" fmla="*/ 1104622 w 4011346"/>
                <a:gd name="connsiteY92" fmla="*/ 1528448 h 2005672"/>
                <a:gd name="connsiteX93" fmla="*/ 1107960 w 4011346"/>
                <a:gd name="connsiteY93" fmla="*/ 1545134 h 2005672"/>
                <a:gd name="connsiteX94" fmla="*/ 1121309 w 4011346"/>
                <a:gd name="connsiteY94" fmla="*/ 1528448 h 2005672"/>
                <a:gd name="connsiteX95" fmla="*/ 1134657 w 4011346"/>
                <a:gd name="connsiteY95" fmla="*/ 1541797 h 2005672"/>
                <a:gd name="connsiteX96" fmla="*/ 1134657 w 4011346"/>
                <a:gd name="connsiteY96" fmla="*/ 1561820 h 2005672"/>
                <a:gd name="connsiteX97" fmla="*/ 1148006 w 4011346"/>
                <a:gd name="connsiteY97" fmla="*/ 1558483 h 2005672"/>
                <a:gd name="connsiteX98" fmla="*/ 1208076 w 4011346"/>
                <a:gd name="connsiteY98" fmla="*/ 1511762 h 2005672"/>
                <a:gd name="connsiteX99" fmla="*/ 1211414 w 4011346"/>
                <a:gd name="connsiteY99" fmla="*/ 1531785 h 2005672"/>
                <a:gd name="connsiteX100" fmla="*/ 1244786 w 4011346"/>
                <a:gd name="connsiteY100" fmla="*/ 1551809 h 2005672"/>
                <a:gd name="connsiteX101" fmla="*/ 1264809 w 4011346"/>
                <a:gd name="connsiteY101" fmla="*/ 1581844 h 2005672"/>
                <a:gd name="connsiteX102" fmla="*/ 1298181 w 4011346"/>
                <a:gd name="connsiteY102" fmla="*/ 1688635 h 2005672"/>
                <a:gd name="connsiteX103" fmla="*/ 1308193 w 4011346"/>
                <a:gd name="connsiteY103" fmla="*/ 1645251 h 2005672"/>
                <a:gd name="connsiteX104" fmla="*/ 1344903 w 4011346"/>
                <a:gd name="connsiteY104" fmla="*/ 1665274 h 2005672"/>
                <a:gd name="connsiteX105" fmla="*/ 1388287 w 4011346"/>
                <a:gd name="connsiteY105" fmla="*/ 1665274 h 2005672"/>
                <a:gd name="connsiteX106" fmla="*/ 1394961 w 4011346"/>
                <a:gd name="connsiteY106" fmla="*/ 1688635 h 2005672"/>
                <a:gd name="connsiteX107" fmla="*/ 1435008 w 4011346"/>
                <a:gd name="connsiteY107" fmla="*/ 1711996 h 2005672"/>
                <a:gd name="connsiteX108" fmla="*/ 1465043 w 4011346"/>
                <a:gd name="connsiteY108" fmla="*/ 1711996 h 2005672"/>
                <a:gd name="connsiteX109" fmla="*/ 1491741 w 4011346"/>
                <a:gd name="connsiteY109" fmla="*/ 1725345 h 2005672"/>
                <a:gd name="connsiteX110" fmla="*/ 1535125 w 4011346"/>
                <a:gd name="connsiteY110" fmla="*/ 1681961 h 2005672"/>
                <a:gd name="connsiteX111" fmla="*/ 1571834 w 4011346"/>
                <a:gd name="connsiteY111" fmla="*/ 1661937 h 2005672"/>
                <a:gd name="connsiteX112" fmla="*/ 1608544 w 4011346"/>
                <a:gd name="connsiteY112" fmla="*/ 1665274 h 2005672"/>
                <a:gd name="connsiteX113" fmla="*/ 1655265 w 4011346"/>
                <a:gd name="connsiteY113" fmla="*/ 1678623 h 2005672"/>
                <a:gd name="connsiteX114" fmla="*/ 1681963 w 4011346"/>
                <a:gd name="connsiteY114" fmla="*/ 1695310 h 2005672"/>
                <a:gd name="connsiteX115" fmla="*/ 1735358 w 4011346"/>
                <a:gd name="connsiteY115" fmla="*/ 1688635 h 2005672"/>
                <a:gd name="connsiteX116" fmla="*/ 1745370 w 4011346"/>
                <a:gd name="connsiteY116" fmla="*/ 1668612 h 2005672"/>
                <a:gd name="connsiteX117" fmla="*/ 1738695 w 4011346"/>
                <a:gd name="connsiteY117" fmla="*/ 1648588 h 2005672"/>
                <a:gd name="connsiteX118" fmla="*/ 1765393 w 4011346"/>
                <a:gd name="connsiteY118" fmla="*/ 1621891 h 2005672"/>
                <a:gd name="connsiteX119" fmla="*/ 1778742 w 4011346"/>
                <a:gd name="connsiteY119" fmla="*/ 1618553 h 2005672"/>
                <a:gd name="connsiteX120" fmla="*/ 1812114 w 4011346"/>
                <a:gd name="connsiteY120" fmla="*/ 1635239 h 2005672"/>
                <a:gd name="connsiteX121" fmla="*/ 1852161 w 4011346"/>
                <a:gd name="connsiteY121" fmla="*/ 1648588 h 2005672"/>
                <a:gd name="connsiteX122" fmla="*/ 1858836 w 4011346"/>
                <a:gd name="connsiteY122" fmla="*/ 1675286 h 2005672"/>
                <a:gd name="connsiteX123" fmla="*/ 1872184 w 4011346"/>
                <a:gd name="connsiteY123" fmla="*/ 1681961 h 2005672"/>
                <a:gd name="connsiteX124" fmla="*/ 1902219 w 4011346"/>
                <a:gd name="connsiteY124" fmla="*/ 1685298 h 2005672"/>
                <a:gd name="connsiteX125" fmla="*/ 1932254 w 4011346"/>
                <a:gd name="connsiteY125" fmla="*/ 1668612 h 2005672"/>
                <a:gd name="connsiteX126" fmla="*/ 1962290 w 4011346"/>
                <a:gd name="connsiteY126" fmla="*/ 1681961 h 2005672"/>
                <a:gd name="connsiteX127" fmla="*/ 1985650 w 4011346"/>
                <a:gd name="connsiteY127" fmla="*/ 1695310 h 2005672"/>
                <a:gd name="connsiteX128" fmla="*/ 1995662 w 4011346"/>
                <a:gd name="connsiteY128" fmla="*/ 1705321 h 2005672"/>
                <a:gd name="connsiteX129" fmla="*/ 2032371 w 4011346"/>
                <a:gd name="connsiteY129" fmla="*/ 1725345 h 2005672"/>
                <a:gd name="connsiteX130" fmla="*/ 2069081 w 4011346"/>
                <a:gd name="connsiteY130" fmla="*/ 1722007 h 2005672"/>
                <a:gd name="connsiteX131" fmla="*/ 2142500 w 4011346"/>
                <a:gd name="connsiteY131" fmla="*/ 1678623 h 2005672"/>
                <a:gd name="connsiteX132" fmla="*/ 2195895 w 4011346"/>
                <a:gd name="connsiteY132" fmla="*/ 1691972 h 2005672"/>
                <a:gd name="connsiteX133" fmla="*/ 2225930 w 4011346"/>
                <a:gd name="connsiteY133" fmla="*/ 1701984 h 2005672"/>
                <a:gd name="connsiteX134" fmla="*/ 2259303 w 4011346"/>
                <a:gd name="connsiteY134" fmla="*/ 1688635 h 2005672"/>
                <a:gd name="connsiteX135" fmla="*/ 2262640 w 4011346"/>
                <a:gd name="connsiteY135" fmla="*/ 1661937 h 2005672"/>
                <a:gd name="connsiteX136" fmla="*/ 2282663 w 4011346"/>
                <a:gd name="connsiteY136" fmla="*/ 1631902 h 2005672"/>
                <a:gd name="connsiteX137" fmla="*/ 2299349 w 4011346"/>
                <a:gd name="connsiteY137" fmla="*/ 1578507 h 2005672"/>
                <a:gd name="connsiteX138" fmla="*/ 2282663 w 4011346"/>
                <a:gd name="connsiteY138" fmla="*/ 1581844 h 2005672"/>
                <a:gd name="connsiteX139" fmla="*/ 2312698 w 4011346"/>
                <a:gd name="connsiteY139" fmla="*/ 1555146 h 2005672"/>
                <a:gd name="connsiteX140" fmla="*/ 2339396 w 4011346"/>
                <a:gd name="connsiteY140" fmla="*/ 1551809 h 2005672"/>
                <a:gd name="connsiteX141" fmla="*/ 2396129 w 4011346"/>
                <a:gd name="connsiteY141" fmla="*/ 1561820 h 2005672"/>
                <a:gd name="connsiteX142" fmla="*/ 2436176 w 4011346"/>
                <a:gd name="connsiteY142" fmla="*/ 1588518 h 2005672"/>
                <a:gd name="connsiteX143" fmla="*/ 2462873 w 4011346"/>
                <a:gd name="connsiteY143" fmla="*/ 1618553 h 2005672"/>
                <a:gd name="connsiteX144" fmla="*/ 2469548 w 4011346"/>
                <a:gd name="connsiteY144" fmla="*/ 1655263 h 2005672"/>
                <a:gd name="connsiteX145" fmla="*/ 2476222 w 4011346"/>
                <a:gd name="connsiteY145" fmla="*/ 1695310 h 2005672"/>
                <a:gd name="connsiteX146" fmla="*/ 2486234 w 4011346"/>
                <a:gd name="connsiteY146" fmla="*/ 1715333 h 2005672"/>
                <a:gd name="connsiteX147" fmla="*/ 2529618 w 4011346"/>
                <a:gd name="connsiteY147" fmla="*/ 1728682 h 2005672"/>
                <a:gd name="connsiteX148" fmla="*/ 2549641 w 4011346"/>
                <a:gd name="connsiteY148" fmla="*/ 1748705 h 2005672"/>
                <a:gd name="connsiteX149" fmla="*/ 2562990 w 4011346"/>
                <a:gd name="connsiteY149" fmla="*/ 1782077 h 2005672"/>
                <a:gd name="connsiteX150" fmla="*/ 2586351 w 4011346"/>
                <a:gd name="connsiteY150" fmla="*/ 1775403 h 2005672"/>
                <a:gd name="connsiteX151" fmla="*/ 2606374 w 4011346"/>
                <a:gd name="connsiteY151" fmla="*/ 1765391 h 2005672"/>
                <a:gd name="connsiteX152" fmla="*/ 2639746 w 4011346"/>
                <a:gd name="connsiteY152" fmla="*/ 1748705 h 2005672"/>
                <a:gd name="connsiteX153" fmla="*/ 2643084 w 4011346"/>
                <a:gd name="connsiteY153" fmla="*/ 1765391 h 2005672"/>
                <a:gd name="connsiteX154" fmla="*/ 2626398 w 4011346"/>
                <a:gd name="connsiteY154" fmla="*/ 1795426 h 2005672"/>
                <a:gd name="connsiteX155" fmla="*/ 2616386 w 4011346"/>
                <a:gd name="connsiteY155" fmla="*/ 1832136 h 2005672"/>
                <a:gd name="connsiteX156" fmla="*/ 2603037 w 4011346"/>
                <a:gd name="connsiteY156" fmla="*/ 1885531 h 2005672"/>
                <a:gd name="connsiteX157" fmla="*/ 2579676 w 4011346"/>
                <a:gd name="connsiteY157" fmla="*/ 1858834 h 2005672"/>
                <a:gd name="connsiteX158" fmla="*/ 2552979 w 4011346"/>
                <a:gd name="connsiteY158" fmla="*/ 1882194 h 2005672"/>
                <a:gd name="connsiteX159" fmla="*/ 2559653 w 4011346"/>
                <a:gd name="connsiteY159" fmla="*/ 1908892 h 2005672"/>
                <a:gd name="connsiteX160" fmla="*/ 2559653 w 4011346"/>
                <a:gd name="connsiteY160" fmla="*/ 1945601 h 2005672"/>
                <a:gd name="connsiteX161" fmla="*/ 2549641 w 4011346"/>
                <a:gd name="connsiteY161" fmla="*/ 1965625 h 2005672"/>
                <a:gd name="connsiteX162" fmla="*/ 2589688 w 4011346"/>
                <a:gd name="connsiteY162" fmla="*/ 1945601 h 2005672"/>
                <a:gd name="connsiteX163" fmla="*/ 2626398 w 4011346"/>
                <a:gd name="connsiteY163" fmla="*/ 1955613 h 2005672"/>
                <a:gd name="connsiteX164" fmla="*/ 2653095 w 4011346"/>
                <a:gd name="connsiteY164" fmla="*/ 1932253 h 2005672"/>
                <a:gd name="connsiteX165" fmla="*/ 2683130 w 4011346"/>
                <a:gd name="connsiteY165" fmla="*/ 1878857 h 2005672"/>
                <a:gd name="connsiteX166" fmla="*/ 2753212 w 4011346"/>
                <a:gd name="connsiteY166" fmla="*/ 1792089 h 2005672"/>
                <a:gd name="connsiteX167" fmla="*/ 2783247 w 4011346"/>
                <a:gd name="connsiteY167" fmla="*/ 1722007 h 2005672"/>
                <a:gd name="connsiteX168" fmla="*/ 2803271 w 4011346"/>
                <a:gd name="connsiteY168" fmla="*/ 1618553 h 2005672"/>
                <a:gd name="connsiteX169" fmla="*/ 2793259 w 4011346"/>
                <a:gd name="connsiteY169" fmla="*/ 1568495 h 2005672"/>
                <a:gd name="connsiteX170" fmla="*/ 2769898 w 4011346"/>
                <a:gd name="connsiteY170" fmla="*/ 1535123 h 2005672"/>
                <a:gd name="connsiteX171" fmla="*/ 2726514 w 4011346"/>
                <a:gd name="connsiteY171" fmla="*/ 1535123 h 2005672"/>
                <a:gd name="connsiteX172" fmla="*/ 2699817 w 4011346"/>
                <a:gd name="connsiteY172" fmla="*/ 1535123 h 2005672"/>
                <a:gd name="connsiteX173" fmla="*/ 2683130 w 4011346"/>
                <a:gd name="connsiteY173" fmla="*/ 1515099 h 2005672"/>
                <a:gd name="connsiteX174" fmla="*/ 2669781 w 4011346"/>
                <a:gd name="connsiteY174" fmla="*/ 1495076 h 2005672"/>
                <a:gd name="connsiteX175" fmla="*/ 2763224 w 4011346"/>
                <a:gd name="connsiteY175" fmla="*/ 1378273 h 2005672"/>
                <a:gd name="connsiteX176" fmla="*/ 2846654 w 4011346"/>
                <a:gd name="connsiteY176" fmla="*/ 1311529 h 2005672"/>
                <a:gd name="connsiteX177" fmla="*/ 2890038 w 4011346"/>
                <a:gd name="connsiteY177" fmla="*/ 1288168 h 2005672"/>
                <a:gd name="connsiteX178" fmla="*/ 2933422 w 4011346"/>
                <a:gd name="connsiteY178" fmla="*/ 1308191 h 2005672"/>
                <a:gd name="connsiteX179" fmla="*/ 2950109 w 4011346"/>
                <a:gd name="connsiteY179" fmla="*/ 1291505 h 2005672"/>
                <a:gd name="connsiteX180" fmla="*/ 2993492 w 4011346"/>
                <a:gd name="connsiteY180" fmla="*/ 1308191 h 2005672"/>
                <a:gd name="connsiteX181" fmla="*/ 3006841 w 4011346"/>
                <a:gd name="connsiteY181" fmla="*/ 1274819 h 2005672"/>
                <a:gd name="connsiteX182" fmla="*/ 3053563 w 4011346"/>
                <a:gd name="connsiteY182" fmla="*/ 1284831 h 2005672"/>
                <a:gd name="connsiteX183" fmla="*/ 3070249 w 4011346"/>
                <a:gd name="connsiteY183" fmla="*/ 1301517 h 2005672"/>
                <a:gd name="connsiteX184" fmla="*/ 3060237 w 4011346"/>
                <a:gd name="connsiteY184" fmla="*/ 1321540 h 2005672"/>
                <a:gd name="connsiteX185" fmla="*/ 3123644 w 4011346"/>
                <a:gd name="connsiteY185" fmla="*/ 1304854 h 2005672"/>
                <a:gd name="connsiteX186" fmla="*/ 3140330 w 4011346"/>
                <a:gd name="connsiteY186" fmla="*/ 1291505 h 2005672"/>
                <a:gd name="connsiteX187" fmla="*/ 3123644 w 4011346"/>
                <a:gd name="connsiteY187" fmla="*/ 1278156 h 2005672"/>
                <a:gd name="connsiteX188" fmla="*/ 3143668 w 4011346"/>
                <a:gd name="connsiteY188" fmla="*/ 1238110 h 2005672"/>
                <a:gd name="connsiteX189" fmla="*/ 3190389 w 4011346"/>
                <a:gd name="connsiteY189" fmla="*/ 1168028 h 2005672"/>
                <a:gd name="connsiteX190" fmla="*/ 3233773 w 4011346"/>
                <a:gd name="connsiteY190" fmla="*/ 1164691 h 2005672"/>
                <a:gd name="connsiteX191" fmla="*/ 3273819 w 4011346"/>
                <a:gd name="connsiteY191" fmla="*/ 1174702 h 2005672"/>
                <a:gd name="connsiteX192" fmla="*/ 3277157 w 4011346"/>
                <a:gd name="connsiteY192" fmla="*/ 1231435 h 2005672"/>
                <a:gd name="connsiteX193" fmla="*/ 3320541 w 4011346"/>
                <a:gd name="connsiteY193" fmla="*/ 1188051 h 2005672"/>
                <a:gd name="connsiteX194" fmla="*/ 3343901 w 4011346"/>
                <a:gd name="connsiteY194" fmla="*/ 1171365 h 2005672"/>
                <a:gd name="connsiteX195" fmla="*/ 3350576 w 4011346"/>
                <a:gd name="connsiteY195" fmla="*/ 1137993 h 2005672"/>
                <a:gd name="connsiteX196" fmla="*/ 3377273 w 4011346"/>
                <a:gd name="connsiteY196" fmla="*/ 1121307 h 2005672"/>
                <a:gd name="connsiteX197" fmla="*/ 3407309 w 4011346"/>
                <a:gd name="connsiteY197" fmla="*/ 1131318 h 2005672"/>
                <a:gd name="connsiteX198" fmla="*/ 3373936 w 4011346"/>
                <a:gd name="connsiteY198" fmla="*/ 1161353 h 2005672"/>
                <a:gd name="connsiteX199" fmla="*/ 3360587 w 4011346"/>
                <a:gd name="connsiteY199" fmla="*/ 1211412 h 2005672"/>
                <a:gd name="connsiteX200" fmla="*/ 3323878 w 4011346"/>
                <a:gd name="connsiteY200" fmla="*/ 1251458 h 2005672"/>
                <a:gd name="connsiteX201" fmla="*/ 3210412 w 4011346"/>
                <a:gd name="connsiteY201" fmla="*/ 1348238 h 2005672"/>
                <a:gd name="connsiteX202" fmla="*/ 3163691 w 4011346"/>
                <a:gd name="connsiteY202" fmla="*/ 1418320 h 2005672"/>
                <a:gd name="connsiteX203" fmla="*/ 3160354 w 4011346"/>
                <a:gd name="connsiteY203" fmla="*/ 1491739 h 2005672"/>
                <a:gd name="connsiteX204" fmla="*/ 3170365 w 4011346"/>
                <a:gd name="connsiteY204" fmla="*/ 1581844 h 2005672"/>
                <a:gd name="connsiteX205" fmla="*/ 3190389 w 4011346"/>
                <a:gd name="connsiteY205" fmla="*/ 1645251 h 2005672"/>
                <a:gd name="connsiteX206" fmla="*/ 3217087 w 4011346"/>
                <a:gd name="connsiteY206" fmla="*/ 1635239 h 2005672"/>
                <a:gd name="connsiteX207" fmla="*/ 3240447 w 4011346"/>
                <a:gd name="connsiteY207" fmla="*/ 1568495 h 2005672"/>
                <a:gd name="connsiteX208" fmla="*/ 3270482 w 4011346"/>
                <a:gd name="connsiteY208" fmla="*/ 1565158 h 2005672"/>
                <a:gd name="connsiteX209" fmla="*/ 3287168 w 4011346"/>
                <a:gd name="connsiteY209" fmla="*/ 1505088 h 2005672"/>
                <a:gd name="connsiteX210" fmla="*/ 3313866 w 4011346"/>
                <a:gd name="connsiteY210" fmla="*/ 1495076 h 2005672"/>
                <a:gd name="connsiteX211" fmla="*/ 3313866 w 4011346"/>
                <a:gd name="connsiteY211" fmla="*/ 1465041 h 2005672"/>
                <a:gd name="connsiteX212" fmla="*/ 3337227 w 4011346"/>
                <a:gd name="connsiteY212" fmla="*/ 1428331 h 2005672"/>
                <a:gd name="connsiteX213" fmla="*/ 3330552 w 4011346"/>
                <a:gd name="connsiteY213" fmla="*/ 1384947 h 2005672"/>
                <a:gd name="connsiteX214" fmla="*/ 3333890 w 4011346"/>
                <a:gd name="connsiteY214" fmla="*/ 1354912 h 2005672"/>
                <a:gd name="connsiteX215" fmla="*/ 3323878 w 4011346"/>
                <a:gd name="connsiteY215" fmla="*/ 1344901 h 2005672"/>
                <a:gd name="connsiteX216" fmla="*/ 3363925 w 4011346"/>
                <a:gd name="connsiteY216" fmla="*/ 1258133 h 2005672"/>
                <a:gd name="connsiteX217" fmla="*/ 3383948 w 4011346"/>
                <a:gd name="connsiteY217" fmla="*/ 1268145 h 2005672"/>
                <a:gd name="connsiteX218" fmla="*/ 3410646 w 4011346"/>
                <a:gd name="connsiteY218" fmla="*/ 1241447 h 2005672"/>
                <a:gd name="connsiteX219" fmla="*/ 3420657 w 4011346"/>
                <a:gd name="connsiteY219" fmla="*/ 1268145 h 2005672"/>
                <a:gd name="connsiteX220" fmla="*/ 3447355 w 4011346"/>
                <a:gd name="connsiteY220" fmla="*/ 1251458 h 2005672"/>
                <a:gd name="connsiteX221" fmla="*/ 3477390 w 4011346"/>
                <a:gd name="connsiteY221" fmla="*/ 1241447 h 2005672"/>
                <a:gd name="connsiteX222" fmla="*/ 3514100 w 4011346"/>
                <a:gd name="connsiteY222" fmla="*/ 1268145 h 2005672"/>
                <a:gd name="connsiteX223" fmla="*/ 3574170 w 4011346"/>
                <a:gd name="connsiteY223" fmla="*/ 1201400 h 2005672"/>
                <a:gd name="connsiteX224" fmla="*/ 3637577 w 4011346"/>
                <a:gd name="connsiteY224" fmla="*/ 1154679 h 2005672"/>
                <a:gd name="connsiteX225" fmla="*/ 3690973 w 4011346"/>
                <a:gd name="connsiteY225" fmla="*/ 1117969 h 2005672"/>
                <a:gd name="connsiteX226" fmla="*/ 3741031 w 4011346"/>
                <a:gd name="connsiteY226" fmla="*/ 1144667 h 2005672"/>
                <a:gd name="connsiteX227" fmla="*/ 3751043 w 4011346"/>
                <a:gd name="connsiteY227" fmla="*/ 1117969 h 2005672"/>
                <a:gd name="connsiteX228" fmla="*/ 3727682 w 4011346"/>
                <a:gd name="connsiteY228" fmla="*/ 1051225 h 2005672"/>
                <a:gd name="connsiteX229" fmla="*/ 3700984 w 4011346"/>
                <a:gd name="connsiteY229" fmla="*/ 1034539 h 2005672"/>
                <a:gd name="connsiteX230" fmla="*/ 3697647 w 4011346"/>
                <a:gd name="connsiteY230" fmla="*/ 1004504 h 2005672"/>
                <a:gd name="connsiteX231" fmla="*/ 3751043 w 4011346"/>
                <a:gd name="connsiteY231" fmla="*/ 1011178 h 2005672"/>
                <a:gd name="connsiteX232" fmla="*/ 3774403 w 4011346"/>
                <a:gd name="connsiteY232" fmla="*/ 967794 h 2005672"/>
                <a:gd name="connsiteX233" fmla="*/ 3767729 w 4011346"/>
                <a:gd name="connsiteY233" fmla="*/ 941096 h 2005672"/>
                <a:gd name="connsiteX234" fmla="*/ 3794427 w 4011346"/>
                <a:gd name="connsiteY234" fmla="*/ 907724 h 2005672"/>
                <a:gd name="connsiteX235" fmla="*/ 3804438 w 4011346"/>
                <a:gd name="connsiteY235" fmla="*/ 951108 h 2005672"/>
                <a:gd name="connsiteX236" fmla="*/ 3827799 w 4011346"/>
                <a:gd name="connsiteY236" fmla="*/ 967794 h 2005672"/>
                <a:gd name="connsiteX237" fmla="*/ 3874520 w 4011346"/>
                <a:gd name="connsiteY237" fmla="*/ 987818 h 2005672"/>
                <a:gd name="connsiteX238" fmla="*/ 3894544 w 4011346"/>
                <a:gd name="connsiteY238" fmla="*/ 1014515 h 2005672"/>
                <a:gd name="connsiteX239" fmla="*/ 3941265 w 4011346"/>
                <a:gd name="connsiteY239" fmla="*/ 1037876 h 2005672"/>
                <a:gd name="connsiteX240" fmla="*/ 3947939 w 4011346"/>
                <a:gd name="connsiteY240" fmla="*/ 1024527 h 2005672"/>
                <a:gd name="connsiteX241" fmla="*/ 3957951 w 4011346"/>
                <a:gd name="connsiteY241" fmla="*/ 961120 h 2005672"/>
                <a:gd name="connsiteX242" fmla="*/ 4004672 w 4011346"/>
                <a:gd name="connsiteY242" fmla="*/ 954445 h 2005672"/>
                <a:gd name="connsiteX243" fmla="*/ 4011346 w 4011346"/>
                <a:gd name="connsiteY243" fmla="*/ 921073 h 2005672"/>
                <a:gd name="connsiteX244" fmla="*/ 3967963 w 4011346"/>
                <a:gd name="connsiteY244" fmla="*/ 884364 h 2005672"/>
                <a:gd name="connsiteX245" fmla="*/ 3921241 w 4011346"/>
                <a:gd name="connsiteY245" fmla="*/ 867677 h 2005672"/>
                <a:gd name="connsiteX246" fmla="*/ 3907892 w 4011346"/>
                <a:gd name="connsiteY246" fmla="*/ 871015 h 2005672"/>
                <a:gd name="connsiteX247" fmla="*/ 3907892 w 4011346"/>
                <a:gd name="connsiteY247" fmla="*/ 904387 h 2005672"/>
                <a:gd name="connsiteX248" fmla="*/ 3887869 w 4011346"/>
                <a:gd name="connsiteY248" fmla="*/ 897712 h 2005672"/>
                <a:gd name="connsiteX249" fmla="*/ 3874520 w 4011346"/>
                <a:gd name="connsiteY249" fmla="*/ 844317 h 2005672"/>
                <a:gd name="connsiteX250" fmla="*/ 3817787 w 4011346"/>
                <a:gd name="connsiteY250" fmla="*/ 780910 h 2005672"/>
                <a:gd name="connsiteX251" fmla="*/ 3717671 w 4011346"/>
                <a:gd name="connsiteY251" fmla="*/ 704153 h 2005672"/>
                <a:gd name="connsiteX252" fmla="*/ 3664275 w 4011346"/>
                <a:gd name="connsiteY252" fmla="*/ 684130 h 2005672"/>
                <a:gd name="connsiteX253" fmla="*/ 3584181 w 4011346"/>
                <a:gd name="connsiteY253" fmla="*/ 677456 h 2005672"/>
                <a:gd name="connsiteX254" fmla="*/ 3520774 w 4011346"/>
                <a:gd name="connsiteY254" fmla="*/ 660769 h 2005672"/>
                <a:gd name="connsiteX255" fmla="*/ 3530786 w 4011346"/>
                <a:gd name="connsiteY255" fmla="*/ 700816 h 2005672"/>
                <a:gd name="connsiteX256" fmla="*/ 3537460 w 4011346"/>
                <a:gd name="connsiteY256" fmla="*/ 727514 h 2005672"/>
                <a:gd name="connsiteX257" fmla="*/ 3507425 w 4011346"/>
                <a:gd name="connsiteY257" fmla="*/ 750874 h 2005672"/>
                <a:gd name="connsiteX258" fmla="*/ 3477390 w 4011346"/>
                <a:gd name="connsiteY258" fmla="*/ 724177 h 2005672"/>
                <a:gd name="connsiteX259" fmla="*/ 3477390 w 4011346"/>
                <a:gd name="connsiteY259" fmla="*/ 704153 h 2005672"/>
                <a:gd name="connsiteX260" fmla="*/ 3504088 w 4011346"/>
                <a:gd name="connsiteY260" fmla="*/ 684130 h 2005672"/>
                <a:gd name="connsiteX261" fmla="*/ 3467379 w 4011346"/>
                <a:gd name="connsiteY261" fmla="*/ 670781 h 2005672"/>
                <a:gd name="connsiteX262" fmla="*/ 3450692 w 4011346"/>
                <a:gd name="connsiteY262" fmla="*/ 697479 h 2005672"/>
                <a:gd name="connsiteX263" fmla="*/ 3440681 w 4011346"/>
                <a:gd name="connsiteY263" fmla="*/ 710828 h 2005672"/>
                <a:gd name="connsiteX264" fmla="*/ 3357250 w 4011346"/>
                <a:gd name="connsiteY264" fmla="*/ 697479 h 2005672"/>
                <a:gd name="connsiteX265" fmla="*/ 3297180 w 4011346"/>
                <a:gd name="connsiteY265" fmla="*/ 704153 h 2005672"/>
                <a:gd name="connsiteX266" fmla="*/ 3267145 w 4011346"/>
                <a:gd name="connsiteY266" fmla="*/ 680793 h 2005672"/>
                <a:gd name="connsiteX267" fmla="*/ 3267145 w 4011346"/>
                <a:gd name="connsiteY267" fmla="*/ 644083 h 2005672"/>
                <a:gd name="connsiteX268" fmla="*/ 3203738 w 4011346"/>
                <a:gd name="connsiteY268" fmla="*/ 587350 h 2005672"/>
                <a:gd name="connsiteX269" fmla="*/ 3076923 w 4011346"/>
                <a:gd name="connsiteY269" fmla="*/ 594025 h 2005672"/>
                <a:gd name="connsiteX270" fmla="*/ 3043551 w 4011346"/>
                <a:gd name="connsiteY270" fmla="*/ 570664 h 2005672"/>
                <a:gd name="connsiteX271" fmla="*/ 3000167 w 4011346"/>
                <a:gd name="connsiteY271" fmla="*/ 523943 h 2005672"/>
                <a:gd name="connsiteX272" fmla="*/ 3013516 w 4011346"/>
                <a:gd name="connsiteY272" fmla="*/ 517269 h 2005672"/>
                <a:gd name="connsiteX273" fmla="*/ 3000167 w 4011346"/>
                <a:gd name="connsiteY273" fmla="*/ 497245 h 2005672"/>
                <a:gd name="connsiteX274" fmla="*/ 2970132 w 4011346"/>
                <a:gd name="connsiteY274" fmla="*/ 493908 h 2005672"/>
                <a:gd name="connsiteX275" fmla="*/ 2920073 w 4011346"/>
                <a:gd name="connsiteY275" fmla="*/ 540629 h 2005672"/>
                <a:gd name="connsiteX276" fmla="*/ 2920073 w 4011346"/>
                <a:gd name="connsiteY276" fmla="*/ 540629 h 2005672"/>
                <a:gd name="connsiteX277" fmla="*/ 2916736 w 4011346"/>
                <a:gd name="connsiteY277" fmla="*/ 490571 h 2005672"/>
                <a:gd name="connsiteX278" fmla="*/ 2936760 w 4011346"/>
                <a:gd name="connsiteY278" fmla="*/ 487234 h 2005672"/>
                <a:gd name="connsiteX279" fmla="*/ 2866678 w 4011346"/>
                <a:gd name="connsiteY279" fmla="*/ 457199 h 2005672"/>
                <a:gd name="connsiteX280" fmla="*/ 2813282 w 4011346"/>
                <a:gd name="connsiteY280" fmla="*/ 453861 h 2005672"/>
                <a:gd name="connsiteX281" fmla="*/ 2793259 w 4011346"/>
                <a:gd name="connsiteY281" fmla="*/ 477222 h 2005672"/>
                <a:gd name="connsiteX282" fmla="*/ 2743200 w 4011346"/>
                <a:gd name="connsiteY282" fmla="*/ 487234 h 2005672"/>
                <a:gd name="connsiteX283" fmla="*/ 2786584 w 4011346"/>
                <a:gd name="connsiteY283" fmla="*/ 497245 h 2005672"/>
                <a:gd name="connsiteX284" fmla="*/ 2763224 w 4011346"/>
                <a:gd name="connsiteY284" fmla="*/ 517269 h 2005672"/>
                <a:gd name="connsiteX285" fmla="*/ 2769898 w 4011346"/>
                <a:gd name="connsiteY285" fmla="*/ 567327 h 2005672"/>
                <a:gd name="connsiteX286" fmla="*/ 2749875 w 4011346"/>
                <a:gd name="connsiteY286" fmla="*/ 550641 h 2005672"/>
                <a:gd name="connsiteX287" fmla="*/ 2733189 w 4011346"/>
                <a:gd name="connsiteY287" fmla="*/ 563990 h 2005672"/>
                <a:gd name="connsiteX288" fmla="*/ 2666444 w 4011346"/>
                <a:gd name="connsiteY288" fmla="*/ 553978 h 2005672"/>
                <a:gd name="connsiteX289" fmla="*/ 2636409 w 4011346"/>
                <a:gd name="connsiteY289" fmla="*/ 563990 h 2005672"/>
                <a:gd name="connsiteX290" fmla="*/ 2603037 w 4011346"/>
                <a:gd name="connsiteY290" fmla="*/ 523943 h 2005672"/>
                <a:gd name="connsiteX291" fmla="*/ 2569665 w 4011346"/>
                <a:gd name="connsiteY291" fmla="*/ 607374 h 2005672"/>
                <a:gd name="connsiteX292" fmla="*/ 2552979 w 4011346"/>
                <a:gd name="connsiteY292" fmla="*/ 627397 h 2005672"/>
                <a:gd name="connsiteX293" fmla="*/ 2469548 w 4011346"/>
                <a:gd name="connsiteY293" fmla="*/ 490571 h 2005672"/>
                <a:gd name="connsiteX294" fmla="*/ 2446187 w 4011346"/>
                <a:gd name="connsiteY294" fmla="*/ 507257 h 2005672"/>
                <a:gd name="connsiteX295" fmla="*/ 2442850 w 4011346"/>
                <a:gd name="connsiteY295" fmla="*/ 473885 h 2005672"/>
                <a:gd name="connsiteX296" fmla="*/ 2449525 w 4011346"/>
                <a:gd name="connsiteY296" fmla="*/ 403803 h 2005672"/>
                <a:gd name="connsiteX297" fmla="*/ 2386117 w 4011346"/>
                <a:gd name="connsiteY297" fmla="*/ 377105 h 2005672"/>
                <a:gd name="connsiteX298" fmla="*/ 2369431 w 4011346"/>
                <a:gd name="connsiteY298" fmla="*/ 417152 h 2005672"/>
                <a:gd name="connsiteX299" fmla="*/ 2379443 w 4011346"/>
                <a:gd name="connsiteY299" fmla="*/ 440512 h 2005672"/>
                <a:gd name="connsiteX300" fmla="*/ 2376106 w 4011346"/>
                <a:gd name="connsiteY300" fmla="*/ 460536 h 2005672"/>
                <a:gd name="connsiteX301" fmla="*/ 2352745 w 4011346"/>
                <a:gd name="connsiteY301" fmla="*/ 437175 h 2005672"/>
                <a:gd name="connsiteX302" fmla="*/ 2316036 w 4011346"/>
                <a:gd name="connsiteY302" fmla="*/ 443850 h 2005672"/>
                <a:gd name="connsiteX303" fmla="*/ 2272652 w 4011346"/>
                <a:gd name="connsiteY303" fmla="*/ 430501 h 2005672"/>
                <a:gd name="connsiteX304" fmla="*/ 2245954 w 4011346"/>
                <a:gd name="connsiteY304" fmla="*/ 390454 h 2005672"/>
                <a:gd name="connsiteX305" fmla="*/ 2209244 w 4011346"/>
                <a:gd name="connsiteY305" fmla="*/ 387117 h 2005672"/>
                <a:gd name="connsiteX306" fmla="*/ 2159186 w 4011346"/>
                <a:gd name="connsiteY306" fmla="*/ 377105 h 2005672"/>
                <a:gd name="connsiteX307" fmla="*/ 2132488 w 4011346"/>
                <a:gd name="connsiteY307" fmla="*/ 393791 h 2005672"/>
                <a:gd name="connsiteX308" fmla="*/ 2115802 w 4011346"/>
                <a:gd name="connsiteY308" fmla="*/ 407140 h 2005672"/>
                <a:gd name="connsiteX309" fmla="*/ 2115802 w 4011346"/>
                <a:gd name="connsiteY309" fmla="*/ 377105 h 2005672"/>
                <a:gd name="connsiteX310" fmla="*/ 2082430 w 4011346"/>
                <a:gd name="connsiteY310" fmla="*/ 373768 h 2005672"/>
                <a:gd name="connsiteX311" fmla="*/ 2045720 w 4011346"/>
                <a:gd name="connsiteY311" fmla="*/ 347070 h 2005672"/>
                <a:gd name="connsiteX312" fmla="*/ 2025697 w 4011346"/>
                <a:gd name="connsiteY312" fmla="*/ 377105 h 2005672"/>
                <a:gd name="connsiteX313" fmla="*/ 2055732 w 4011346"/>
                <a:gd name="connsiteY313" fmla="*/ 373768 h 2005672"/>
                <a:gd name="connsiteX314" fmla="*/ 2045720 w 4011346"/>
                <a:gd name="connsiteY314" fmla="*/ 400466 h 2005672"/>
                <a:gd name="connsiteX315" fmla="*/ 1988987 w 4011346"/>
                <a:gd name="connsiteY315" fmla="*/ 420489 h 2005672"/>
                <a:gd name="connsiteX316" fmla="*/ 1935592 w 4011346"/>
                <a:gd name="connsiteY316" fmla="*/ 430501 h 2005672"/>
                <a:gd name="connsiteX317" fmla="*/ 1995662 w 4011346"/>
                <a:gd name="connsiteY317" fmla="*/ 373768 h 2005672"/>
                <a:gd name="connsiteX318" fmla="*/ 2055732 w 4011346"/>
                <a:gd name="connsiteY318" fmla="*/ 303686 h 2005672"/>
                <a:gd name="connsiteX319" fmla="*/ 2055732 w 4011346"/>
                <a:gd name="connsiteY319" fmla="*/ 303686 h 2005672"/>
                <a:gd name="connsiteX320" fmla="*/ 1888870 w 4011346"/>
                <a:gd name="connsiteY320" fmla="*/ 0 h 2005672"/>
                <a:gd name="connsiteX321" fmla="*/ 1835474 w 4011346"/>
                <a:gd name="connsiteY321" fmla="*/ 26698 h 2005672"/>
                <a:gd name="connsiteX322" fmla="*/ 1838812 w 4011346"/>
                <a:gd name="connsiteY322" fmla="*/ 60070 h 2005672"/>
                <a:gd name="connsiteX323" fmla="*/ 1838813 w 4011346"/>
                <a:gd name="connsiteY323" fmla="*/ 120139 h 2005672"/>
                <a:gd name="connsiteX324" fmla="*/ 1782079 w 4011346"/>
                <a:gd name="connsiteY324" fmla="*/ 106790 h 2005672"/>
                <a:gd name="connsiteX325" fmla="*/ 1768731 w 4011346"/>
                <a:gd name="connsiteY325" fmla="*/ 153512 h 2005672"/>
                <a:gd name="connsiteX326" fmla="*/ 1705322 w 4011346"/>
                <a:gd name="connsiteY326" fmla="*/ 176872 h 2005672"/>
                <a:gd name="connsiteX327" fmla="*/ 1685300 w 4011346"/>
                <a:gd name="connsiteY327" fmla="*/ 150174 h 2005672"/>
                <a:gd name="connsiteX328" fmla="*/ 1615218 w 4011346"/>
                <a:gd name="connsiteY328" fmla="*/ 153512 h 2005672"/>
                <a:gd name="connsiteX329" fmla="*/ 1638579 w 4011346"/>
                <a:gd name="connsiteY329" fmla="*/ 183547 h 2005672"/>
                <a:gd name="connsiteX330" fmla="*/ 1528449 w 4011346"/>
                <a:gd name="connsiteY330" fmla="*/ 210243 h 2005672"/>
                <a:gd name="connsiteX331" fmla="*/ 1465043 w 4011346"/>
                <a:gd name="connsiteY331" fmla="*/ 293674 h 2005672"/>
                <a:gd name="connsiteX332" fmla="*/ 1448357 w 4011346"/>
                <a:gd name="connsiteY332" fmla="*/ 320372 h 2005672"/>
                <a:gd name="connsiteX333" fmla="*/ 1481729 w 4011346"/>
                <a:gd name="connsiteY333" fmla="*/ 353745 h 2005672"/>
                <a:gd name="connsiteX334" fmla="*/ 1481729 w 4011346"/>
                <a:gd name="connsiteY334" fmla="*/ 383780 h 2005672"/>
                <a:gd name="connsiteX335" fmla="*/ 1458368 w 4011346"/>
                <a:gd name="connsiteY335" fmla="*/ 387117 h 2005672"/>
                <a:gd name="connsiteX336" fmla="*/ 1458368 w 4011346"/>
                <a:gd name="connsiteY336" fmla="*/ 367093 h 2005672"/>
                <a:gd name="connsiteX337" fmla="*/ 1418322 w 4011346"/>
                <a:gd name="connsiteY337" fmla="*/ 377105 h 2005672"/>
                <a:gd name="connsiteX338" fmla="*/ 1368263 w 4011346"/>
                <a:gd name="connsiteY338" fmla="*/ 383780 h 2005672"/>
                <a:gd name="connsiteX339" fmla="*/ 1321542 w 4011346"/>
                <a:gd name="connsiteY339" fmla="*/ 390454 h 2005672"/>
                <a:gd name="connsiteX340" fmla="*/ 1318205 w 4011346"/>
                <a:gd name="connsiteY340" fmla="*/ 477222 h 2005672"/>
                <a:gd name="connsiteX341" fmla="*/ 1358252 w 4011346"/>
                <a:gd name="connsiteY341" fmla="*/ 500583 h 2005672"/>
                <a:gd name="connsiteX342" fmla="*/ 1374938 w 4011346"/>
                <a:gd name="connsiteY342" fmla="*/ 530618 h 2005672"/>
                <a:gd name="connsiteX343" fmla="*/ 1384949 w 4011346"/>
                <a:gd name="connsiteY343" fmla="*/ 553978 h 2005672"/>
                <a:gd name="connsiteX344" fmla="*/ 1394961 w 4011346"/>
                <a:gd name="connsiteY344" fmla="*/ 604037 h 2005672"/>
                <a:gd name="connsiteX345" fmla="*/ 1384949 w 4011346"/>
                <a:gd name="connsiteY345" fmla="*/ 634072 h 2005672"/>
                <a:gd name="connsiteX346" fmla="*/ 1358252 w 4011346"/>
                <a:gd name="connsiteY346" fmla="*/ 600699 h 2005672"/>
                <a:gd name="connsiteX347" fmla="*/ 1361589 w 4011346"/>
                <a:gd name="connsiteY347" fmla="*/ 570664 h 2005672"/>
                <a:gd name="connsiteX348" fmla="*/ 1351577 w 4011346"/>
                <a:gd name="connsiteY348" fmla="*/ 530618 h 2005672"/>
                <a:gd name="connsiteX349" fmla="*/ 1328217 w 4011346"/>
                <a:gd name="connsiteY349" fmla="*/ 537292 h 2005672"/>
                <a:gd name="connsiteX350" fmla="*/ 1281495 w 4011346"/>
                <a:gd name="connsiteY350" fmla="*/ 500583 h 2005672"/>
                <a:gd name="connsiteX351" fmla="*/ 1241449 w 4011346"/>
                <a:gd name="connsiteY351" fmla="*/ 497245 h 2005672"/>
                <a:gd name="connsiteX352" fmla="*/ 1241449 w 4011346"/>
                <a:gd name="connsiteY352" fmla="*/ 543966 h 2005672"/>
                <a:gd name="connsiteX353" fmla="*/ 1201402 w 4011346"/>
                <a:gd name="connsiteY353" fmla="*/ 523943 h 2005672"/>
                <a:gd name="connsiteX354" fmla="*/ 1228100 w 4011346"/>
                <a:gd name="connsiteY354" fmla="*/ 574001 h 2005672"/>
                <a:gd name="connsiteX355" fmla="*/ 1258135 w 4011346"/>
                <a:gd name="connsiteY355" fmla="*/ 584013 h 2005672"/>
                <a:gd name="connsiteX356" fmla="*/ 1258135 w 4011346"/>
                <a:gd name="connsiteY356" fmla="*/ 604037 h 2005672"/>
                <a:gd name="connsiteX357" fmla="*/ 1198065 w 4011346"/>
                <a:gd name="connsiteY357" fmla="*/ 580676 h 2005672"/>
                <a:gd name="connsiteX358" fmla="*/ 1181379 w 4011346"/>
                <a:gd name="connsiteY358" fmla="*/ 580676 h 2005672"/>
                <a:gd name="connsiteX359" fmla="*/ 1178041 w 4011346"/>
                <a:gd name="connsiteY359" fmla="*/ 537292 h 2005672"/>
                <a:gd name="connsiteX360" fmla="*/ 1171367 w 4011346"/>
                <a:gd name="connsiteY360" fmla="*/ 450524 h 2005672"/>
                <a:gd name="connsiteX361" fmla="*/ 1161355 w 4011346"/>
                <a:gd name="connsiteY361" fmla="*/ 520606 h 2005672"/>
                <a:gd name="connsiteX362" fmla="*/ 1137995 w 4011346"/>
                <a:gd name="connsiteY362" fmla="*/ 550641 h 2005672"/>
                <a:gd name="connsiteX363" fmla="*/ 1158018 w 4011346"/>
                <a:gd name="connsiteY363" fmla="*/ 597362 h 2005672"/>
                <a:gd name="connsiteX364" fmla="*/ 1158018 w 4011346"/>
                <a:gd name="connsiteY364" fmla="*/ 630734 h 2005672"/>
                <a:gd name="connsiteX365" fmla="*/ 1141332 w 4011346"/>
                <a:gd name="connsiteY365" fmla="*/ 680793 h 2005672"/>
                <a:gd name="connsiteX366" fmla="*/ 1154681 w 4011346"/>
                <a:gd name="connsiteY366" fmla="*/ 714165 h 2005672"/>
                <a:gd name="connsiteX367" fmla="*/ 1184716 w 4011346"/>
                <a:gd name="connsiteY367" fmla="*/ 720839 h 2005672"/>
                <a:gd name="connsiteX368" fmla="*/ 1221425 w 4011346"/>
                <a:gd name="connsiteY368" fmla="*/ 727514 h 2005672"/>
                <a:gd name="connsiteX369" fmla="*/ 1241449 w 4011346"/>
                <a:gd name="connsiteY369" fmla="*/ 750874 h 2005672"/>
                <a:gd name="connsiteX370" fmla="*/ 1258135 w 4011346"/>
                <a:gd name="connsiteY370" fmla="*/ 794258 h 2005672"/>
                <a:gd name="connsiteX371" fmla="*/ 1258135 w 4011346"/>
                <a:gd name="connsiteY371" fmla="*/ 794258 h 2005672"/>
                <a:gd name="connsiteX372" fmla="*/ 1254798 w 4011346"/>
                <a:gd name="connsiteY372" fmla="*/ 827631 h 2005672"/>
                <a:gd name="connsiteX373" fmla="*/ 1274821 w 4011346"/>
                <a:gd name="connsiteY373" fmla="*/ 847654 h 2005672"/>
                <a:gd name="connsiteX374" fmla="*/ 1244786 w 4011346"/>
                <a:gd name="connsiteY374" fmla="*/ 854329 h 2005672"/>
                <a:gd name="connsiteX375" fmla="*/ 1224763 w 4011346"/>
                <a:gd name="connsiteY375" fmla="*/ 814282 h 2005672"/>
                <a:gd name="connsiteX376" fmla="*/ 1224763 w 4011346"/>
                <a:gd name="connsiteY376" fmla="*/ 774235 h 2005672"/>
                <a:gd name="connsiteX377" fmla="*/ 1194727 w 4011346"/>
                <a:gd name="connsiteY377" fmla="*/ 737526 h 2005672"/>
                <a:gd name="connsiteX378" fmla="*/ 1164692 w 4011346"/>
                <a:gd name="connsiteY378" fmla="*/ 780910 h 2005672"/>
                <a:gd name="connsiteX379" fmla="*/ 1178041 w 4011346"/>
                <a:gd name="connsiteY379" fmla="*/ 824293 h 2005672"/>
                <a:gd name="connsiteX380" fmla="*/ 1137995 w 4011346"/>
                <a:gd name="connsiteY380" fmla="*/ 881026 h 2005672"/>
                <a:gd name="connsiteX381" fmla="*/ 1097948 w 4011346"/>
                <a:gd name="connsiteY381" fmla="*/ 937759 h 2005672"/>
                <a:gd name="connsiteX382" fmla="*/ 1007843 w 4011346"/>
                <a:gd name="connsiteY382" fmla="*/ 901050 h 2005672"/>
                <a:gd name="connsiteX383" fmla="*/ 1074587 w 4011346"/>
                <a:gd name="connsiteY383" fmla="*/ 897712 h 2005672"/>
                <a:gd name="connsiteX384" fmla="*/ 1107960 w 4011346"/>
                <a:gd name="connsiteY384" fmla="*/ 834305 h 2005672"/>
                <a:gd name="connsiteX385" fmla="*/ 1121309 w 4011346"/>
                <a:gd name="connsiteY385" fmla="*/ 790921 h 2005672"/>
                <a:gd name="connsiteX386" fmla="*/ 1127983 w 4011346"/>
                <a:gd name="connsiteY386" fmla="*/ 757549 h 2005672"/>
                <a:gd name="connsiteX387" fmla="*/ 1117971 w 4011346"/>
                <a:gd name="connsiteY387" fmla="*/ 740863 h 2005672"/>
                <a:gd name="connsiteX388" fmla="*/ 1114634 w 4011346"/>
                <a:gd name="connsiteY388" fmla="*/ 690804 h 2005672"/>
                <a:gd name="connsiteX389" fmla="*/ 1104622 w 4011346"/>
                <a:gd name="connsiteY389" fmla="*/ 610711 h 2005672"/>
                <a:gd name="connsiteX390" fmla="*/ 1101285 w 4011346"/>
                <a:gd name="connsiteY390" fmla="*/ 550641 h 2005672"/>
                <a:gd name="connsiteX391" fmla="*/ 1124646 w 4011346"/>
                <a:gd name="connsiteY391" fmla="*/ 457199 h 2005672"/>
                <a:gd name="connsiteX392" fmla="*/ 1031203 w 4011346"/>
                <a:gd name="connsiteY392" fmla="*/ 447187 h 2005672"/>
                <a:gd name="connsiteX393" fmla="*/ 1014517 w 4011346"/>
                <a:gd name="connsiteY393" fmla="*/ 503920 h 2005672"/>
                <a:gd name="connsiteX394" fmla="*/ 1024529 w 4011346"/>
                <a:gd name="connsiteY394" fmla="*/ 550641 h 2005672"/>
                <a:gd name="connsiteX395" fmla="*/ 981145 w 4011346"/>
                <a:gd name="connsiteY395" fmla="*/ 604037 h 2005672"/>
                <a:gd name="connsiteX396" fmla="*/ 991157 w 4011346"/>
                <a:gd name="connsiteY396" fmla="*/ 640746 h 2005672"/>
                <a:gd name="connsiteX397" fmla="*/ 981145 w 4011346"/>
                <a:gd name="connsiteY397" fmla="*/ 687467 h 2005672"/>
                <a:gd name="connsiteX398" fmla="*/ 1001168 w 4011346"/>
                <a:gd name="connsiteY398" fmla="*/ 710828 h 2005672"/>
                <a:gd name="connsiteX399" fmla="*/ 1017854 w 4011346"/>
                <a:gd name="connsiteY399" fmla="*/ 757549 h 2005672"/>
                <a:gd name="connsiteX400" fmla="*/ 1047890 w 4011346"/>
                <a:gd name="connsiteY400" fmla="*/ 744200 h 2005672"/>
                <a:gd name="connsiteX401" fmla="*/ 1014517 w 4011346"/>
                <a:gd name="connsiteY401" fmla="*/ 797596 h 2005672"/>
                <a:gd name="connsiteX402" fmla="*/ 957784 w 4011346"/>
                <a:gd name="connsiteY402" fmla="*/ 744200 h 2005672"/>
                <a:gd name="connsiteX403" fmla="*/ 884365 w 4011346"/>
                <a:gd name="connsiteY403" fmla="*/ 707491 h 2005672"/>
                <a:gd name="connsiteX404" fmla="*/ 824295 w 4011346"/>
                <a:gd name="connsiteY404" fmla="*/ 684130 h 2005672"/>
                <a:gd name="connsiteX405" fmla="*/ 810946 w 4011346"/>
                <a:gd name="connsiteY405" fmla="*/ 720839 h 2005672"/>
                <a:gd name="connsiteX406" fmla="*/ 827633 w 4011346"/>
                <a:gd name="connsiteY406" fmla="*/ 757549 h 2005672"/>
                <a:gd name="connsiteX407" fmla="*/ 814284 w 4011346"/>
                <a:gd name="connsiteY407" fmla="*/ 780910 h 2005672"/>
                <a:gd name="connsiteX408" fmla="*/ 800935 w 4011346"/>
                <a:gd name="connsiteY408" fmla="*/ 797596 h 2005672"/>
                <a:gd name="connsiteX409" fmla="*/ 770900 w 4011346"/>
                <a:gd name="connsiteY409" fmla="*/ 740863 h 2005672"/>
                <a:gd name="connsiteX410" fmla="*/ 744202 w 4011346"/>
                <a:gd name="connsiteY410" fmla="*/ 777572 h 2005672"/>
                <a:gd name="connsiteX411" fmla="*/ 707492 w 4011346"/>
                <a:gd name="connsiteY411" fmla="*/ 770898 h 2005672"/>
                <a:gd name="connsiteX412" fmla="*/ 654097 w 4011346"/>
                <a:gd name="connsiteY412" fmla="*/ 807607 h 2005672"/>
                <a:gd name="connsiteX413" fmla="*/ 644085 w 4011346"/>
                <a:gd name="connsiteY413" fmla="*/ 784247 h 2005672"/>
                <a:gd name="connsiteX414" fmla="*/ 654097 w 4011346"/>
                <a:gd name="connsiteY414" fmla="*/ 747537 h 2005672"/>
                <a:gd name="connsiteX415" fmla="*/ 614050 w 4011346"/>
                <a:gd name="connsiteY415" fmla="*/ 784247 h 2005672"/>
                <a:gd name="connsiteX416" fmla="*/ 594027 w 4011346"/>
                <a:gd name="connsiteY416" fmla="*/ 784247 h 2005672"/>
                <a:gd name="connsiteX417" fmla="*/ 533957 w 4011346"/>
                <a:gd name="connsiteY417" fmla="*/ 817619 h 2005672"/>
                <a:gd name="connsiteX418" fmla="*/ 510596 w 4011346"/>
                <a:gd name="connsiteY418" fmla="*/ 840980 h 2005672"/>
                <a:gd name="connsiteX419" fmla="*/ 500584 w 4011346"/>
                <a:gd name="connsiteY419" fmla="*/ 887701 h 2005672"/>
                <a:gd name="connsiteX420" fmla="*/ 450526 w 4011346"/>
                <a:gd name="connsiteY420" fmla="*/ 874352 h 2005672"/>
                <a:gd name="connsiteX421" fmla="*/ 433840 w 4011346"/>
                <a:gd name="connsiteY421" fmla="*/ 837642 h 2005672"/>
                <a:gd name="connsiteX422" fmla="*/ 467212 w 4011346"/>
                <a:gd name="connsiteY422" fmla="*/ 807607 h 2005672"/>
                <a:gd name="connsiteX423" fmla="*/ 453863 w 4011346"/>
                <a:gd name="connsiteY423" fmla="*/ 784247 h 2005672"/>
                <a:gd name="connsiteX424" fmla="*/ 390456 w 4011346"/>
                <a:gd name="connsiteY424" fmla="*/ 754212 h 2005672"/>
                <a:gd name="connsiteX425" fmla="*/ 417154 w 4011346"/>
                <a:gd name="connsiteY425" fmla="*/ 804270 h 2005672"/>
                <a:gd name="connsiteX426" fmla="*/ 407142 w 4011346"/>
                <a:gd name="connsiteY426" fmla="*/ 847654 h 2005672"/>
                <a:gd name="connsiteX427" fmla="*/ 413817 w 4011346"/>
                <a:gd name="connsiteY427" fmla="*/ 884364 h 2005672"/>
                <a:gd name="connsiteX428" fmla="*/ 427165 w 4011346"/>
                <a:gd name="connsiteY428" fmla="*/ 907724 h 2005672"/>
                <a:gd name="connsiteX429" fmla="*/ 413817 w 4011346"/>
                <a:gd name="connsiteY429" fmla="*/ 937759 h 2005672"/>
                <a:gd name="connsiteX430" fmla="*/ 390456 w 4011346"/>
                <a:gd name="connsiteY430" fmla="*/ 914399 h 2005672"/>
                <a:gd name="connsiteX431" fmla="*/ 360421 w 4011346"/>
                <a:gd name="connsiteY431" fmla="*/ 911061 h 2005672"/>
                <a:gd name="connsiteX432" fmla="*/ 333723 w 4011346"/>
                <a:gd name="connsiteY432" fmla="*/ 951108 h 2005672"/>
                <a:gd name="connsiteX433" fmla="*/ 307025 w 4011346"/>
                <a:gd name="connsiteY433" fmla="*/ 971131 h 2005672"/>
                <a:gd name="connsiteX434" fmla="*/ 320374 w 4011346"/>
                <a:gd name="connsiteY434" fmla="*/ 997829 h 2005672"/>
                <a:gd name="connsiteX435" fmla="*/ 303688 w 4011346"/>
                <a:gd name="connsiteY435" fmla="*/ 1021190 h 2005672"/>
                <a:gd name="connsiteX436" fmla="*/ 233606 w 4011346"/>
                <a:gd name="connsiteY436" fmla="*/ 984480 h 2005672"/>
                <a:gd name="connsiteX437" fmla="*/ 243618 w 4011346"/>
                <a:gd name="connsiteY437" fmla="*/ 1034539 h 2005672"/>
                <a:gd name="connsiteX438" fmla="*/ 263641 w 4011346"/>
                <a:gd name="connsiteY438" fmla="*/ 1054562 h 2005672"/>
                <a:gd name="connsiteX439" fmla="*/ 250292 w 4011346"/>
                <a:gd name="connsiteY439" fmla="*/ 1067911 h 2005672"/>
                <a:gd name="connsiteX440" fmla="*/ 193560 w 4011346"/>
                <a:gd name="connsiteY440" fmla="*/ 1031201 h 2005672"/>
                <a:gd name="connsiteX441" fmla="*/ 170199 w 4011346"/>
                <a:gd name="connsiteY441" fmla="*/ 991155 h 2005672"/>
                <a:gd name="connsiteX442" fmla="*/ 170199 w 4011346"/>
                <a:gd name="connsiteY442" fmla="*/ 944434 h 2005672"/>
                <a:gd name="connsiteX443" fmla="*/ 133490 w 4011346"/>
                <a:gd name="connsiteY443" fmla="*/ 867677 h 2005672"/>
                <a:gd name="connsiteX444" fmla="*/ 196897 w 4011346"/>
                <a:gd name="connsiteY444" fmla="*/ 897712 h 2005672"/>
                <a:gd name="connsiteX445" fmla="*/ 256967 w 4011346"/>
                <a:gd name="connsiteY445" fmla="*/ 927747 h 2005672"/>
                <a:gd name="connsiteX446" fmla="*/ 293676 w 4011346"/>
                <a:gd name="connsiteY446" fmla="*/ 931085 h 2005672"/>
                <a:gd name="connsiteX447" fmla="*/ 327049 w 4011346"/>
                <a:gd name="connsiteY447" fmla="*/ 901050 h 2005672"/>
                <a:gd name="connsiteX448" fmla="*/ 343735 w 4011346"/>
                <a:gd name="connsiteY448" fmla="*/ 864340 h 2005672"/>
                <a:gd name="connsiteX449" fmla="*/ 333723 w 4011346"/>
                <a:gd name="connsiteY449" fmla="*/ 814282 h 2005672"/>
                <a:gd name="connsiteX450" fmla="*/ 290339 w 4011346"/>
                <a:gd name="connsiteY450" fmla="*/ 794258 h 2005672"/>
                <a:gd name="connsiteX451" fmla="*/ 236944 w 4011346"/>
                <a:gd name="connsiteY451" fmla="*/ 747537 h 2005672"/>
                <a:gd name="connsiteX452" fmla="*/ 133490 w 4011346"/>
                <a:gd name="connsiteY452" fmla="*/ 690804 h 2005672"/>
                <a:gd name="connsiteX0" fmla="*/ 133490 w 4011346"/>
                <a:gd name="connsiteY0" fmla="*/ 690804 h 2005672"/>
                <a:gd name="connsiteX1" fmla="*/ 46722 w 4011346"/>
                <a:gd name="connsiteY1" fmla="*/ 720839 h 2005672"/>
                <a:gd name="connsiteX2" fmla="*/ 33373 w 4011346"/>
                <a:gd name="connsiteY2" fmla="*/ 750874 h 2005672"/>
                <a:gd name="connsiteX3" fmla="*/ 43384 w 4011346"/>
                <a:gd name="connsiteY3" fmla="*/ 780910 h 2005672"/>
                <a:gd name="connsiteX4" fmla="*/ 60071 w 4011346"/>
                <a:gd name="connsiteY4" fmla="*/ 807607 h 2005672"/>
                <a:gd name="connsiteX5" fmla="*/ 73419 w 4011346"/>
                <a:gd name="connsiteY5" fmla="*/ 837642 h 2005672"/>
                <a:gd name="connsiteX6" fmla="*/ 56733 w 4011346"/>
                <a:gd name="connsiteY6" fmla="*/ 861003 h 2005672"/>
                <a:gd name="connsiteX7" fmla="*/ 76757 w 4011346"/>
                <a:gd name="connsiteY7" fmla="*/ 941096 h 2005672"/>
                <a:gd name="connsiteX8" fmla="*/ 66745 w 4011346"/>
                <a:gd name="connsiteY8" fmla="*/ 957783 h 2005672"/>
                <a:gd name="connsiteX9" fmla="*/ 70082 w 4011346"/>
                <a:gd name="connsiteY9" fmla="*/ 984480 h 2005672"/>
                <a:gd name="connsiteX10" fmla="*/ 70082 w 4011346"/>
                <a:gd name="connsiteY10" fmla="*/ 1024527 h 2005672"/>
                <a:gd name="connsiteX11" fmla="*/ 80094 w 4011346"/>
                <a:gd name="connsiteY11" fmla="*/ 1044550 h 2005672"/>
                <a:gd name="connsiteX12" fmla="*/ 76757 w 4011346"/>
                <a:gd name="connsiteY12" fmla="*/ 1067911 h 2005672"/>
                <a:gd name="connsiteX13" fmla="*/ 106792 w 4011346"/>
                <a:gd name="connsiteY13" fmla="*/ 1101283 h 2005672"/>
                <a:gd name="connsiteX14" fmla="*/ 106792 w 4011346"/>
                <a:gd name="connsiteY14" fmla="*/ 1131318 h 2005672"/>
                <a:gd name="connsiteX15" fmla="*/ 13349 w 4011346"/>
                <a:gd name="connsiteY15" fmla="*/ 1221423 h 2005672"/>
                <a:gd name="connsiteX16" fmla="*/ 33373 w 4011346"/>
                <a:gd name="connsiteY16" fmla="*/ 1254796 h 2005672"/>
                <a:gd name="connsiteX17" fmla="*/ 33373 w 4011346"/>
                <a:gd name="connsiteY17" fmla="*/ 1254796 h 2005672"/>
                <a:gd name="connsiteX18" fmla="*/ 16687 w 4011346"/>
                <a:gd name="connsiteY18" fmla="*/ 1284831 h 2005672"/>
                <a:gd name="connsiteX19" fmla="*/ 3338 w 4011346"/>
                <a:gd name="connsiteY19" fmla="*/ 1314866 h 2005672"/>
                <a:gd name="connsiteX20" fmla="*/ 0 w 4011346"/>
                <a:gd name="connsiteY20" fmla="*/ 1374936 h 2005672"/>
                <a:gd name="connsiteX21" fmla="*/ 16687 w 4011346"/>
                <a:gd name="connsiteY21" fmla="*/ 1418320 h 2005672"/>
                <a:gd name="connsiteX22" fmla="*/ 20024 w 4011346"/>
                <a:gd name="connsiteY22" fmla="*/ 1451692 h 2005672"/>
                <a:gd name="connsiteX23" fmla="*/ 56733 w 4011346"/>
                <a:gd name="connsiteY23" fmla="*/ 1461704 h 2005672"/>
                <a:gd name="connsiteX24" fmla="*/ 116803 w 4011346"/>
                <a:gd name="connsiteY24" fmla="*/ 1548472 h 2005672"/>
                <a:gd name="connsiteX25" fmla="*/ 96780 w 4011346"/>
                <a:gd name="connsiteY25" fmla="*/ 1571832 h 2005672"/>
                <a:gd name="connsiteX26" fmla="*/ 93443 w 4011346"/>
                <a:gd name="connsiteY26" fmla="*/ 1601867 h 2005672"/>
                <a:gd name="connsiteX27" fmla="*/ 120141 w 4011346"/>
                <a:gd name="connsiteY27" fmla="*/ 1605204 h 2005672"/>
                <a:gd name="connsiteX28" fmla="*/ 160187 w 4011346"/>
                <a:gd name="connsiteY28" fmla="*/ 1618553 h 2005672"/>
                <a:gd name="connsiteX29" fmla="*/ 186885 w 4011346"/>
                <a:gd name="connsiteY29" fmla="*/ 1631902 h 2005672"/>
                <a:gd name="connsiteX30" fmla="*/ 213583 w 4011346"/>
                <a:gd name="connsiteY30" fmla="*/ 1661937 h 2005672"/>
                <a:gd name="connsiteX31" fmla="*/ 243618 w 4011346"/>
                <a:gd name="connsiteY31" fmla="*/ 1665274 h 2005672"/>
                <a:gd name="connsiteX32" fmla="*/ 287002 w 4011346"/>
                <a:gd name="connsiteY32" fmla="*/ 1695310 h 2005672"/>
                <a:gd name="connsiteX33" fmla="*/ 310363 w 4011346"/>
                <a:gd name="connsiteY33" fmla="*/ 1705321 h 2005672"/>
                <a:gd name="connsiteX34" fmla="*/ 310363 w 4011346"/>
                <a:gd name="connsiteY34" fmla="*/ 1742031 h 2005672"/>
                <a:gd name="connsiteX35" fmla="*/ 270316 w 4011346"/>
                <a:gd name="connsiteY35" fmla="*/ 1782077 h 2005672"/>
                <a:gd name="connsiteX36" fmla="*/ 280327 w 4011346"/>
                <a:gd name="connsiteY36" fmla="*/ 1805438 h 2005672"/>
                <a:gd name="connsiteX37" fmla="*/ 273653 w 4011346"/>
                <a:gd name="connsiteY37" fmla="*/ 1825461 h 2005672"/>
                <a:gd name="connsiteX38" fmla="*/ 266979 w 4011346"/>
                <a:gd name="connsiteY38" fmla="*/ 1842147 h 2005672"/>
                <a:gd name="connsiteX39" fmla="*/ 240281 w 4011346"/>
                <a:gd name="connsiteY39" fmla="*/ 1882194 h 2005672"/>
                <a:gd name="connsiteX40" fmla="*/ 307025 w 4011346"/>
                <a:gd name="connsiteY40" fmla="*/ 1918904 h 2005672"/>
                <a:gd name="connsiteX41" fmla="*/ 337060 w 4011346"/>
                <a:gd name="connsiteY41" fmla="*/ 1925578 h 2005672"/>
                <a:gd name="connsiteX42" fmla="*/ 360421 w 4011346"/>
                <a:gd name="connsiteY42" fmla="*/ 1932253 h 2005672"/>
                <a:gd name="connsiteX43" fmla="*/ 380444 w 4011346"/>
                <a:gd name="connsiteY43" fmla="*/ 1938927 h 2005672"/>
                <a:gd name="connsiteX44" fmla="*/ 407142 w 4011346"/>
                <a:gd name="connsiteY44" fmla="*/ 1958950 h 2005672"/>
                <a:gd name="connsiteX45" fmla="*/ 437177 w 4011346"/>
                <a:gd name="connsiteY45" fmla="*/ 1955613 h 2005672"/>
                <a:gd name="connsiteX46" fmla="*/ 507259 w 4011346"/>
                <a:gd name="connsiteY46" fmla="*/ 2005672 h 2005672"/>
                <a:gd name="connsiteX47" fmla="*/ 517271 w 4011346"/>
                <a:gd name="connsiteY47" fmla="*/ 1992323 h 2005672"/>
                <a:gd name="connsiteX48" fmla="*/ 507259 w 4011346"/>
                <a:gd name="connsiteY48" fmla="*/ 1952276 h 2005672"/>
                <a:gd name="connsiteX49" fmla="*/ 500584 w 4011346"/>
                <a:gd name="connsiteY49" fmla="*/ 1918904 h 2005672"/>
                <a:gd name="connsiteX50" fmla="*/ 483898 w 4011346"/>
                <a:gd name="connsiteY50" fmla="*/ 1875520 h 2005672"/>
                <a:gd name="connsiteX51" fmla="*/ 513933 w 4011346"/>
                <a:gd name="connsiteY51" fmla="*/ 1855496 h 2005672"/>
                <a:gd name="connsiteX52" fmla="*/ 547306 w 4011346"/>
                <a:gd name="connsiteY52" fmla="*/ 1832136 h 2005672"/>
                <a:gd name="connsiteX53" fmla="*/ 527282 w 4011346"/>
                <a:gd name="connsiteY53" fmla="*/ 1815450 h 2005672"/>
                <a:gd name="connsiteX54" fmla="*/ 517271 w 4011346"/>
                <a:gd name="connsiteY54" fmla="*/ 1782077 h 2005672"/>
                <a:gd name="connsiteX55" fmla="*/ 480561 w 4011346"/>
                <a:gd name="connsiteY55" fmla="*/ 1765391 h 2005672"/>
                <a:gd name="connsiteX56" fmla="*/ 470549 w 4011346"/>
                <a:gd name="connsiteY56" fmla="*/ 1745368 h 2005672"/>
                <a:gd name="connsiteX57" fmla="*/ 480561 w 4011346"/>
                <a:gd name="connsiteY57" fmla="*/ 1715333 h 2005672"/>
                <a:gd name="connsiteX58" fmla="*/ 490573 w 4011346"/>
                <a:gd name="connsiteY58" fmla="*/ 1675286 h 2005672"/>
                <a:gd name="connsiteX59" fmla="*/ 513933 w 4011346"/>
                <a:gd name="connsiteY59" fmla="*/ 1695310 h 2005672"/>
                <a:gd name="connsiteX60" fmla="*/ 520608 w 4011346"/>
                <a:gd name="connsiteY60" fmla="*/ 1678623 h 2005672"/>
                <a:gd name="connsiteX61" fmla="*/ 543968 w 4011346"/>
                <a:gd name="connsiteY61" fmla="*/ 1641914 h 2005672"/>
                <a:gd name="connsiteX62" fmla="*/ 574003 w 4011346"/>
                <a:gd name="connsiteY62" fmla="*/ 1625228 h 2005672"/>
                <a:gd name="connsiteX63" fmla="*/ 590690 w 4011346"/>
                <a:gd name="connsiteY63" fmla="*/ 1638577 h 2005672"/>
                <a:gd name="connsiteX64" fmla="*/ 610713 w 4011346"/>
                <a:gd name="connsiteY64" fmla="*/ 1611879 h 2005672"/>
                <a:gd name="connsiteX65" fmla="*/ 630736 w 4011346"/>
                <a:gd name="connsiteY65" fmla="*/ 1638577 h 2005672"/>
                <a:gd name="connsiteX66" fmla="*/ 657434 w 4011346"/>
                <a:gd name="connsiteY66" fmla="*/ 1661937 h 2005672"/>
                <a:gd name="connsiteX67" fmla="*/ 674120 w 4011346"/>
                <a:gd name="connsiteY67" fmla="*/ 1668612 h 2005672"/>
                <a:gd name="connsiteX68" fmla="*/ 697481 w 4011346"/>
                <a:gd name="connsiteY68" fmla="*/ 1668612 h 2005672"/>
                <a:gd name="connsiteX69" fmla="*/ 717504 w 4011346"/>
                <a:gd name="connsiteY69" fmla="*/ 1655263 h 2005672"/>
                <a:gd name="connsiteX70" fmla="*/ 744202 w 4011346"/>
                <a:gd name="connsiteY70" fmla="*/ 1655263 h 2005672"/>
                <a:gd name="connsiteX71" fmla="*/ 760888 w 4011346"/>
                <a:gd name="connsiteY71" fmla="*/ 1651926 h 2005672"/>
                <a:gd name="connsiteX72" fmla="*/ 790923 w 4011346"/>
                <a:gd name="connsiteY72" fmla="*/ 1685298 h 2005672"/>
                <a:gd name="connsiteX73" fmla="*/ 797598 w 4011346"/>
                <a:gd name="connsiteY73" fmla="*/ 1658600 h 2005672"/>
                <a:gd name="connsiteX74" fmla="*/ 817621 w 4011346"/>
                <a:gd name="connsiteY74" fmla="*/ 1675286 h 2005672"/>
                <a:gd name="connsiteX75" fmla="*/ 837644 w 4011346"/>
                <a:gd name="connsiteY75" fmla="*/ 1651926 h 2005672"/>
                <a:gd name="connsiteX76" fmla="*/ 827633 w 4011346"/>
                <a:gd name="connsiteY76" fmla="*/ 1631902 h 2005672"/>
                <a:gd name="connsiteX77" fmla="*/ 810946 w 4011346"/>
                <a:gd name="connsiteY77" fmla="*/ 1618553 h 2005672"/>
                <a:gd name="connsiteX78" fmla="*/ 810946 w 4011346"/>
                <a:gd name="connsiteY78" fmla="*/ 1591856 h 2005672"/>
                <a:gd name="connsiteX79" fmla="*/ 810946 w 4011346"/>
                <a:gd name="connsiteY79" fmla="*/ 1578507 h 2005672"/>
                <a:gd name="connsiteX80" fmla="*/ 830970 w 4011346"/>
                <a:gd name="connsiteY80" fmla="*/ 1575169 h 2005672"/>
                <a:gd name="connsiteX81" fmla="*/ 840981 w 4011346"/>
                <a:gd name="connsiteY81" fmla="*/ 1571832 h 2005672"/>
                <a:gd name="connsiteX82" fmla="*/ 820958 w 4011346"/>
                <a:gd name="connsiteY82" fmla="*/ 1535123 h 2005672"/>
                <a:gd name="connsiteX83" fmla="*/ 854330 w 4011346"/>
                <a:gd name="connsiteY83" fmla="*/ 1528448 h 2005672"/>
                <a:gd name="connsiteX84" fmla="*/ 891040 w 4011346"/>
                <a:gd name="connsiteY84" fmla="*/ 1535123 h 2005672"/>
                <a:gd name="connsiteX85" fmla="*/ 964459 w 4011346"/>
                <a:gd name="connsiteY85" fmla="*/ 1491739 h 2005672"/>
                <a:gd name="connsiteX86" fmla="*/ 1001168 w 4011346"/>
                <a:gd name="connsiteY86" fmla="*/ 1491739 h 2005672"/>
                <a:gd name="connsiteX87" fmla="*/ 1027866 w 4011346"/>
                <a:gd name="connsiteY87" fmla="*/ 1468378 h 2005672"/>
                <a:gd name="connsiteX88" fmla="*/ 1047890 w 4011346"/>
                <a:gd name="connsiteY88" fmla="*/ 1478390 h 2005672"/>
                <a:gd name="connsiteX89" fmla="*/ 1067913 w 4011346"/>
                <a:gd name="connsiteY89" fmla="*/ 1488401 h 2005672"/>
                <a:gd name="connsiteX90" fmla="*/ 1087936 w 4011346"/>
                <a:gd name="connsiteY90" fmla="*/ 1515099 h 2005672"/>
                <a:gd name="connsiteX91" fmla="*/ 1074587 w 4011346"/>
                <a:gd name="connsiteY91" fmla="*/ 1528448 h 2005672"/>
                <a:gd name="connsiteX92" fmla="*/ 1104622 w 4011346"/>
                <a:gd name="connsiteY92" fmla="*/ 1528448 h 2005672"/>
                <a:gd name="connsiteX93" fmla="*/ 1107960 w 4011346"/>
                <a:gd name="connsiteY93" fmla="*/ 1545134 h 2005672"/>
                <a:gd name="connsiteX94" fmla="*/ 1121309 w 4011346"/>
                <a:gd name="connsiteY94" fmla="*/ 1528448 h 2005672"/>
                <a:gd name="connsiteX95" fmla="*/ 1134657 w 4011346"/>
                <a:gd name="connsiteY95" fmla="*/ 1541797 h 2005672"/>
                <a:gd name="connsiteX96" fmla="*/ 1134657 w 4011346"/>
                <a:gd name="connsiteY96" fmla="*/ 1561820 h 2005672"/>
                <a:gd name="connsiteX97" fmla="*/ 1148006 w 4011346"/>
                <a:gd name="connsiteY97" fmla="*/ 1558483 h 2005672"/>
                <a:gd name="connsiteX98" fmla="*/ 1208076 w 4011346"/>
                <a:gd name="connsiteY98" fmla="*/ 1511762 h 2005672"/>
                <a:gd name="connsiteX99" fmla="*/ 1211414 w 4011346"/>
                <a:gd name="connsiteY99" fmla="*/ 1531785 h 2005672"/>
                <a:gd name="connsiteX100" fmla="*/ 1244786 w 4011346"/>
                <a:gd name="connsiteY100" fmla="*/ 1551809 h 2005672"/>
                <a:gd name="connsiteX101" fmla="*/ 1264809 w 4011346"/>
                <a:gd name="connsiteY101" fmla="*/ 1581844 h 2005672"/>
                <a:gd name="connsiteX102" fmla="*/ 1298181 w 4011346"/>
                <a:gd name="connsiteY102" fmla="*/ 1688635 h 2005672"/>
                <a:gd name="connsiteX103" fmla="*/ 1308193 w 4011346"/>
                <a:gd name="connsiteY103" fmla="*/ 1645251 h 2005672"/>
                <a:gd name="connsiteX104" fmla="*/ 1344903 w 4011346"/>
                <a:gd name="connsiteY104" fmla="*/ 1665274 h 2005672"/>
                <a:gd name="connsiteX105" fmla="*/ 1388287 w 4011346"/>
                <a:gd name="connsiteY105" fmla="*/ 1665274 h 2005672"/>
                <a:gd name="connsiteX106" fmla="*/ 1394961 w 4011346"/>
                <a:gd name="connsiteY106" fmla="*/ 1688635 h 2005672"/>
                <a:gd name="connsiteX107" fmla="*/ 1435008 w 4011346"/>
                <a:gd name="connsiteY107" fmla="*/ 1711996 h 2005672"/>
                <a:gd name="connsiteX108" fmla="*/ 1465043 w 4011346"/>
                <a:gd name="connsiteY108" fmla="*/ 1711996 h 2005672"/>
                <a:gd name="connsiteX109" fmla="*/ 1491741 w 4011346"/>
                <a:gd name="connsiteY109" fmla="*/ 1725345 h 2005672"/>
                <a:gd name="connsiteX110" fmla="*/ 1535125 w 4011346"/>
                <a:gd name="connsiteY110" fmla="*/ 1681961 h 2005672"/>
                <a:gd name="connsiteX111" fmla="*/ 1571834 w 4011346"/>
                <a:gd name="connsiteY111" fmla="*/ 1661937 h 2005672"/>
                <a:gd name="connsiteX112" fmla="*/ 1608544 w 4011346"/>
                <a:gd name="connsiteY112" fmla="*/ 1665274 h 2005672"/>
                <a:gd name="connsiteX113" fmla="*/ 1655265 w 4011346"/>
                <a:gd name="connsiteY113" fmla="*/ 1678623 h 2005672"/>
                <a:gd name="connsiteX114" fmla="*/ 1681963 w 4011346"/>
                <a:gd name="connsiteY114" fmla="*/ 1695310 h 2005672"/>
                <a:gd name="connsiteX115" fmla="*/ 1735358 w 4011346"/>
                <a:gd name="connsiteY115" fmla="*/ 1688635 h 2005672"/>
                <a:gd name="connsiteX116" fmla="*/ 1745370 w 4011346"/>
                <a:gd name="connsiteY116" fmla="*/ 1668612 h 2005672"/>
                <a:gd name="connsiteX117" fmla="*/ 1738695 w 4011346"/>
                <a:gd name="connsiteY117" fmla="*/ 1648588 h 2005672"/>
                <a:gd name="connsiteX118" fmla="*/ 1765393 w 4011346"/>
                <a:gd name="connsiteY118" fmla="*/ 1621891 h 2005672"/>
                <a:gd name="connsiteX119" fmla="*/ 1778742 w 4011346"/>
                <a:gd name="connsiteY119" fmla="*/ 1618553 h 2005672"/>
                <a:gd name="connsiteX120" fmla="*/ 1812114 w 4011346"/>
                <a:gd name="connsiteY120" fmla="*/ 1635239 h 2005672"/>
                <a:gd name="connsiteX121" fmla="*/ 1852161 w 4011346"/>
                <a:gd name="connsiteY121" fmla="*/ 1648588 h 2005672"/>
                <a:gd name="connsiteX122" fmla="*/ 1858836 w 4011346"/>
                <a:gd name="connsiteY122" fmla="*/ 1675286 h 2005672"/>
                <a:gd name="connsiteX123" fmla="*/ 1872184 w 4011346"/>
                <a:gd name="connsiteY123" fmla="*/ 1681961 h 2005672"/>
                <a:gd name="connsiteX124" fmla="*/ 1902219 w 4011346"/>
                <a:gd name="connsiteY124" fmla="*/ 1685298 h 2005672"/>
                <a:gd name="connsiteX125" fmla="*/ 1932254 w 4011346"/>
                <a:gd name="connsiteY125" fmla="*/ 1668612 h 2005672"/>
                <a:gd name="connsiteX126" fmla="*/ 1962290 w 4011346"/>
                <a:gd name="connsiteY126" fmla="*/ 1681961 h 2005672"/>
                <a:gd name="connsiteX127" fmla="*/ 1985650 w 4011346"/>
                <a:gd name="connsiteY127" fmla="*/ 1695310 h 2005672"/>
                <a:gd name="connsiteX128" fmla="*/ 1995662 w 4011346"/>
                <a:gd name="connsiteY128" fmla="*/ 1705321 h 2005672"/>
                <a:gd name="connsiteX129" fmla="*/ 2032371 w 4011346"/>
                <a:gd name="connsiteY129" fmla="*/ 1725345 h 2005672"/>
                <a:gd name="connsiteX130" fmla="*/ 2069081 w 4011346"/>
                <a:gd name="connsiteY130" fmla="*/ 1722007 h 2005672"/>
                <a:gd name="connsiteX131" fmla="*/ 2142500 w 4011346"/>
                <a:gd name="connsiteY131" fmla="*/ 1678623 h 2005672"/>
                <a:gd name="connsiteX132" fmla="*/ 2195895 w 4011346"/>
                <a:gd name="connsiteY132" fmla="*/ 1691972 h 2005672"/>
                <a:gd name="connsiteX133" fmla="*/ 2225930 w 4011346"/>
                <a:gd name="connsiteY133" fmla="*/ 1701984 h 2005672"/>
                <a:gd name="connsiteX134" fmla="*/ 2259303 w 4011346"/>
                <a:gd name="connsiteY134" fmla="*/ 1688635 h 2005672"/>
                <a:gd name="connsiteX135" fmla="*/ 2262640 w 4011346"/>
                <a:gd name="connsiteY135" fmla="*/ 1661937 h 2005672"/>
                <a:gd name="connsiteX136" fmla="*/ 2282663 w 4011346"/>
                <a:gd name="connsiteY136" fmla="*/ 1631902 h 2005672"/>
                <a:gd name="connsiteX137" fmla="*/ 2299349 w 4011346"/>
                <a:gd name="connsiteY137" fmla="*/ 1578507 h 2005672"/>
                <a:gd name="connsiteX138" fmla="*/ 2282663 w 4011346"/>
                <a:gd name="connsiteY138" fmla="*/ 1581844 h 2005672"/>
                <a:gd name="connsiteX139" fmla="*/ 2312698 w 4011346"/>
                <a:gd name="connsiteY139" fmla="*/ 1555146 h 2005672"/>
                <a:gd name="connsiteX140" fmla="*/ 2339396 w 4011346"/>
                <a:gd name="connsiteY140" fmla="*/ 1551809 h 2005672"/>
                <a:gd name="connsiteX141" fmla="*/ 2396129 w 4011346"/>
                <a:gd name="connsiteY141" fmla="*/ 1561820 h 2005672"/>
                <a:gd name="connsiteX142" fmla="*/ 2436176 w 4011346"/>
                <a:gd name="connsiteY142" fmla="*/ 1588518 h 2005672"/>
                <a:gd name="connsiteX143" fmla="*/ 2462873 w 4011346"/>
                <a:gd name="connsiteY143" fmla="*/ 1618553 h 2005672"/>
                <a:gd name="connsiteX144" fmla="*/ 2469548 w 4011346"/>
                <a:gd name="connsiteY144" fmla="*/ 1655263 h 2005672"/>
                <a:gd name="connsiteX145" fmla="*/ 2476222 w 4011346"/>
                <a:gd name="connsiteY145" fmla="*/ 1695310 h 2005672"/>
                <a:gd name="connsiteX146" fmla="*/ 2486234 w 4011346"/>
                <a:gd name="connsiteY146" fmla="*/ 1715333 h 2005672"/>
                <a:gd name="connsiteX147" fmla="*/ 2529618 w 4011346"/>
                <a:gd name="connsiteY147" fmla="*/ 1728682 h 2005672"/>
                <a:gd name="connsiteX148" fmla="*/ 2549641 w 4011346"/>
                <a:gd name="connsiteY148" fmla="*/ 1748705 h 2005672"/>
                <a:gd name="connsiteX149" fmla="*/ 2562990 w 4011346"/>
                <a:gd name="connsiteY149" fmla="*/ 1782077 h 2005672"/>
                <a:gd name="connsiteX150" fmla="*/ 2586351 w 4011346"/>
                <a:gd name="connsiteY150" fmla="*/ 1775403 h 2005672"/>
                <a:gd name="connsiteX151" fmla="*/ 2606374 w 4011346"/>
                <a:gd name="connsiteY151" fmla="*/ 1765391 h 2005672"/>
                <a:gd name="connsiteX152" fmla="*/ 2639746 w 4011346"/>
                <a:gd name="connsiteY152" fmla="*/ 1748705 h 2005672"/>
                <a:gd name="connsiteX153" fmla="*/ 2643084 w 4011346"/>
                <a:gd name="connsiteY153" fmla="*/ 1765391 h 2005672"/>
                <a:gd name="connsiteX154" fmla="*/ 2626398 w 4011346"/>
                <a:gd name="connsiteY154" fmla="*/ 1795426 h 2005672"/>
                <a:gd name="connsiteX155" fmla="*/ 2616386 w 4011346"/>
                <a:gd name="connsiteY155" fmla="*/ 1832136 h 2005672"/>
                <a:gd name="connsiteX156" fmla="*/ 2603037 w 4011346"/>
                <a:gd name="connsiteY156" fmla="*/ 1885531 h 2005672"/>
                <a:gd name="connsiteX157" fmla="*/ 2579676 w 4011346"/>
                <a:gd name="connsiteY157" fmla="*/ 1858834 h 2005672"/>
                <a:gd name="connsiteX158" fmla="*/ 2552979 w 4011346"/>
                <a:gd name="connsiteY158" fmla="*/ 1882194 h 2005672"/>
                <a:gd name="connsiteX159" fmla="*/ 2559653 w 4011346"/>
                <a:gd name="connsiteY159" fmla="*/ 1908892 h 2005672"/>
                <a:gd name="connsiteX160" fmla="*/ 2559653 w 4011346"/>
                <a:gd name="connsiteY160" fmla="*/ 1945601 h 2005672"/>
                <a:gd name="connsiteX161" fmla="*/ 2549641 w 4011346"/>
                <a:gd name="connsiteY161" fmla="*/ 1965625 h 2005672"/>
                <a:gd name="connsiteX162" fmla="*/ 2589688 w 4011346"/>
                <a:gd name="connsiteY162" fmla="*/ 1945601 h 2005672"/>
                <a:gd name="connsiteX163" fmla="*/ 2626398 w 4011346"/>
                <a:gd name="connsiteY163" fmla="*/ 1955613 h 2005672"/>
                <a:gd name="connsiteX164" fmla="*/ 2653095 w 4011346"/>
                <a:gd name="connsiteY164" fmla="*/ 1932253 h 2005672"/>
                <a:gd name="connsiteX165" fmla="*/ 2683130 w 4011346"/>
                <a:gd name="connsiteY165" fmla="*/ 1878857 h 2005672"/>
                <a:gd name="connsiteX166" fmla="*/ 2753212 w 4011346"/>
                <a:gd name="connsiteY166" fmla="*/ 1792089 h 2005672"/>
                <a:gd name="connsiteX167" fmla="*/ 2783247 w 4011346"/>
                <a:gd name="connsiteY167" fmla="*/ 1722007 h 2005672"/>
                <a:gd name="connsiteX168" fmla="*/ 2803271 w 4011346"/>
                <a:gd name="connsiteY168" fmla="*/ 1618553 h 2005672"/>
                <a:gd name="connsiteX169" fmla="*/ 2793259 w 4011346"/>
                <a:gd name="connsiteY169" fmla="*/ 1568495 h 2005672"/>
                <a:gd name="connsiteX170" fmla="*/ 2769898 w 4011346"/>
                <a:gd name="connsiteY170" fmla="*/ 1535123 h 2005672"/>
                <a:gd name="connsiteX171" fmla="*/ 2726514 w 4011346"/>
                <a:gd name="connsiteY171" fmla="*/ 1535123 h 2005672"/>
                <a:gd name="connsiteX172" fmla="*/ 2699817 w 4011346"/>
                <a:gd name="connsiteY172" fmla="*/ 1535123 h 2005672"/>
                <a:gd name="connsiteX173" fmla="*/ 2683130 w 4011346"/>
                <a:gd name="connsiteY173" fmla="*/ 1515099 h 2005672"/>
                <a:gd name="connsiteX174" fmla="*/ 2669781 w 4011346"/>
                <a:gd name="connsiteY174" fmla="*/ 1495076 h 2005672"/>
                <a:gd name="connsiteX175" fmla="*/ 2763224 w 4011346"/>
                <a:gd name="connsiteY175" fmla="*/ 1378273 h 2005672"/>
                <a:gd name="connsiteX176" fmla="*/ 2846654 w 4011346"/>
                <a:gd name="connsiteY176" fmla="*/ 1311529 h 2005672"/>
                <a:gd name="connsiteX177" fmla="*/ 2890038 w 4011346"/>
                <a:gd name="connsiteY177" fmla="*/ 1288168 h 2005672"/>
                <a:gd name="connsiteX178" fmla="*/ 2933422 w 4011346"/>
                <a:gd name="connsiteY178" fmla="*/ 1308191 h 2005672"/>
                <a:gd name="connsiteX179" fmla="*/ 2950109 w 4011346"/>
                <a:gd name="connsiteY179" fmla="*/ 1291505 h 2005672"/>
                <a:gd name="connsiteX180" fmla="*/ 2993492 w 4011346"/>
                <a:gd name="connsiteY180" fmla="*/ 1308191 h 2005672"/>
                <a:gd name="connsiteX181" fmla="*/ 3006841 w 4011346"/>
                <a:gd name="connsiteY181" fmla="*/ 1274819 h 2005672"/>
                <a:gd name="connsiteX182" fmla="*/ 3053563 w 4011346"/>
                <a:gd name="connsiteY182" fmla="*/ 1284831 h 2005672"/>
                <a:gd name="connsiteX183" fmla="*/ 3070249 w 4011346"/>
                <a:gd name="connsiteY183" fmla="*/ 1301517 h 2005672"/>
                <a:gd name="connsiteX184" fmla="*/ 3060237 w 4011346"/>
                <a:gd name="connsiteY184" fmla="*/ 1321540 h 2005672"/>
                <a:gd name="connsiteX185" fmla="*/ 3123644 w 4011346"/>
                <a:gd name="connsiteY185" fmla="*/ 1304854 h 2005672"/>
                <a:gd name="connsiteX186" fmla="*/ 3140330 w 4011346"/>
                <a:gd name="connsiteY186" fmla="*/ 1291505 h 2005672"/>
                <a:gd name="connsiteX187" fmla="*/ 3123644 w 4011346"/>
                <a:gd name="connsiteY187" fmla="*/ 1278156 h 2005672"/>
                <a:gd name="connsiteX188" fmla="*/ 3143668 w 4011346"/>
                <a:gd name="connsiteY188" fmla="*/ 1238110 h 2005672"/>
                <a:gd name="connsiteX189" fmla="*/ 3190389 w 4011346"/>
                <a:gd name="connsiteY189" fmla="*/ 1168028 h 2005672"/>
                <a:gd name="connsiteX190" fmla="*/ 3233773 w 4011346"/>
                <a:gd name="connsiteY190" fmla="*/ 1164691 h 2005672"/>
                <a:gd name="connsiteX191" fmla="*/ 3273819 w 4011346"/>
                <a:gd name="connsiteY191" fmla="*/ 1174702 h 2005672"/>
                <a:gd name="connsiteX192" fmla="*/ 3277157 w 4011346"/>
                <a:gd name="connsiteY192" fmla="*/ 1231435 h 2005672"/>
                <a:gd name="connsiteX193" fmla="*/ 3320541 w 4011346"/>
                <a:gd name="connsiteY193" fmla="*/ 1188051 h 2005672"/>
                <a:gd name="connsiteX194" fmla="*/ 3343901 w 4011346"/>
                <a:gd name="connsiteY194" fmla="*/ 1171365 h 2005672"/>
                <a:gd name="connsiteX195" fmla="*/ 3350576 w 4011346"/>
                <a:gd name="connsiteY195" fmla="*/ 1137993 h 2005672"/>
                <a:gd name="connsiteX196" fmla="*/ 3377273 w 4011346"/>
                <a:gd name="connsiteY196" fmla="*/ 1121307 h 2005672"/>
                <a:gd name="connsiteX197" fmla="*/ 3407309 w 4011346"/>
                <a:gd name="connsiteY197" fmla="*/ 1131318 h 2005672"/>
                <a:gd name="connsiteX198" fmla="*/ 3373936 w 4011346"/>
                <a:gd name="connsiteY198" fmla="*/ 1161353 h 2005672"/>
                <a:gd name="connsiteX199" fmla="*/ 3360587 w 4011346"/>
                <a:gd name="connsiteY199" fmla="*/ 1211412 h 2005672"/>
                <a:gd name="connsiteX200" fmla="*/ 3323878 w 4011346"/>
                <a:gd name="connsiteY200" fmla="*/ 1251458 h 2005672"/>
                <a:gd name="connsiteX201" fmla="*/ 3210412 w 4011346"/>
                <a:gd name="connsiteY201" fmla="*/ 1348238 h 2005672"/>
                <a:gd name="connsiteX202" fmla="*/ 3163691 w 4011346"/>
                <a:gd name="connsiteY202" fmla="*/ 1418320 h 2005672"/>
                <a:gd name="connsiteX203" fmla="*/ 3160354 w 4011346"/>
                <a:gd name="connsiteY203" fmla="*/ 1491739 h 2005672"/>
                <a:gd name="connsiteX204" fmla="*/ 3170365 w 4011346"/>
                <a:gd name="connsiteY204" fmla="*/ 1581844 h 2005672"/>
                <a:gd name="connsiteX205" fmla="*/ 3190389 w 4011346"/>
                <a:gd name="connsiteY205" fmla="*/ 1645251 h 2005672"/>
                <a:gd name="connsiteX206" fmla="*/ 3217087 w 4011346"/>
                <a:gd name="connsiteY206" fmla="*/ 1635239 h 2005672"/>
                <a:gd name="connsiteX207" fmla="*/ 3240447 w 4011346"/>
                <a:gd name="connsiteY207" fmla="*/ 1568495 h 2005672"/>
                <a:gd name="connsiteX208" fmla="*/ 3270482 w 4011346"/>
                <a:gd name="connsiteY208" fmla="*/ 1565158 h 2005672"/>
                <a:gd name="connsiteX209" fmla="*/ 3287168 w 4011346"/>
                <a:gd name="connsiteY209" fmla="*/ 1505088 h 2005672"/>
                <a:gd name="connsiteX210" fmla="*/ 3313866 w 4011346"/>
                <a:gd name="connsiteY210" fmla="*/ 1495076 h 2005672"/>
                <a:gd name="connsiteX211" fmla="*/ 3313866 w 4011346"/>
                <a:gd name="connsiteY211" fmla="*/ 1465041 h 2005672"/>
                <a:gd name="connsiteX212" fmla="*/ 3337227 w 4011346"/>
                <a:gd name="connsiteY212" fmla="*/ 1428331 h 2005672"/>
                <a:gd name="connsiteX213" fmla="*/ 3330552 w 4011346"/>
                <a:gd name="connsiteY213" fmla="*/ 1384947 h 2005672"/>
                <a:gd name="connsiteX214" fmla="*/ 3333890 w 4011346"/>
                <a:gd name="connsiteY214" fmla="*/ 1354912 h 2005672"/>
                <a:gd name="connsiteX215" fmla="*/ 3323878 w 4011346"/>
                <a:gd name="connsiteY215" fmla="*/ 1344901 h 2005672"/>
                <a:gd name="connsiteX216" fmla="*/ 3363925 w 4011346"/>
                <a:gd name="connsiteY216" fmla="*/ 1258133 h 2005672"/>
                <a:gd name="connsiteX217" fmla="*/ 3383948 w 4011346"/>
                <a:gd name="connsiteY217" fmla="*/ 1268145 h 2005672"/>
                <a:gd name="connsiteX218" fmla="*/ 3410646 w 4011346"/>
                <a:gd name="connsiteY218" fmla="*/ 1241447 h 2005672"/>
                <a:gd name="connsiteX219" fmla="*/ 3420657 w 4011346"/>
                <a:gd name="connsiteY219" fmla="*/ 1268145 h 2005672"/>
                <a:gd name="connsiteX220" fmla="*/ 3447355 w 4011346"/>
                <a:gd name="connsiteY220" fmla="*/ 1251458 h 2005672"/>
                <a:gd name="connsiteX221" fmla="*/ 3477390 w 4011346"/>
                <a:gd name="connsiteY221" fmla="*/ 1241447 h 2005672"/>
                <a:gd name="connsiteX222" fmla="*/ 3514100 w 4011346"/>
                <a:gd name="connsiteY222" fmla="*/ 1268145 h 2005672"/>
                <a:gd name="connsiteX223" fmla="*/ 3574170 w 4011346"/>
                <a:gd name="connsiteY223" fmla="*/ 1201400 h 2005672"/>
                <a:gd name="connsiteX224" fmla="*/ 3637577 w 4011346"/>
                <a:gd name="connsiteY224" fmla="*/ 1154679 h 2005672"/>
                <a:gd name="connsiteX225" fmla="*/ 3690973 w 4011346"/>
                <a:gd name="connsiteY225" fmla="*/ 1117969 h 2005672"/>
                <a:gd name="connsiteX226" fmla="*/ 3741031 w 4011346"/>
                <a:gd name="connsiteY226" fmla="*/ 1144667 h 2005672"/>
                <a:gd name="connsiteX227" fmla="*/ 3751043 w 4011346"/>
                <a:gd name="connsiteY227" fmla="*/ 1117969 h 2005672"/>
                <a:gd name="connsiteX228" fmla="*/ 3727682 w 4011346"/>
                <a:gd name="connsiteY228" fmla="*/ 1051225 h 2005672"/>
                <a:gd name="connsiteX229" fmla="*/ 3700984 w 4011346"/>
                <a:gd name="connsiteY229" fmla="*/ 1034539 h 2005672"/>
                <a:gd name="connsiteX230" fmla="*/ 3697647 w 4011346"/>
                <a:gd name="connsiteY230" fmla="*/ 1004504 h 2005672"/>
                <a:gd name="connsiteX231" fmla="*/ 3751043 w 4011346"/>
                <a:gd name="connsiteY231" fmla="*/ 1011178 h 2005672"/>
                <a:gd name="connsiteX232" fmla="*/ 3774403 w 4011346"/>
                <a:gd name="connsiteY232" fmla="*/ 967794 h 2005672"/>
                <a:gd name="connsiteX233" fmla="*/ 3767729 w 4011346"/>
                <a:gd name="connsiteY233" fmla="*/ 941096 h 2005672"/>
                <a:gd name="connsiteX234" fmla="*/ 3794427 w 4011346"/>
                <a:gd name="connsiteY234" fmla="*/ 907724 h 2005672"/>
                <a:gd name="connsiteX235" fmla="*/ 3804438 w 4011346"/>
                <a:gd name="connsiteY235" fmla="*/ 951108 h 2005672"/>
                <a:gd name="connsiteX236" fmla="*/ 3827799 w 4011346"/>
                <a:gd name="connsiteY236" fmla="*/ 967794 h 2005672"/>
                <a:gd name="connsiteX237" fmla="*/ 3874520 w 4011346"/>
                <a:gd name="connsiteY237" fmla="*/ 987818 h 2005672"/>
                <a:gd name="connsiteX238" fmla="*/ 3894544 w 4011346"/>
                <a:gd name="connsiteY238" fmla="*/ 1014515 h 2005672"/>
                <a:gd name="connsiteX239" fmla="*/ 3941265 w 4011346"/>
                <a:gd name="connsiteY239" fmla="*/ 1037876 h 2005672"/>
                <a:gd name="connsiteX240" fmla="*/ 3947939 w 4011346"/>
                <a:gd name="connsiteY240" fmla="*/ 1024527 h 2005672"/>
                <a:gd name="connsiteX241" fmla="*/ 3957951 w 4011346"/>
                <a:gd name="connsiteY241" fmla="*/ 961120 h 2005672"/>
                <a:gd name="connsiteX242" fmla="*/ 4004672 w 4011346"/>
                <a:gd name="connsiteY242" fmla="*/ 954445 h 2005672"/>
                <a:gd name="connsiteX243" fmla="*/ 4011346 w 4011346"/>
                <a:gd name="connsiteY243" fmla="*/ 921073 h 2005672"/>
                <a:gd name="connsiteX244" fmla="*/ 3967963 w 4011346"/>
                <a:gd name="connsiteY244" fmla="*/ 884364 h 2005672"/>
                <a:gd name="connsiteX245" fmla="*/ 3921241 w 4011346"/>
                <a:gd name="connsiteY245" fmla="*/ 867677 h 2005672"/>
                <a:gd name="connsiteX246" fmla="*/ 3907892 w 4011346"/>
                <a:gd name="connsiteY246" fmla="*/ 871015 h 2005672"/>
                <a:gd name="connsiteX247" fmla="*/ 3907892 w 4011346"/>
                <a:gd name="connsiteY247" fmla="*/ 904387 h 2005672"/>
                <a:gd name="connsiteX248" fmla="*/ 3887869 w 4011346"/>
                <a:gd name="connsiteY248" fmla="*/ 897712 h 2005672"/>
                <a:gd name="connsiteX249" fmla="*/ 3874520 w 4011346"/>
                <a:gd name="connsiteY249" fmla="*/ 844317 h 2005672"/>
                <a:gd name="connsiteX250" fmla="*/ 3817787 w 4011346"/>
                <a:gd name="connsiteY250" fmla="*/ 780910 h 2005672"/>
                <a:gd name="connsiteX251" fmla="*/ 3717671 w 4011346"/>
                <a:gd name="connsiteY251" fmla="*/ 704153 h 2005672"/>
                <a:gd name="connsiteX252" fmla="*/ 3664275 w 4011346"/>
                <a:gd name="connsiteY252" fmla="*/ 684130 h 2005672"/>
                <a:gd name="connsiteX253" fmla="*/ 3584181 w 4011346"/>
                <a:gd name="connsiteY253" fmla="*/ 677456 h 2005672"/>
                <a:gd name="connsiteX254" fmla="*/ 3520774 w 4011346"/>
                <a:gd name="connsiteY254" fmla="*/ 660769 h 2005672"/>
                <a:gd name="connsiteX255" fmla="*/ 3530786 w 4011346"/>
                <a:gd name="connsiteY255" fmla="*/ 700816 h 2005672"/>
                <a:gd name="connsiteX256" fmla="*/ 3537460 w 4011346"/>
                <a:gd name="connsiteY256" fmla="*/ 727514 h 2005672"/>
                <a:gd name="connsiteX257" fmla="*/ 3507425 w 4011346"/>
                <a:gd name="connsiteY257" fmla="*/ 750874 h 2005672"/>
                <a:gd name="connsiteX258" fmla="*/ 3477390 w 4011346"/>
                <a:gd name="connsiteY258" fmla="*/ 724177 h 2005672"/>
                <a:gd name="connsiteX259" fmla="*/ 3477390 w 4011346"/>
                <a:gd name="connsiteY259" fmla="*/ 704153 h 2005672"/>
                <a:gd name="connsiteX260" fmla="*/ 3504088 w 4011346"/>
                <a:gd name="connsiteY260" fmla="*/ 684130 h 2005672"/>
                <a:gd name="connsiteX261" fmla="*/ 3467379 w 4011346"/>
                <a:gd name="connsiteY261" fmla="*/ 670781 h 2005672"/>
                <a:gd name="connsiteX262" fmla="*/ 3450692 w 4011346"/>
                <a:gd name="connsiteY262" fmla="*/ 697479 h 2005672"/>
                <a:gd name="connsiteX263" fmla="*/ 3440681 w 4011346"/>
                <a:gd name="connsiteY263" fmla="*/ 710828 h 2005672"/>
                <a:gd name="connsiteX264" fmla="*/ 3357250 w 4011346"/>
                <a:gd name="connsiteY264" fmla="*/ 697479 h 2005672"/>
                <a:gd name="connsiteX265" fmla="*/ 3297180 w 4011346"/>
                <a:gd name="connsiteY265" fmla="*/ 704153 h 2005672"/>
                <a:gd name="connsiteX266" fmla="*/ 3267145 w 4011346"/>
                <a:gd name="connsiteY266" fmla="*/ 680793 h 2005672"/>
                <a:gd name="connsiteX267" fmla="*/ 3267145 w 4011346"/>
                <a:gd name="connsiteY267" fmla="*/ 644083 h 2005672"/>
                <a:gd name="connsiteX268" fmla="*/ 3203738 w 4011346"/>
                <a:gd name="connsiteY268" fmla="*/ 587350 h 2005672"/>
                <a:gd name="connsiteX269" fmla="*/ 3076923 w 4011346"/>
                <a:gd name="connsiteY269" fmla="*/ 594025 h 2005672"/>
                <a:gd name="connsiteX270" fmla="*/ 3043551 w 4011346"/>
                <a:gd name="connsiteY270" fmla="*/ 570664 h 2005672"/>
                <a:gd name="connsiteX271" fmla="*/ 3000167 w 4011346"/>
                <a:gd name="connsiteY271" fmla="*/ 523943 h 2005672"/>
                <a:gd name="connsiteX272" fmla="*/ 3013516 w 4011346"/>
                <a:gd name="connsiteY272" fmla="*/ 517269 h 2005672"/>
                <a:gd name="connsiteX273" fmla="*/ 3000167 w 4011346"/>
                <a:gd name="connsiteY273" fmla="*/ 497245 h 2005672"/>
                <a:gd name="connsiteX274" fmla="*/ 2970132 w 4011346"/>
                <a:gd name="connsiteY274" fmla="*/ 493908 h 2005672"/>
                <a:gd name="connsiteX275" fmla="*/ 2920073 w 4011346"/>
                <a:gd name="connsiteY275" fmla="*/ 540629 h 2005672"/>
                <a:gd name="connsiteX276" fmla="*/ 2920073 w 4011346"/>
                <a:gd name="connsiteY276" fmla="*/ 540629 h 2005672"/>
                <a:gd name="connsiteX277" fmla="*/ 2916736 w 4011346"/>
                <a:gd name="connsiteY277" fmla="*/ 490571 h 2005672"/>
                <a:gd name="connsiteX278" fmla="*/ 2936760 w 4011346"/>
                <a:gd name="connsiteY278" fmla="*/ 487234 h 2005672"/>
                <a:gd name="connsiteX279" fmla="*/ 2866678 w 4011346"/>
                <a:gd name="connsiteY279" fmla="*/ 457199 h 2005672"/>
                <a:gd name="connsiteX280" fmla="*/ 2813282 w 4011346"/>
                <a:gd name="connsiteY280" fmla="*/ 453861 h 2005672"/>
                <a:gd name="connsiteX281" fmla="*/ 2793259 w 4011346"/>
                <a:gd name="connsiteY281" fmla="*/ 477222 h 2005672"/>
                <a:gd name="connsiteX282" fmla="*/ 2743200 w 4011346"/>
                <a:gd name="connsiteY282" fmla="*/ 487234 h 2005672"/>
                <a:gd name="connsiteX283" fmla="*/ 2786584 w 4011346"/>
                <a:gd name="connsiteY283" fmla="*/ 497245 h 2005672"/>
                <a:gd name="connsiteX284" fmla="*/ 2763224 w 4011346"/>
                <a:gd name="connsiteY284" fmla="*/ 517269 h 2005672"/>
                <a:gd name="connsiteX285" fmla="*/ 2769898 w 4011346"/>
                <a:gd name="connsiteY285" fmla="*/ 567327 h 2005672"/>
                <a:gd name="connsiteX286" fmla="*/ 2749875 w 4011346"/>
                <a:gd name="connsiteY286" fmla="*/ 550641 h 2005672"/>
                <a:gd name="connsiteX287" fmla="*/ 2733189 w 4011346"/>
                <a:gd name="connsiteY287" fmla="*/ 563990 h 2005672"/>
                <a:gd name="connsiteX288" fmla="*/ 2666444 w 4011346"/>
                <a:gd name="connsiteY288" fmla="*/ 553978 h 2005672"/>
                <a:gd name="connsiteX289" fmla="*/ 2636409 w 4011346"/>
                <a:gd name="connsiteY289" fmla="*/ 563990 h 2005672"/>
                <a:gd name="connsiteX290" fmla="*/ 2603037 w 4011346"/>
                <a:gd name="connsiteY290" fmla="*/ 523943 h 2005672"/>
                <a:gd name="connsiteX291" fmla="*/ 2569665 w 4011346"/>
                <a:gd name="connsiteY291" fmla="*/ 607374 h 2005672"/>
                <a:gd name="connsiteX292" fmla="*/ 2552979 w 4011346"/>
                <a:gd name="connsiteY292" fmla="*/ 627397 h 2005672"/>
                <a:gd name="connsiteX293" fmla="*/ 2469548 w 4011346"/>
                <a:gd name="connsiteY293" fmla="*/ 490571 h 2005672"/>
                <a:gd name="connsiteX294" fmla="*/ 2446187 w 4011346"/>
                <a:gd name="connsiteY294" fmla="*/ 507257 h 2005672"/>
                <a:gd name="connsiteX295" fmla="*/ 2442850 w 4011346"/>
                <a:gd name="connsiteY295" fmla="*/ 473885 h 2005672"/>
                <a:gd name="connsiteX296" fmla="*/ 2449525 w 4011346"/>
                <a:gd name="connsiteY296" fmla="*/ 403803 h 2005672"/>
                <a:gd name="connsiteX297" fmla="*/ 2386117 w 4011346"/>
                <a:gd name="connsiteY297" fmla="*/ 377105 h 2005672"/>
                <a:gd name="connsiteX298" fmla="*/ 2369431 w 4011346"/>
                <a:gd name="connsiteY298" fmla="*/ 417152 h 2005672"/>
                <a:gd name="connsiteX299" fmla="*/ 2379443 w 4011346"/>
                <a:gd name="connsiteY299" fmla="*/ 440512 h 2005672"/>
                <a:gd name="connsiteX300" fmla="*/ 2376106 w 4011346"/>
                <a:gd name="connsiteY300" fmla="*/ 460536 h 2005672"/>
                <a:gd name="connsiteX301" fmla="*/ 2352745 w 4011346"/>
                <a:gd name="connsiteY301" fmla="*/ 437175 h 2005672"/>
                <a:gd name="connsiteX302" fmla="*/ 2316036 w 4011346"/>
                <a:gd name="connsiteY302" fmla="*/ 443850 h 2005672"/>
                <a:gd name="connsiteX303" fmla="*/ 2272652 w 4011346"/>
                <a:gd name="connsiteY303" fmla="*/ 430501 h 2005672"/>
                <a:gd name="connsiteX304" fmla="*/ 2245954 w 4011346"/>
                <a:gd name="connsiteY304" fmla="*/ 390454 h 2005672"/>
                <a:gd name="connsiteX305" fmla="*/ 2209244 w 4011346"/>
                <a:gd name="connsiteY305" fmla="*/ 387117 h 2005672"/>
                <a:gd name="connsiteX306" fmla="*/ 2159186 w 4011346"/>
                <a:gd name="connsiteY306" fmla="*/ 377105 h 2005672"/>
                <a:gd name="connsiteX307" fmla="*/ 2132488 w 4011346"/>
                <a:gd name="connsiteY307" fmla="*/ 393791 h 2005672"/>
                <a:gd name="connsiteX308" fmla="*/ 2115802 w 4011346"/>
                <a:gd name="connsiteY308" fmla="*/ 407140 h 2005672"/>
                <a:gd name="connsiteX309" fmla="*/ 2115802 w 4011346"/>
                <a:gd name="connsiteY309" fmla="*/ 377105 h 2005672"/>
                <a:gd name="connsiteX310" fmla="*/ 2082430 w 4011346"/>
                <a:gd name="connsiteY310" fmla="*/ 373768 h 2005672"/>
                <a:gd name="connsiteX311" fmla="*/ 2045720 w 4011346"/>
                <a:gd name="connsiteY311" fmla="*/ 347070 h 2005672"/>
                <a:gd name="connsiteX312" fmla="*/ 2025697 w 4011346"/>
                <a:gd name="connsiteY312" fmla="*/ 377105 h 2005672"/>
                <a:gd name="connsiteX313" fmla="*/ 2055732 w 4011346"/>
                <a:gd name="connsiteY313" fmla="*/ 373768 h 2005672"/>
                <a:gd name="connsiteX314" fmla="*/ 2045720 w 4011346"/>
                <a:gd name="connsiteY314" fmla="*/ 400466 h 2005672"/>
                <a:gd name="connsiteX315" fmla="*/ 1988987 w 4011346"/>
                <a:gd name="connsiteY315" fmla="*/ 420489 h 2005672"/>
                <a:gd name="connsiteX316" fmla="*/ 1935592 w 4011346"/>
                <a:gd name="connsiteY316" fmla="*/ 430501 h 2005672"/>
                <a:gd name="connsiteX317" fmla="*/ 1995662 w 4011346"/>
                <a:gd name="connsiteY317" fmla="*/ 373768 h 2005672"/>
                <a:gd name="connsiteX318" fmla="*/ 2055732 w 4011346"/>
                <a:gd name="connsiteY318" fmla="*/ 303686 h 2005672"/>
                <a:gd name="connsiteX319" fmla="*/ 2055732 w 4011346"/>
                <a:gd name="connsiteY319" fmla="*/ 303686 h 2005672"/>
                <a:gd name="connsiteX320" fmla="*/ 1888870 w 4011346"/>
                <a:gd name="connsiteY320" fmla="*/ 0 h 2005672"/>
                <a:gd name="connsiteX321" fmla="*/ 1835474 w 4011346"/>
                <a:gd name="connsiteY321" fmla="*/ 26698 h 2005672"/>
                <a:gd name="connsiteX322" fmla="*/ 1818788 w 4011346"/>
                <a:gd name="connsiteY322" fmla="*/ 66745 h 2005672"/>
                <a:gd name="connsiteX323" fmla="*/ 1838813 w 4011346"/>
                <a:gd name="connsiteY323" fmla="*/ 120139 h 2005672"/>
                <a:gd name="connsiteX324" fmla="*/ 1782079 w 4011346"/>
                <a:gd name="connsiteY324" fmla="*/ 106790 h 2005672"/>
                <a:gd name="connsiteX325" fmla="*/ 1768731 w 4011346"/>
                <a:gd name="connsiteY325" fmla="*/ 153512 h 2005672"/>
                <a:gd name="connsiteX326" fmla="*/ 1705322 w 4011346"/>
                <a:gd name="connsiteY326" fmla="*/ 176872 h 2005672"/>
                <a:gd name="connsiteX327" fmla="*/ 1685300 w 4011346"/>
                <a:gd name="connsiteY327" fmla="*/ 150174 h 2005672"/>
                <a:gd name="connsiteX328" fmla="*/ 1615218 w 4011346"/>
                <a:gd name="connsiteY328" fmla="*/ 153512 h 2005672"/>
                <a:gd name="connsiteX329" fmla="*/ 1638579 w 4011346"/>
                <a:gd name="connsiteY329" fmla="*/ 183547 h 2005672"/>
                <a:gd name="connsiteX330" fmla="*/ 1528449 w 4011346"/>
                <a:gd name="connsiteY330" fmla="*/ 210243 h 2005672"/>
                <a:gd name="connsiteX331" fmla="*/ 1465043 w 4011346"/>
                <a:gd name="connsiteY331" fmla="*/ 293674 h 2005672"/>
                <a:gd name="connsiteX332" fmla="*/ 1448357 w 4011346"/>
                <a:gd name="connsiteY332" fmla="*/ 320372 h 2005672"/>
                <a:gd name="connsiteX333" fmla="*/ 1481729 w 4011346"/>
                <a:gd name="connsiteY333" fmla="*/ 353745 h 2005672"/>
                <a:gd name="connsiteX334" fmla="*/ 1481729 w 4011346"/>
                <a:gd name="connsiteY334" fmla="*/ 383780 h 2005672"/>
                <a:gd name="connsiteX335" fmla="*/ 1458368 w 4011346"/>
                <a:gd name="connsiteY335" fmla="*/ 387117 h 2005672"/>
                <a:gd name="connsiteX336" fmla="*/ 1458368 w 4011346"/>
                <a:gd name="connsiteY336" fmla="*/ 367093 h 2005672"/>
                <a:gd name="connsiteX337" fmla="*/ 1418322 w 4011346"/>
                <a:gd name="connsiteY337" fmla="*/ 377105 h 2005672"/>
                <a:gd name="connsiteX338" fmla="*/ 1368263 w 4011346"/>
                <a:gd name="connsiteY338" fmla="*/ 383780 h 2005672"/>
                <a:gd name="connsiteX339" fmla="*/ 1321542 w 4011346"/>
                <a:gd name="connsiteY339" fmla="*/ 390454 h 2005672"/>
                <a:gd name="connsiteX340" fmla="*/ 1318205 w 4011346"/>
                <a:gd name="connsiteY340" fmla="*/ 477222 h 2005672"/>
                <a:gd name="connsiteX341" fmla="*/ 1358252 w 4011346"/>
                <a:gd name="connsiteY341" fmla="*/ 500583 h 2005672"/>
                <a:gd name="connsiteX342" fmla="*/ 1374938 w 4011346"/>
                <a:gd name="connsiteY342" fmla="*/ 530618 h 2005672"/>
                <a:gd name="connsiteX343" fmla="*/ 1384949 w 4011346"/>
                <a:gd name="connsiteY343" fmla="*/ 553978 h 2005672"/>
                <a:gd name="connsiteX344" fmla="*/ 1394961 w 4011346"/>
                <a:gd name="connsiteY344" fmla="*/ 604037 h 2005672"/>
                <a:gd name="connsiteX345" fmla="*/ 1384949 w 4011346"/>
                <a:gd name="connsiteY345" fmla="*/ 634072 h 2005672"/>
                <a:gd name="connsiteX346" fmla="*/ 1358252 w 4011346"/>
                <a:gd name="connsiteY346" fmla="*/ 600699 h 2005672"/>
                <a:gd name="connsiteX347" fmla="*/ 1361589 w 4011346"/>
                <a:gd name="connsiteY347" fmla="*/ 570664 h 2005672"/>
                <a:gd name="connsiteX348" fmla="*/ 1351577 w 4011346"/>
                <a:gd name="connsiteY348" fmla="*/ 530618 h 2005672"/>
                <a:gd name="connsiteX349" fmla="*/ 1328217 w 4011346"/>
                <a:gd name="connsiteY349" fmla="*/ 537292 h 2005672"/>
                <a:gd name="connsiteX350" fmla="*/ 1281495 w 4011346"/>
                <a:gd name="connsiteY350" fmla="*/ 500583 h 2005672"/>
                <a:gd name="connsiteX351" fmla="*/ 1241449 w 4011346"/>
                <a:gd name="connsiteY351" fmla="*/ 497245 h 2005672"/>
                <a:gd name="connsiteX352" fmla="*/ 1241449 w 4011346"/>
                <a:gd name="connsiteY352" fmla="*/ 543966 h 2005672"/>
                <a:gd name="connsiteX353" fmla="*/ 1201402 w 4011346"/>
                <a:gd name="connsiteY353" fmla="*/ 523943 h 2005672"/>
                <a:gd name="connsiteX354" fmla="*/ 1228100 w 4011346"/>
                <a:gd name="connsiteY354" fmla="*/ 574001 h 2005672"/>
                <a:gd name="connsiteX355" fmla="*/ 1258135 w 4011346"/>
                <a:gd name="connsiteY355" fmla="*/ 584013 h 2005672"/>
                <a:gd name="connsiteX356" fmla="*/ 1258135 w 4011346"/>
                <a:gd name="connsiteY356" fmla="*/ 604037 h 2005672"/>
                <a:gd name="connsiteX357" fmla="*/ 1198065 w 4011346"/>
                <a:gd name="connsiteY357" fmla="*/ 580676 h 2005672"/>
                <a:gd name="connsiteX358" fmla="*/ 1181379 w 4011346"/>
                <a:gd name="connsiteY358" fmla="*/ 580676 h 2005672"/>
                <a:gd name="connsiteX359" fmla="*/ 1178041 w 4011346"/>
                <a:gd name="connsiteY359" fmla="*/ 537292 h 2005672"/>
                <a:gd name="connsiteX360" fmla="*/ 1171367 w 4011346"/>
                <a:gd name="connsiteY360" fmla="*/ 450524 h 2005672"/>
                <a:gd name="connsiteX361" fmla="*/ 1161355 w 4011346"/>
                <a:gd name="connsiteY361" fmla="*/ 520606 h 2005672"/>
                <a:gd name="connsiteX362" fmla="*/ 1137995 w 4011346"/>
                <a:gd name="connsiteY362" fmla="*/ 550641 h 2005672"/>
                <a:gd name="connsiteX363" fmla="*/ 1158018 w 4011346"/>
                <a:gd name="connsiteY363" fmla="*/ 597362 h 2005672"/>
                <a:gd name="connsiteX364" fmla="*/ 1158018 w 4011346"/>
                <a:gd name="connsiteY364" fmla="*/ 630734 h 2005672"/>
                <a:gd name="connsiteX365" fmla="*/ 1141332 w 4011346"/>
                <a:gd name="connsiteY365" fmla="*/ 680793 h 2005672"/>
                <a:gd name="connsiteX366" fmla="*/ 1154681 w 4011346"/>
                <a:gd name="connsiteY366" fmla="*/ 714165 h 2005672"/>
                <a:gd name="connsiteX367" fmla="*/ 1184716 w 4011346"/>
                <a:gd name="connsiteY367" fmla="*/ 720839 h 2005672"/>
                <a:gd name="connsiteX368" fmla="*/ 1221425 w 4011346"/>
                <a:gd name="connsiteY368" fmla="*/ 727514 h 2005672"/>
                <a:gd name="connsiteX369" fmla="*/ 1241449 w 4011346"/>
                <a:gd name="connsiteY369" fmla="*/ 750874 h 2005672"/>
                <a:gd name="connsiteX370" fmla="*/ 1258135 w 4011346"/>
                <a:gd name="connsiteY370" fmla="*/ 794258 h 2005672"/>
                <a:gd name="connsiteX371" fmla="*/ 1258135 w 4011346"/>
                <a:gd name="connsiteY371" fmla="*/ 794258 h 2005672"/>
                <a:gd name="connsiteX372" fmla="*/ 1254798 w 4011346"/>
                <a:gd name="connsiteY372" fmla="*/ 827631 h 2005672"/>
                <a:gd name="connsiteX373" fmla="*/ 1274821 w 4011346"/>
                <a:gd name="connsiteY373" fmla="*/ 847654 h 2005672"/>
                <a:gd name="connsiteX374" fmla="*/ 1244786 w 4011346"/>
                <a:gd name="connsiteY374" fmla="*/ 854329 h 2005672"/>
                <a:gd name="connsiteX375" fmla="*/ 1224763 w 4011346"/>
                <a:gd name="connsiteY375" fmla="*/ 814282 h 2005672"/>
                <a:gd name="connsiteX376" fmla="*/ 1224763 w 4011346"/>
                <a:gd name="connsiteY376" fmla="*/ 774235 h 2005672"/>
                <a:gd name="connsiteX377" fmla="*/ 1194727 w 4011346"/>
                <a:gd name="connsiteY377" fmla="*/ 737526 h 2005672"/>
                <a:gd name="connsiteX378" fmla="*/ 1164692 w 4011346"/>
                <a:gd name="connsiteY378" fmla="*/ 780910 h 2005672"/>
                <a:gd name="connsiteX379" fmla="*/ 1178041 w 4011346"/>
                <a:gd name="connsiteY379" fmla="*/ 824293 h 2005672"/>
                <a:gd name="connsiteX380" fmla="*/ 1137995 w 4011346"/>
                <a:gd name="connsiteY380" fmla="*/ 881026 h 2005672"/>
                <a:gd name="connsiteX381" fmla="*/ 1097948 w 4011346"/>
                <a:gd name="connsiteY381" fmla="*/ 937759 h 2005672"/>
                <a:gd name="connsiteX382" fmla="*/ 1007843 w 4011346"/>
                <a:gd name="connsiteY382" fmla="*/ 901050 h 2005672"/>
                <a:gd name="connsiteX383" fmla="*/ 1074587 w 4011346"/>
                <a:gd name="connsiteY383" fmla="*/ 897712 h 2005672"/>
                <a:gd name="connsiteX384" fmla="*/ 1107960 w 4011346"/>
                <a:gd name="connsiteY384" fmla="*/ 834305 h 2005672"/>
                <a:gd name="connsiteX385" fmla="*/ 1121309 w 4011346"/>
                <a:gd name="connsiteY385" fmla="*/ 790921 h 2005672"/>
                <a:gd name="connsiteX386" fmla="*/ 1127983 w 4011346"/>
                <a:gd name="connsiteY386" fmla="*/ 757549 h 2005672"/>
                <a:gd name="connsiteX387" fmla="*/ 1117971 w 4011346"/>
                <a:gd name="connsiteY387" fmla="*/ 740863 h 2005672"/>
                <a:gd name="connsiteX388" fmla="*/ 1114634 w 4011346"/>
                <a:gd name="connsiteY388" fmla="*/ 690804 h 2005672"/>
                <a:gd name="connsiteX389" fmla="*/ 1104622 w 4011346"/>
                <a:gd name="connsiteY389" fmla="*/ 610711 h 2005672"/>
                <a:gd name="connsiteX390" fmla="*/ 1101285 w 4011346"/>
                <a:gd name="connsiteY390" fmla="*/ 550641 h 2005672"/>
                <a:gd name="connsiteX391" fmla="*/ 1124646 w 4011346"/>
                <a:gd name="connsiteY391" fmla="*/ 457199 h 2005672"/>
                <a:gd name="connsiteX392" fmla="*/ 1031203 w 4011346"/>
                <a:gd name="connsiteY392" fmla="*/ 447187 h 2005672"/>
                <a:gd name="connsiteX393" fmla="*/ 1014517 w 4011346"/>
                <a:gd name="connsiteY393" fmla="*/ 503920 h 2005672"/>
                <a:gd name="connsiteX394" fmla="*/ 1024529 w 4011346"/>
                <a:gd name="connsiteY394" fmla="*/ 550641 h 2005672"/>
                <a:gd name="connsiteX395" fmla="*/ 981145 w 4011346"/>
                <a:gd name="connsiteY395" fmla="*/ 604037 h 2005672"/>
                <a:gd name="connsiteX396" fmla="*/ 991157 w 4011346"/>
                <a:gd name="connsiteY396" fmla="*/ 640746 h 2005672"/>
                <a:gd name="connsiteX397" fmla="*/ 981145 w 4011346"/>
                <a:gd name="connsiteY397" fmla="*/ 687467 h 2005672"/>
                <a:gd name="connsiteX398" fmla="*/ 1001168 w 4011346"/>
                <a:gd name="connsiteY398" fmla="*/ 710828 h 2005672"/>
                <a:gd name="connsiteX399" fmla="*/ 1017854 w 4011346"/>
                <a:gd name="connsiteY399" fmla="*/ 757549 h 2005672"/>
                <a:gd name="connsiteX400" fmla="*/ 1047890 w 4011346"/>
                <a:gd name="connsiteY400" fmla="*/ 744200 h 2005672"/>
                <a:gd name="connsiteX401" fmla="*/ 1014517 w 4011346"/>
                <a:gd name="connsiteY401" fmla="*/ 797596 h 2005672"/>
                <a:gd name="connsiteX402" fmla="*/ 957784 w 4011346"/>
                <a:gd name="connsiteY402" fmla="*/ 744200 h 2005672"/>
                <a:gd name="connsiteX403" fmla="*/ 884365 w 4011346"/>
                <a:gd name="connsiteY403" fmla="*/ 707491 h 2005672"/>
                <a:gd name="connsiteX404" fmla="*/ 824295 w 4011346"/>
                <a:gd name="connsiteY404" fmla="*/ 684130 h 2005672"/>
                <a:gd name="connsiteX405" fmla="*/ 810946 w 4011346"/>
                <a:gd name="connsiteY405" fmla="*/ 720839 h 2005672"/>
                <a:gd name="connsiteX406" fmla="*/ 827633 w 4011346"/>
                <a:gd name="connsiteY406" fmla="*/ 757549 h 2005672"/>
                <a:gd name="connsiteX407" fmla="*/ 814284 w 4011346"/>
                <a:gd name="connsiteY407" fmla="*/ 780910 h 2005672"/>
                <a:gd name="connsiteX408" fmla="*/ 800935 w 4011346"/>
                <a:gd name="connsiteY408" fmla="*/ 797596 h 2005672"/>
                <a:gd name="connsiteX409" fmla="*/ 770900 w 4011346"/>
                <a:gd name="connsiteY409" fmla="*/ 740863 h 2005672"/>
                <a:gd name="connsiteX410" fmla="*/ 744202 w 4011346"/>
                <a:gd name="connsiteY410" fmla="*/ 777572 h 2005672"/>
                <a:gd name="connsiteX411" fmla="*/ 707492 w 4011346"/>
                <a:gd name="connsiteY411" fmla="*/ 770898 h 2005672"/>
                <a:gd name="connsiteX412" fmla="*/ 654097 w 4011346"/>
                <a:gd name="connsiteY412" fmla="*/ 807607 h 2005672"/>
                <a:gd name="connsiteX413" fmla="*/ 644085 w 4011346"/>
                <a:gd name="connsiteY413" fmla="*/ 784247 h 2005672"/>
                <a:gd name="connsiteX414" fmla="*/ 654097 w 4011346"/>
                <a:gd name="connsiteY414" fmla="*/ 747537 h 2005672"/>
                <a:gd name="connsiteX415" fmla="*/ 614050 w 4011346"/>
                <a:gd name="connsiteY415" fmla="*/ 784247 h 2005672"/>
                <a:gd name="connsiteX416" fmla="*/ 594027 w 4011346"/>
                <a:gd name="connsiteY416" fmla="*/ 784247 h 2005672"/>
                <a:gd name="connsiteX417" fmla="*/ 533957 w 4011346"/>
                <a:gd name="connsiteY417" fmla="*/ 817619 h 2005672"/>
                <a:gd name="connsiteX418" fmla="*/ 510596 w 4011346"/>
                <a:gd name="connsiteY418" fmla="*/ 840980 h 2005672"/>
                <a:gd name="connsiteX419" fmla="*/ 500584 w 4011346"/>
                <a:gd name="connsiteY419" fmla="*/ 887701 h 2005672"/>
                <a:gd name="connsiteX420" fmla="*/ 450526 w 4011346"/>
                <a:gd name="connsiteY420" fmla="*/ 874352 h 2005672"/>
                <a:gd name="connsiteX421" fmla="*/ 433840 w 4011346"/>
                <a:gd name="connsiteY421" fmla="*/ 837642 h 2005672"/>
                <a:gd name="connsiteX422" fmla="*/ 467212 w 4011346"/>
                <a:gd name="connsiteY422" fmla="*/ 807607 h 2005672"/>
                <a:gd name="connsiteX423" fmla="*/ 453863 w 4011346"/>
                <a:gd name="connsiteY423" fmla="*/ 784247 h 2005672"/>
                <a:gd name="connsiteX424" fmla="*/ 390456 w 4011346"/>
                <a:gd name="connsiteY424" fmla="*/ 754212 h 2005672"/>
                <a:gd name="connsiteX425" fmla="*/ 417154 w 4011346"/>
                <a:gd name="connsiteY425" fmla="*/ 804270 h 2005672"/>
                <a:gd name="connsiteX426" fmla="*/ 407142 w 4011346"/>
                <a:gd name="connsiteY426" fmla="*/ 847654 h 2005672"/>
                <a:gd name="connsiteX427" fmla="*/ 413817 w 4011346"/>
                <a:gd name="connsiteY427" fmla="*/ 884364 h 2005672"/>
                <a:gd name="connsiteX428" fmla="*/ 427165 w 4011346"/>
                <a:gd name="connsiteY428" fmla="*/ 907724 h 2005672"/>
                <a:gd name="connsiteX429" fmla="*/ 413817 w 4011346"/>
                <a:gd name="connsiteY429" fmla="*/ 937759 h 2005672"/>
                <a:gd name="connsiteX430" fmla="*/ 390456 w 4011346"/>
                <a:gd name="connsiteY430" fmla="*/ 914399 h 2005672"/>
                <a:gd name="connsiteX431" fmla="*/ 360421 w 4011346"/>
                <a:gd name="connsiteY431" fmla="*/ 911061 h 2005672"/>
                <a:gd name="connsiteX432" fmla="*/ 333723 w 4011346"/>
                <a:gd name="connsiteY432" fmla="*/ 951108 h 2005672"/>
                <a:gd name="connsiteX433" fmla="*/ 307025 w 4011346"/>
                <a:gd name="connsiteY433" fmla="*/ 971131 h 2005672"/>
                <a:gd name="connsiteX434" fmla="*/ 320374 w 4011346"/>
                <a:gd name="connsiteY434" fmla="*/ 997829 h 2005672"/>
                <a:gd name="connsiteX435" fmla="*/ 303688 w 4011346"/>
                <a:gd name="connsiteY435" fmla="*/ 1021190 h 2005672"/>
                <a:gd name="connsiteX436" fmla="*/ 233606 w 4011346"/>
                <a:gd name="connsiteY436" fmla="*/ 984480 h 2005672"/>
                <a:gd name="connsiteX437" fmla="*/ 243618 w 4011346"/>
                <a:gd name="connsiteY437" fmla="*/ 1034539 h 2005672"/>
                <a:gd name="connsiteX438" fmla="*/ 263641 w 4011346"/>
                <a:gd name="connsiteY438" fmla="*/ 1054562 h 2005672"/>
                <a:gd name="connsiteX439" fmla="*/ 250292 w 4011346"/>
                <a:gd name="connsiteY439" fmla="*/ 1067911 h 2005672"/>
                <a:gd name="connsiteX440" fmla="*/ 193560 w 4011346"/>
                <a:gd name="connsiteY440" fmla="*/ 1031201 h 2005672"/>
                <a:gd name="connsiteX441" fmla="*/ 170199 w 4011346"/>
                <a:gd name="connsiteY441" fmla="*/ 991155 h 2005672"/>
                <a:gd name="connsiteX442" fmla="*/ 170199 w 4011346"/>
                <a:gd name="connsiteY442" fmla="*/ 944434 h 2005672"/>
                <a:gd name="connsiteX443" fmla="*/ 133490 w 4011346"/>
                <a:gd name="connsiteY443" fmla="*/ 867677 h 2005672"/>
                <a:gd name="connsiteX444" fmla="*/ 196897 w 4011346"/>
                <a:gd name="connsiteY444" fmla="*/ 897712 h 2005672"/>
                <a:gd name="connsiteX445" fmla="*/ 256967 w 4011346"/>
                <a:gd name="connsiteY445" fmla="*/ 927747 h 2005672"/>
                <a:gd name="connsiteX446" fmla="*/ 293676 w 4011346"/>
                <a:gd name="connsiteY446" fmla="*/ 931085 h 2005672"/>
                <a:gd name="connsiteX447" fmla="*/ 327049 w 4011346"/>
                <a:gd name="connsiteY447" fmla="*/ 901050 h 2005672"/>
                <a:gd name="connsiteX448" fmla="*/ 343735 w 4011346"/>
                <a:gd name="connsiteY448" fmla="*/ 864340 h 2005672"/>
                <a:gd name="connsiteX449" fmla="*/ 333723 w 4011346"/>
                <a:gd name="connsiteY449" fmla="*/ 814282 h 2005672"/>
                <a:gd name="connsiteX450" fmla="*/ 290339 w 4011346"/>
                <a:gd name="connsiteY450" fmla="*/ 794258 h 2005672"/>
                <a:gd name="connsiteX451" fmla="*/ 236944 w 4011346"/>
                <a:gd name="connsiteY451" fmla="*/ 747537 h 2005672"/>
                <a:gd name="connsiteX452" fmla="*/ 133490 w 4011346"/>
                <a:gd name="connsiteY452" fmla="*/ 690804 h 200567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1877440 w 4011346"/>
                <a:gd name="connsiteY320" fmla="*/ 0 h 2017102"/>
                <a:gd name="connsiteX321" fmla="*/ 1835474 w 4011346"/>
                <a:gd name="connsiteY321" fmla="*/ 38128 h 2017102"/>
                <a:gd name="connsiteX322" fmla="*/ 1818788 w 4011346"/>
                <a:gd name="connsiteY322" fmla="*/ 78175 h 2017102"/>
                <a:gd name="connsiteX323" fmla="*/ 1838813 w 4011346"/>
                <a:gd name="connsiteY323" fmla="*/ 131569 h 2017102"/>
                <a:gd name="connsiteX324" fmla="*/ 1782079 w 4011346"/>
                <a:gd name="connsiteY324" fmla="*/ 118220 h 2017102"/>
                <a:gd name="connsiteX325" fmla="*/ 1768731 w 4011346"/>
                <a:gd name="connsiteY325" fmla="*/ 164942 h 2017102"/>
                <a:gd name="connsiteX326" fmla="*/ 1705322 w 4011346"/>
                <a:gd name="connsiteY326" fmla="*/ 188302 h 2017102"/>
                <a:gd name="connsiteX327" fmla="*/ 1685300 w 4011346"/>
                <a:gd name="connsiteY327" fmla="*/ 161604 h 2017102"/>
                <a:gd name="connsiteX328" fmla="*/ 1615218 w 4011346"/>
                <a:gd name="connsiteY328" fmla="*/ 164942 h 2017102"/>
                <a:gd name="connsiteX329" fmla="*/ 1638579 w 4011346"/>
                <a:gd name="connsiteY329" fmla="*/ 194977 h 2017102"/>
                <a:gd name="connsiteX330" fmla="*/ 1528449 w 4011346"/>
                <a:gd name="connsiteY330" fmla="*/ 221673 h 2017102"/>
                <a:gd name="connsiteX331" fmla="*/ 1465043 w 4011346"/>
                <a:gd name="connsiteY331" fmla="*/ 305104 h 2017102"/>
                <a:gd name="connsiteX332" fmla="*/ 1448357 w 4011346"/>
                <a:gd name="connsiteY332" fmla="*/ 331802 h 2017102"/>
                <a:gd name="connsiteX333" fmla="*/ 1481729 w 4011346"/>
                <a:gd name="connsiteY333" fmla="*/ 365175 h 2017102"/>
                <a:gd name="connsiteX334" fmla="*/ 1481729 w 4011346"/>
                <a:gd name="connsiteY334" fmla="*/ 395210 h 2017102"/>
                <a:gd name="connsiteX335" fmla="*/ 1458368 w 4011346"/>
                <a:gd name="connsiteY335" fmla="*/ 398547 h 2017102"/>
                <a:gd name="connsiteX336" fmla="*/ 1458368 w 4011346"/>
                <a:gd name="connsiteY336" fmla="*/ 378523 h 2017102"/>
                <a:gd name="connsiteX337" fmla="*/ 1418322 w 4011346"/>
                <a:gd name="connsiteY337" fmla="*/ 388535 h 2017102"/>
                <a:gd name="connsiteX338" fmla="*/ 1368263 w 4011346"/>
                <a:gd name="connsiteY338" fmla="*/ 395210 h 2017102"/>
                <a:gd name="connsiteX339" fmla="*/ 1321542 w 4011346"/>
                <a:gd name="connsiteY339" fmla="*/ 401884 h 2017102"/>
                <a:gd name="connsiteX340" fmla="*/ 1318205 w 4011346"/>
                <a:gd name="connsiteY340" fmla="*/ 488652 h 2017102"/>
                <a:gd name="connsiteX341" fmla="*/ 1358252 w 4011346"/>
                <a:gd name="connsiteY341" fmla="*/ 512013 h 2017102"/>
                <a:gd name="connsiteX342" fmla="*/ 1374938 w 4011346"/>
                <a:gd name="connsiteY342" fmla="*/ 542048 h 2017102"/>
                <a:gd name="connsiteX343" fmla="*/ 1384949 w 4011346"/>
                <a:gd name="connsiteY343" fmla="*/ 565408 h 2017102"/>
                <a:gd name="connsiteX344" fmla="*/ 1394961 w 4011346"/>
                <a:gd name="connsiteY344" fmla="*/ 615467 h 2017102"/>
                <a:gd name="connsiteX345" fmla="*/ 1384949 w 4011346"/>
                <a:gd name="connsiteY345" fmla="*/ 645502 h 2017102"/>
                <a:gd name="connsiteX346" fmla="*/ 1358252 w 4011346"/>
                <a:gd name="connsiteY346" fmla="*/ 612129 h 2017102"/>
                <a:gd name="connsiteX347" fmla="*/ 1361589 w 4011346"/>
                <a:gd name="connsiteY347" fmla="*/ 582094 h 2017102"/>
                <a:gd name="connsiteX348" fmla="*/ 1351577 w 4011346"/>
                <a:gd name="connsiteY348" fmla="*/ 542048 h 2017102"/>
                <a:gd name="connsiteX349" fmla="*/ 1328217 w 4011346"/>
                <a:gd name="connsiteY349" fmla="*/ 548722 h 2017102"/>
                <a:gd name="connsiteX350" fmla="*/ 1281495 w 4011346"/>
                <a:gd name="connsiteY350" fmla="*/ 512013 h 2017102"/>
                <a:gd name="connsiteX351" fmla="*/ 1241449 w 4011346"/>
                <a:gd name="connsiteY351" fmla="*/ 508675 h 2017102"/>
                <a:gd name="connsiteX352" fmla="*/ 1241449 w 4011346"/>
                <a:gd name="connsiteY352" fmla="*/ 555396 h 2017102"/>
                <a:gd name="connsiteX353" fmla="*/ 1201402 w 4011346"/>
                <a:gd name="connsiteY353" fmla="*/ 535373 h 2017102"/>
                <a:gd name="connsiteX354" fmla="*/ 1228100 w 4011346"/>
                <a:gd name="connsiteY354" fmla="*/ 585431 h 2017102"/>
                <a:gd name="connsiteX355" fmla="*/ 1258135 w 4011346"/>
                <a:gd name="connsiteY355" fmla="*/ 595443 h 2017102"/>
                <a:gd name="connsiteX356" fmla="*/ 1258135 w 4011346"/>
                <a:gd name="connsiteY356" fmla="*/ 615467 h 2017102"/>
                <a:gd name="connsiteX357" fmla="*/ 1198065 w 4011346"/>
                <a:gd name="connsiteY357" fmla="*/ 592106 h 2017102"/>
                <a:gd name="connsiteX358" fmla="*/ 1181379 w 4011346"/>
                <a:gd name="connsiteY358" fmla="*/ 592106 h 2017102"/>
                <a:gd name="connsiteX359" fmla="*/ 1178041 w 4011346"/>
                <a:gd name="connsiteY359" fmla="*/ 548722 h 2017102"/>
                <a:gd name="connsiteX360" fmla="*/ 1171367 w 4011346"/>
                <a:gd name="connsiteY360" fmla="*/ 461954 h 2017102"/>
                <a:gd name="connsiteX361" fmla="*/ 1161355 w 4011346"/>
                <a:gd name="connsiteY361" fmla="*/ 532036 h 2017102"/>
                <a:gd name="connsiteX362" fmla="*/ 1137995 w 4011346"/>
                <a:gd name="connsiteY362" fmla="*/ 562071 h 2017102"/>
                <a:gd name="connsiteX363" fmla="*/ 1158018 w 4011346"/>
                <a:gd name="connsiteY363" fmla="*/ 608792 h 2017102"/>
                <a:gd name="connsiteX364" fmla="*/ 1158018 w 4011346"/>
                <a:gd name="connsiteY364" fmla="*/ 642164 h 2017102"/>
                <a:gd name="connsiteX365" fmla="*/ 1141332 w 4011346"/>
                <a:gd name="connsiteY365" fmla="*/ 692223 h 2017102"/>
                <a:gd name="connsiteX366" fmla="*/ 1154681 w 4011346"/>
                <a:gd name="connsiteY366" fmla="*/ 725595 h 2017102"/>
                <a:gd name="connsiteX367" fmla="*/ 1184716 w 4011346"/>
                <a:gd name="connsiteY367" fmla="*/ 732269 h 2017102"/>
                <a:gd name="connsiteX368" fmla="*/ 1221425 w 4011346"/>
                <a:gd name="connsiteY368" fmla="*/ 738944 h 2017102"/>
                <a:gd name="connsiteX369" fmla="*/ 1241449 w 4011346"/>
                <a:gd name="connsiteY369" fmla="*/ 762304 h 2017102"/>
                <a:gd name="connsiteX370" fmla="*/ 1258135 w 4011346"/>
                <a:gd name="connsiteY370" fmla="*/ 805688 h 2017102"/>
                <a:gd name="connsiteX371" fmla="*/ 1258135 w 4011346"/>
                <a:gd name="connsiteY371" fmla="*/ 805688 h 2017102"/>
                <a:gd name="connsiteX372" fmla="*/ 1254798 w 4011346"/>
                <a:gd name="connsiteY372" fmla="*/ 839061 h 2017102"/>
                <a:gd name="connsiteX373" fmla="*/ 1274821 w 4011346"/>
                <a:gd name="connsiteY373" fmla="*/ 859084 h 2017102"/>
                <a:gd name="connsiteX374" fmla="*/ 1244786 w 4011346"/>
                <a:gd name="connsiteY374" fmla="*/ 865759 h 2017102"/>
                <a:gd name="connsiteX375" fmla="*/ 1224763 w 4011346"/>
                <a:gd name="connsiteY375" fmla="*/ 825712 h 2017102"/>
                <a:gd name="connsiteX376" fmla="*/ 1224763 w 4011346"/>
                <a:gd name="connsiteY376" fmla="*/ 785665 h 2017102"/>
                <a:gd name="connsiteX377" fmla="*/ 1194727 w 4011346"/>
                <a:gd name="connsiteY377" fmla="*/ 748956 h 2017102"/>
                <a:gd name="connsiteX378" fmla="*/ 1164692 w 4011346"/>
                <a:gd name="connsiteY378" fmla="*/ 792340 h 2017102"/>
                <a:gd name="connsiteX379" fmla="*/ 1178041 w 4011346"/>
                <a:gd name="connsiteY379" fmla="*/ 835723 h 2017102"/>
                <a:gd name="connsiteX380" fmla="*/ 1137995 w 4011346"/>
                <a:gd name="connsiteY380" fmla="*/ 892456 h 2017102"/>
                <a:gd name="connsiteX381" fmla="*/ 1097948 w 4011346"/>
                <a:gd name="connsiteY381" fmla="*/ 949189 h 2017102"/>
                <a:gd name="connsiteX382" fmla="*/ 1007843 w 4011346"/>
                <a:gd name="connsiteY382" fmla="*/ 912480 h 2017102"/>
                <a:gd name="connsiteX383" fmla="*/ 1074587 w 4011346"/>
                <a:gd name="connsiteY383" fmla="*/ 909142 h 2017102"/>
                <a:gd name="connsiteX384" fmla="*/ 1107960 w 4011346"/>
                <a:gd name="connsiteY384" fmla="*/ 845735 h 2017102"/>
                <a:gd name="connsiteX385" fmla="*/ 1121309 w 4011346"/>
                <a:gd name="connsiteY385" fmla="*/ 802351 h 2017102"/>
                <a:gd name="connsiteX386" fmla="*/ 1127983 w 4011346"/>
                <a:gd name="connsiteY386" fmla="*/ 768979 h 2017102"/>
                <a:gd name="connsiteX387" fmla="*/ 1117971 w 4011346"/>
                <a:gd name="connsiteY387" fmla="*/ 752293 h 2017102"/>
                <a:gd name="connsiteX388" fmla="*/ 1114634 w 4011346"/>
                <a:gd name="connsiteY388" fmla="*/ 702234 h 2017102"/>
                <a:gd name="connsiteX389" fmla="*/ 1104622 w 4011346"/>
                <a:gd name="connsiteY389" fmla="*/ 622141 h 2017102"/>
                <a:gd name="connsiteX390" fmla="*/ 1101285 w 4011346"/>
                <a:gd name="connsiteY390" fmla="*/ 562071 h 2017102"/>
                <a:gd name="connsiteX391" fmla="*/ 1124646 w 4011346"/>
                <a:gd name="connsiteY391" fmla="*/ 468629 h 2017102"/>
                <a:gd name="connsiteX392" fmla="*/ 1031203 w 4011346"/>
                <a:gd name="connsiteY392" fmla="*/ 458617 h 2017102"/>
                <a:gd name="connsiteX393" fmla="*/ 1014517 w 4011346"/>
                <a:gd name="connsiteY393" fmla="*/ 515350 h 2017102"/>
                <a:gd name="connsiteX394" fmla="*/ 1024529 w 4011346"/>
                <a:gd name="connsiteY394" fmla="*/ 562071 h 2017102"/>
                <a:gd name="connsiteX395" fmla="*/ 981145 w 4011346"/>
                <a:gd name="connsiteY395" fmla="*/ 615467 h 2017102"/>
                <a:gd name="connsiteX396" fmla="*/ 991157 w 4011346"/>
                <a:gd name="connsiteY396" fmla="*/ 652176 h 2017102"/>
                <a:gd name="connsiteX397" fmla="*/ 981145 w 4011346"/>
                <a:gd name="connsiteY397" fmla="*/ 698897 h 2017102"/>
                <a:gd name="connsiteX398" fmla="*/ 1001168 w 4011346"/>
                <a:gd name="connsiteY398" fmla="*/ 722258 h 2017102"/>
                <a:gd name="connsiteX399" fmla="*/ 1017854 w 4011346"/>
                <a:gd name="connsiteY399" fmla="*/ 768979 h 2017102"/>
                <a:gd name="connsiteX400" fmla="*/ 1047890 w 4011346"/>
                <a:gd name="connsiteY400" fmla="*/ 755630 h 2017102"/>
                <a:gd name="connsiteX401" fmla="*/ 1014517 w 4011346"/>
                <a:gd name="connsiteY401" fmla="*/ 809026 h 2017102"/>
                <a:gd name="connsiteX402" fmla="*/ 957784 w 4011346"/>
                <a:gd name="connsiteY402" fmla="*/ 755630 h 2017102"/>
                <a:gd name="connsiteX403" fmla="*/ 884365 w 4011346"/>
                <a:gd name="connsiteY403" fmla="*/ 718921 h 2017102"/>
                <a:gd name="connsiteX404" fmla="*/ 824295 w 4011346"/>
                <a:gd name="connsiteY404" fmla="*/ 695560 h 2017102"/>
                <a:gd name="connsiteX405" fmla="*/ 810946 w 4011346"/>
                <a:gd name="connsiteY405" fmla="*/ 732269 h 2017102"/>
                <a:gd name="connsiteX406" fmla="*/ 827633 w 4011346"/>
                <a:gd name="connsiteY406" fmla="*/ 768979 h 2017102"/>
                <a:gd name="connsiteX407" fmla="*/ 814284 w 4011346"/>
                <a:gd name="connsiteY407" fmla="*/ 792340 h 2017102"/>
                <a:gd name="connsiteX408" fmla="*/ 800935 w 4011346"/>
                <a:gd name="connsiteY408" fmla="*/ 809026 h 2017102"/>
                <a:gd name="connsiteX409" fmla="*/ 770900 w 4011346"/>
                <a:gd name="connsiteY409" fmla="*/ 752293 h 2017102"/>
                <a:gd name="connsiteX410" fmla="*/ 744202 w 4011346"/>
                <a:gd name="connsiteY410" fmla="*/ 789002 h 2017102"/>
                <a:gd name="connsiteX411" fmla="*/ 707492 w 4011346"/>
                <a:gd name="connsiteY411" fmla="*/ 782328 h 2017102"/>
                <a:gd name="connsiteX412" fmla="*/ 654097 w 4011346"/>
                <a:gd name="connsiteY412" fmla="*/ 819037 h 2017102"/>
                <a:gd name="connsiteX413" fmla="*/ 644085 w 4011346"/>
                <a:gd name="connsiteY413" fmla="*/ 795677 h 2017102"/>
                <a:gd name="connsiteX414" fmla="*/ 654097 w 4011346"/>
                <a:gd name="connsiteY414" fmla="*/ 758967 h 2017102"/>
                <a:gd name="connsiteX415" fmla="*/ 614050 w 4011346"/>
                <a:gd name="connsiteY415" fmla="*/ 795677 h 2017102"/>
                <a:gd name="connsiteX416" fmla="*/ 594027 w 4011346"/>
                <a:gd name="connsiteY416" fmla="*/ 795677 h 2017102"/>
                <a:gd name="connsiteX417" fmla="*/ 533957 w 4011346"/>
                <a:gd name="connsiteY417" fmla="*/ 829049 h 2017102"/>
                <a:gd name="connsiteX418" fmla="*/ 510596 w 4011346"/>
                <a:gd name="connsiteY418" fmla="*/ 852410 h 2017102"/>
                <a:gd name="connsiteX419" fmla="*/ 500584 w 4011346"/>
                <a:gd name="connsiteY419" fmla="*/ 899131 h 2017102"/>
                <a:gd name="connsiteX420" fmla="*/ 450526 w 4011346"/>
                <a:gd name="connsiteY420" fmla="*/ 885782 h 2017102"/>
                <a:gd name="connsiteX421" fmla="*/ 433840 w 4011346"/>
                <a:gd name="connsiteY421" fmla="*/ 849072 h 2017102"/>
                <a:gd name="connsiteX422" fmla="*/ 467212 w 4011346"/>
                <a:gd name="connsiteY422" fmla="*/ 819037 h 2017102"/>
                <a:gd name="connsiteX423" fmla="*/ 453863 w 4011346"/>
                <a:gd name="connsiteY423" fmla="*/ 795677 h 2017102"/>
                <a:gd name="connsiteX424" fmla="*/ 390456 w 4011346"/>
                <a:gd name="connsiteY424" fmla="*/ 765642 h 2017102"/>
                <a:gd name="connsiteX425" fmla="*/ 417154 w 4011346"/>
                <a:gd name="connsiteY425" fmla="*/ 815700 h 2017102"/>
                <a:gd name="connsiteX426" fmla="*/ 407142 w 4011346"/>
                <a:gd name="connsiteY426" fmla="*/ 859084 h 2017102"/>
                <a:gd name="connsiteX427" fmla="*/ 413817 w 4011346"/>
                <a:gd name="connsiteY427" fmla="*/ 895794 h 2017102"/>
                <a:gd name="connsiteX428" fmla="*/ 427165 w 4011346"/>
                <a:gd name="connsiteY428" fmla="*/ 919154 h 2017102"/>
                <a:gd name="connsiteX429" fmla="*/ 413817 w 4011346"/>
                <a:gd name="connsiteY429" fmla="*/ 949189 h 2017102"/>
                <a:gd name="connsiteX430" fmla="*/ 390456 w 4011346"/>
                <a:gd name="connsiteY430" fmla="*/ 925829 h 2017102"/>
                <a:gd name="connsiteX431" fmla="*/ 360421 w 4011346"/>
                <a:gd name="connsiteY431" fmla="*/ 922491 h 2017102"/>
                <a:gd name="connsiteX432" fmla="*/ 333723 w 4011346"/>
                <a:gd name="connsiteY432" fmla="*/ 962538 h 2017102"/>
                <a:gd name="connsiteX433" fmla="*/ 307025 w 4011346"/>
                <a:gd name="connsiteY433" fmla="*/ 982561 h 2017102"/>
                <a:gd name="connsiteX434" fmla="*/ 320374 w 4011346"/>
                <a:gd name="connsiteY434" fmla="*/ 1009259 h 2017102"/>
                <a:gd name="connsiteX435" fmla="*/ 303688 w 4011346"/>
                <a:gd name="connsiteY435" fmla="*/ 1032620 h 2017102"/>
                <a:gd name="connsiteX436" fmla="*/ 233606 w 4011346"/>
                <a:gd name="connsiteY436" fmla="*/ 995910 h 2017102"/>
                <a:gd name="connsiteX437" fmla="*/ 243618 w 4011346"/>
                <a:gd name="connsiteY437" fmla="*/ 1045969 h 2017102"/>
                <a:gd name="connsiteX438" fmla="*/ 263641 w 4011346"/>
                <a:gd name="connsiteY438" fmla="*/ 1065992 h 2017102"/>
                <a:gd name="connsiteX439" fmla="*/ 250292 w 4011346"/>
                <a:gd name="connsiteY439" fmla="*/ 1079341 h 2017102"/>
                <a:gd name="connsiteX440" fmla="*/ 193560 w 4011346"/>
                <a:gd name="connsiteY440" fmla="*/ 1042631 h 2017102"/>
                <a:gd name="connsiteX441" fmla="*/ 170199 w 4011346"/>
                <a:gd name="connsiteY441" fmla="*/ 1002585 h 2017102"/>
                <a:gd name="connsiteX442" fmla="*/ 170199 w 4011346"/>
                <a:gd name="connsiteY442" fmla="*/ 955864 h 2017102"/>
                <a:gd name="connsiteX443" fmla="*/ 133490 w 4011346"/>
                <a:gd name="connsiteY443" fmla="*/ 879107 h 2017102"/>
                <a:gd name="connsiteX444" fmla="*/ 196897 w 4011346"/>
                <a:gd name="connsiteY444" fmla="*/ 909142 h 2017102"/>
                <a:gd name="connsiteX445" fmla="*/ 256967 w 4011346"/>
                <a:gd name="connsiteY445" fmla="*/ 939177 h 2017102"/>
                <a:gd name="connsiteX446" fmla="*/ 293676 w 4011346"/>
                <a:gd name="connsiteY446" fmla="*/ 942515 h 2017102"/>
                <a:gd name="connsiteX447" fmla="*/ 327049 w 4011346"/>
                <a:gd name="connsiteY447" fmla="*/ 912480 h 2017102"/>
                <a:gd name="connsiteX448" fmla="*/ 343735 w 4011346"/>
                <a:gd name="connsiteY448" fmla="*/ 875770 h 2017102"/>
                <a:gd name="connsiteX449" fmla="*/ 333723 w 4011346"/>
                <a:gd name="connsiteY449" fmla="*/ 825712 h 2017102"/>
                <a:gd name="connsiteX450" fmla="*/ 290339 w 4011346"/>
                <a:gd name="connsiteY450" fmla="*/ 805688 h 2017102"/>
                <a:gd name="connsiteX451" fmla="*/ 236944 w 4011346"/>
                <a:gd name="connsiteY451" fmla="*/ 758967 h 2017102"/>
                <a:gd name="connsiteX452" fmla="*/ 133490 w 4011346"/>
                <a:gd name="connsiteY452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001273 w 4011346"/>
                <a:gd name="connsiteY320" fmla="*/ 234106 h 2017102"/>
                <a:gd name="connsiteX321" fmla="*/ 1877440 w 4011346"/>
                <a:gd name="connsiteY321" fmla="*/ 0 h 2017102"/>
                <a:gd name="connsiteX322" fmla="*/ 1835474 w 4011346"/>
                <a:gd name="connsiteY322" fmla="*/ 38128 h 2017102"/>
                <a:gd name="connsiteX323" fmla="*/ 1818788 w 4011346"/>
                <a:gd name="connsiteY323" fmla="*/ 78175 h 2017102"/>
                <a:gd name="connsiteX324" fmla="*/ 1838813 w 4011346"/>
                <a:gd name="connsiteY324" fmla="*/ 131569 h 2017102"/>
                <a:gd name="connsiteX325" fmla="*/ 1782079 w 4011346"/>
                <a:gd name="connsiteY325" fmla="*/ 118220 h 2017102"/>
                <a:gd name="connsiteX326" fmla="*/ 1768731 w 4011346"/>
                <a:gd name="connsiteY326" fmla="*/ 164942 h 2017102"/>
                <a:gd name="connsiteX327" fmla="*/ 1705322 w 4011346"/>
                <a:gd name="connsiteY327" fmla="*/ 188302 h 2017102"/>
                <a:gd name="connsiteX328" fmla="*/ 1685300 w 4011346"/>
                <a:gd name="connsiteY328" fmla="*/ 161604 h 2017102"/>
                <a:gd name="connsiteX329" fmla="*/ 1615218 w 4011346"/>
                <a:gd name="connsiteY329" fmla="*/ 164942 h 2017102"/>
                <a:gd name="connsiteX330" fmla="*/ 1638579 w 4011346"/>
                <a:gd name="connsiteY330" fmla="*/ 194977 h 2017102"/>
                <a:gd name="connsiteX331" fmla="*/ 1528449 w 4011346"/>
                <a:gd name="connsiteY331" fmla="*/ 221673 h 2017102"/>
                <a:gd name="connsiteX332" fmla="*/ 1465043 w 4011346"/>
                <a:gd name="connsiteY332" fmla="*/ 305104 h 2017102"/>
                <a:gd name="connsiteX333" fmla="*/ 1448357 w 4011346"/>
                <a:gd name="connsiteY333" fmla="*/ 331802 h 2017102"/>
                <a:gd name="connsiteX334" fmla="*/ 1481729 w 4011346"/>
                <a:gd name="connsiteY334" fmla="*/ 365175 h 2017102"/>
                <a:gd name="connsiteX335" fmla="*/ 1481729 w 4011346"/>
                <a:gd name="connsiteY335" fmla="*/ 395210 h 2017102"/>
                <a:gd name="connsiteX336" fmla="*/ 1458368 w 4011346"/>
                <a:gd name="connsiteY336" fmla="*/ 398547 h 2017102"/>
                <a:gd name="connsiteX337" fmla="*/ 1458368 w 4011346"/>
                <a:gd name="connsiteY337" fmla="*/ 378523 h 2017102"/>
                <a:gd name="connsiteX338" fmla="*/ 1418322 w 4011346"/>
                <a:gd name="connsiteY338" fmla="*/ 388535 h 2017102"/>
                <a:gd name="connsiteX339" fmla="*/ 1368263 w 4011346"/>
                <a:gd name="connsiteY339" fmla="*/ 395210 h 2017102"/>
                <a:gd name="connsiteX340" fmla="*/ 1321542 w 4011346"/>
                <a:gd name="connsiteY340" fmla="*/ 401884 h 2017102"/>
                <a:gd name="connsiteX341" fmla="*/ 1318205 w 4011346"/>
                <a:gd name="connsiteY341" fmla="*/ 488652 h 2017102"/>
                <a:gd name="connsiteX342" fmla="*/ 1358252 w 4011346"/>
                <a:gd name="connsiteY342" fmla="*/ 512013 h 2017102"/>
                <a:gd name="connsiteX343" fmla="*/ 1374938 w 4011346"/>
                <a:gd name="connsiteY343" fmla="*/ 542048 h 2017102"/>
                <a:gd name="connsiteX344" fmla="*/ 1384949 w 4011346"/>
                <a:gd name="connsiteY344" fmla="*/ 565408 h 2017102"/>
                <a:gd name="connsiteX345" fmla="*/ 1394961 w 4011346"/>
                <a:gd name="connsiteY345" fmla="*/ 615467 h 2017102"/>
                <a:gd name="connsiteX346" fmla="*/ 1384949 w 4011346"/>
                <a:gd name="connsiteY346" fmla="*/ 645502 h 2017102"/>
                <a:gd name="connsiteX347" fmla="*/ 1358252 w 4011346"/>
                <a:gd name="connsiteY347" fmla="*/ 612129 h 2017102"/>
                <a:gd name="connsiteX348" fmla="*/ 1361589 w 4011346"/>
                <a:gd name="connsiteY348" fmla="*/ 582094 h 2017102"/>
                <a:gd name="connsiteX349" fmla="*/ 1351577 w 4011346"/>
                <a:gd name="connsiteY349" fmla="*/ 542048 h 2017102"/>
                <a:gd name="connsiteX350" fmla="*/ 1328217 w 4011346"/>
                <a:gd name="connsiteY350" fmla="*/ 548722 h 2017102"/>
                <a:gd name="connsiteX351" fmla="*/ 1281495 w 4011346"/>
                <a:gd name="connsiteY351" fmla="*/ 512013 h 2017102"/>
                <a:gd name="connsiteX352" fmla="*/ 1241449 w 4011346"/>
                <a:gd name="connsiteY352" fmla="*/ 508675 h 2017102"/>
                <a:gd name="connsiteX353" fmla="*/ 1241449 w 4011346"/>
                <a:gd name="connsiteY353" fmla="*/ 555396 h 2017102"/>
                <a:gd name="connsiteX354" fmla="*/ 1201402 w 4011346"/>
                <a:gd name="connsiteY354" fmla="*/ 535373 h 2017102"/>
                <a:gd name="connsiteX355" fmla="*/ 1228100 w 4011346"/>
                <a:gd name="connsiteY355" fmla="*/ 585431 h 2017102"/>
                <a:gd name="connsiteX356" fmla="*/ 1258135 w 4011346"/>
                <a:gd name="connsiteY356" fmla="*/ 595443 h 2017102"/>
                <a:gd name="connsiteX357" fmla="*/ 1258135 w 4011346"/>
                <a:gd name="connsiteY357" fmla="*/ 615467 h 2017102"/>
                <a:gd name="connsiteX358" fmla="*/ 1198065 w 4011346"/>
                <a:gd name="connsiteY358" fmla="*/ 592106 h 2017102"/>
                <a:gd name="connsiteX359" fmla="*/ 1181379 w 4011346"/>
                <a:gd name="connsiteY359" fmla="*/ 592106 h 2017102"/>
                <a:gd name="connsiteX360" fmla="*/ 1178041 w 4011346"/>
                <a:gd name="connsiteY360" fmla="*/ 548722 h 2017102"/>
                <a:gd name="connsiteX361" fmla="*/ 1171367 w 4011346"/>
                <a:gd name="connsiteY361" fmla="*/ 461954 h 2017102"/>
                <a:gd name="connsiteX362" fmla="*/ 1161355 w 4011346"/>
                <a:gd name="connsiteY362" fmla="*/ 532036 h 2017102"/>
                <a:gd name="connsiteX363" fmla="*/ 1137995 w 4011346"/>
                <a:gd name="connsiteY363" fmla="*/ 562071 h 2017102"/>
                <a:gd name="connsiteX364" fmla="*/ 1158018 w 4011346"/>
                <a:gd name="connsiteY364" fmla="*/ 608792 h 2017102"/>
                <a:gd name="connsiteX365" fmla="*/ 1158018 w 4011346"/>
                <a:gd name="connsiteY365" fmla="*/ 642164 h 2017102"/>
                <a:gd name="connsiteX366" fmla="*/ 1141332 w 4011346"/>
                <a:gd name="connsiteY366" fmla="*/ 692223 h 2017102"/>
                <a:gd name="connsiteX367" fmla="*/ 1154681 w 4011346"/>
                <a:gd name="connsiteY367" fmla="*/ 725595 h 2017102"/>
                <a:gd name="connsiteX368" fmla="*/ 1184716 w 4011346"/>
                <a:gd name="connsiteY368" fmla="*/ 732269 h 2017102"/>
                <a:gd name="connsiteX369" fmla="*/ 1221425 w 4011346"/>
                <a:gd name="connsiteY369" fmla="*/ 738944 h 2017102"/>
                <a:gd name="connsiteX370" fmla="*/ 1241449 w 4011346"/>
                <a:gd name="connsiteY370" fmla="*/ 762304 h 2017102"/>
                <a:gd name="connsiteX371" fmla="*/ 1258135 w 4011346"/>
                <a:gd name="connsiteY371" fmla="*/ 805688 h 2017102"/>
                <a:gd name="connsiteX372" fmla="*/ 1258135 w 4011346"/>
                <a:gd name="connsiteY372" fmla="*/ 805688 h 2017102"/>
                <a:gd name="connsiteX373" fmla="*/ 1254798 w 4011346"/>
                <a:gd name="connsiteY373" fmla="*/ 839061 h 2017102"/>
                <a:gd name="connsiteX374" fmla="*/ 1274821 w 4011346"/>
                <a:gd name="connsiteY374" fmla="*/ 859084 h 2017102"/>
                <a:gd name="connsiteX375" fmla="*/ 1244786 w 4011346"/>
                <a:gd name="connsiteY375" fmla="*/ 865759 h 2017102"/>
                <a:gd name="connsiteX376" fmla="*/ 1224763 w 4011346"/>
                <a:gd name="connsiteY376" fmla="*/ 825712 h 2017102"/>
                <a:gd name="connsiteX377" fmla="*/ 1224763 w 4011346"/>
                <a:gd name="connsiteY377" fmla="*/ 785665 h 2017102"/>
                <a:gd name="connsiteX378" fmla="*/ 1194727 w 4011346"/>
                <a:gd name="connsiteY378" fmla="*/ 748956 h 2017102"/>
                <a:gd name="connsiteX379" fmla="*/ 1164692 w 4011346"/>
                <a:gd name="connsiteY379" fmla="*/ 792340 h 2017102"/>
                <a:gd name="connsiteX380" fmla="*/ 1178041 w 4011346"/>
                <a:gd name="connsiteY380" fmla="*/ 835723 h 2017102"/>
                <a:gd name="connsiteX381" fmla="*/ 1137995 w 4011346"/>
                <a:gd name="connsiteY381" fmla="*/ 892456 h 2017102"/>
                <a:gd name="connsiteX382" fmla="*/ 1097948 w 4011346"/>
                <a:gd name="connsiteY382" fmla="*/ 949189 h 2017102"/>
                <a:gd name="connsiteX383" fmla="*/ 1007843 w 4011346"/>
                <a:gd name="connsiteY383" fmla="*/ 912480 h 2017102"/>
                <a:gd name="connsiteX384" fmla="*/ 1074587 w 4011346"/>
                <a:gd name="connsiteY384" fmla="*/ 909142 h 2017102"/>
                <a:gd name="connsiteX385" fmla="*/ 1107960 w 4011346"/>
                <a:gd name="connsiteY385" fmla="*/ 845735 h 2017102"/>
                <a:gd name="connsiteX386" fmla="*/ 1121309 w 4011346"/>
                <a:gd name="connsiteY386" fmla="*/ 802351 h 2017102"/>
                <a:gd name="connsiteX387" fmla="*/ 1127983 w 4011346"/>
                <a:gd name="connsiteY387" fmla="*/ 768979 h 2017102"/>
                <a:gd name="connsiteX388" fmla="*/ 1117971 w 4011346"/>
                <a:gd name="connsiteY388" fmla="*/ 752293 h 2017102"/>
                <a:gd name="connsiteX389" fmla="*/ 1114634 w 4011346"/>
                <a:gd name="connsiteY389" fmla="*/ 702234 h 2017102"/>
                <a:gd name="connsiteX390" fmla="*/ 1104622 w 4011346"/>
                <a:gd name="connsiteY390" fmla="*/ 622141 h 2017102"/>
                <a:gd name="connsiteX391" fmla="*/ 1101285 w 4011346"/>
                <a:gd name="connsiteY391" fmla="*/ 562071 h 2017102"/>
                <a:gd name="connsiteX392" fmla="*/ 1124646 w 4011346"/>
                <a:gd name="connsiteY392" fmla="*/ 468629 h 2017102"/>
                <a:gd name="connsiteX393" fmla="*/ 1031203 w 4011346"/>
                <a:gd name="connsiteY393" fmla="*/ 458617 h 2017102"/>
                <a:gd name="connsiteX394" fmla="*/ 1014517 w 4011346"/>
                <a:gd name="connsiteY394" fmla="*/ 515350 h 2017102"/>
                <a:gd name="connsiteX395" fmla="*/ 1024529 w 4011346"/>
                <a:gd name="connsiteY395" fmla="*/ 562071 h 2017102"/>
                <a:gd name="connsiteX396" fmla="*/ 981145 w 4011346"/>
                <a:gd name="connsiteY396" fmla="*/ 615467 h 2017102"/>
                <a:gd name="connsiteX397" fmla="*/ 991157 w 4011346"/>
                <a:gd name="connsiteY397" fmla="*/ 652176 h 2017102"/>
                <a:gd name="connsiteX398" fmla="*/ 981145 w 4011346"/>
                <a:gd name="connsiteY398" fmla="*/ 698897 h 2017102"/>
                <a:gd name="connsiteX399" fmla="*/ 1001168 w 4011346"/>
                <a:gd name="connsiteY399" fmla="*/ 722258 h 2017102"/>
                <a:gd name="connsiteX400" fmla="*/ 1017854 w 4011346"/>
                <a:gd name="connsiteY400" fmla="*/ 768979 h 2017102"/>
                <a:gd name="connsiteX401" fmla="*/ 1047890 w 4011346"/>
                <a:gd name="connsiteY401" fmla="*/ 755630 h 2017102"/>
                <a:gd name="connsiteX402" fmla="*/ 1014517 w 4011346"/>
                <a:gd name="connsiteY402" fmla="*/ 809026 h 2017102"/>
                <a:gd name="connsiteX403" fmla="*/ 957784 w 4011346"/>
                <a:gd name="connsiteY403" fmla="*/ 755630 h 2017102"/>
                <a:gd name="connsiteX404" fmla="*/ 884365 w 4011346"/>
                <a:gd name="connsiteY404" fmla="*/ 718921 h 2017102"/>
                <a:gd name="connsiteX405" fmla="*/ 824295 w 4011346"/>
                <a:gd name="connsiteY405" fmla="*/ 695560 h 2017102"/>
                <a:gd name="connsiteX406" fmla="*/ 810946 w 4011346"/>
                <a:gd name="connsiteY406" fmla="*/ 732269 h 2017102"/>
                <a:gd name="connsiteX407" fmla="*/ 827633 w 4011346"/>
                <a:gd name="connsiteY407" fmla="*/ 768979 h 2017102"/>
                <a:gd name="connsiteX408" fmla="*/ 814284 w 4011346"/>
                <a:gd name="connsiteY408" fmla="*/ 792340 h 2017102"/>
                <a:gd name="connsiteX409" fmla="*/ 800935 w 4011346"/>
                <a:gd name="connsiteY409" fmla="*/ 809026 h 2017102"/>
                <a:gd name="connsiteX410" fmla="*/ 770900 w 4011346"/>
                <a:gd name="connsiteY410" fmla="*/ 752293 h 2017102"/>
                <a:gd name="connsiteX411" fmla="*/ 744202 w 4011346"/>
                <a:gd name="connsiteY411" fmla="*/ 789002 h 2017102"/>
                <a:gd name="connsiteX412" fmla="*/ 707492 w 4011346"/>
                <a:gd name="connsiteY412" fmla="*/ 782328 h 2017102"/>
                <a:gd name="connsiteX413" fmla="*/ 654097 w 4011346"/>
                <a:gd name="connsiteY413" fmla="*/ 819037 h 2017102"/>
                <a:gd name="connsiteX414" fmla="*/ 644085 w 4011346"/>
                <a:gd name="connsiteY414" fmla="*/ 795677 h 2017102"/>
                <a:gd name="connsiteX415" fmla="*/ 654097 w 4011346"/>
                <a:gd name="connsiteY415" fmla="*/ 758967 h 2017102"/>
                <a:gd name="connsiteX416" fmla="*/ 614050 w 4011346"/>
                <a:gd name="connsiteY416" fmla="*/ 795677 h 2017102"/>
                <a:gd name="connsiteX417" fmla="*/ 594027 w 4011346"/>
                <a:gd name="connsiteY417" fmla="*/ 795677 h 2017102"/>
                <a:gd name="connsiteX418" fmla="*/ 533957 w 4011346"/>
                <a:gd name="connsiteY418" fmla="*/ 829049 h 2017102"/>
                <a:gd name="connsiteX419" fmla="*/ 510596 w 4011346"/>
                <a:gd name="connsiteY419" fmla="*/ 852410 h 2017102"/>
                <a:gd name="connsiteX420" fmla="*/ 500584 w 4011346"/>
                <a:gd name="connsiteY420" fmla="*/ 899131 h 2017102"/>
                <a:gd name="connsiteX421" fmla="*/ 450526 w 4011346"/>
                <a:gd name="connsiteY421" fmla="*/ 885782 h 2017102"/>
                <a:gd name="connsiteX422" fmla="*/ 433840 w 4011346"/>
                <a:gd name="connsiteY422" fmla="*/ 849072 h 2017102"/>
                <a:gd name="connsiteX423" fmla="*/ 467212 w 4011346"/>
                <a:gd name="connsiteY423" fmla="*/ 819037 h 2017102"/>
                <a:gd name="connsiteX424" fmla="*/ 453863 w 4011346"/>
                <a:gd name="connsiteY424" fmla="*/ 795677 h 2017102"/>
                <a:gd name="connsiteX425" fmla="*/ 390456 w 4011346"/>
                <a:gd name="connsiteY425" fmla="*/ 765642 h 2017102"/>
                <a:gd name="connsiteX426" fmla="*/ 417154 w 4011346"/>
                <a:gd name="connsiteY426" fmla="*/ 815700 h 2017102"/>
                <a:gd name="connsiteX427" fmla="*/ 407142 w 4011346"/>
                <a:gd name="connsiteY427" fmla="*/ 859084 h 2017102"/>
                <a:gd name="connsiteX428" fmla="*/ 413817 w 4011346"/>
                <a:gd name="connsiteY428" fmla="*/ 895794 h 2017102"/>
                <a:gd name="connsiteX429" fmla="*/ 427165 w 4011346"/>
                <a:gd name="connsiteY429" fmla="*/ 919154 h 2017102"/>
                <a:gd name="connsiteX430" fmla="*/ 413817 w 4011346"/>
                <a:gd name="connsiteY430" fmla="*/ 949189 h 2017102"/>
                <a:gd name="connsiteX431" fmla="*/ 390456 w 4011346"/>
                <a:gd name="connsiteY431" fmla="*/ 925829 h 2017102"/>
                <a:gd name="connsiteX432" fmla="*/ 360421 w 4011346"/>
                <a:gd name="connsiteY432" fmla="*/ 922491 h 2017102"/>
                <a:gd name="connsiteX433" fmla="*/ 333723 w 4011346"/>
                <a:gd name="connsiteY433" fmla="*/ 962538 h 2017102"/>
                <a:gd name="connsiteX434" fmla="*/ 307025 w 4011346"/>
                <a:gd name="connsiteY434" fmla="*/ 982561 h 2017102"/>
                <a:gd name="connsiteX435" fmla="*/ 320374 w 4011346"/>
                <a:gd name="connsiteY435" fmla="*/ 1009259 h 2017102"/>
                <a:gd name="connsiteX436" fmla="*/ 303688 w 4011346"/>
                <a:gd name="connsiteY436" fmla="*/ 1032620 h 2017102"/>
                <a:gd name="connsiteX437" fmla="*/ 233606 w 4011346"/>
                <a:gd name="connsiteY437" fmla="*/ 995910 h 2017102"/>
                <a:gd name="connsiteX438" fmla="*/ 243618 w 4011346"/>
                <a:gd name="connsiteY438" fmla="*/ 1045969 h 2017102"/>
                <a:gd name="connsiteX439" fmla="*/ 263641 w 4011346"/>
                <a:gd name="connsiteY439" fmla="*/ 1065992 h 2017102"/>
                <a:gd name="connsiteX440" fmla="*/ 250292 w 4011346"/>
                <a:gd name="connsiteY440" fmla="*/ 1079341 h 2017102"/>
                <a:gd name="connsiteX441" fmla="*/ 193560 w 4011346"/>
                <a:gd name="connsiteY441" fmla="*/ 1042631 h 2017102"/>
                <a:gd name="connsiteX442" fmla="*/ 170199 w 4011346"/>
                <a:gd name="connsiteY442" fmla="*/ 1002585 h 2017102"/>
                <a:gd name="connsiteX443" fmla="*/ 170199 w 4011346"/>
                <a:gd name="connsiteY443" fmla="*/ 955864 h 2017102"/>
                <a:gd name="connsiteX444" fmla="*/ 133490 w 4011346"/>
                <a:gd name="connsiteY444" fmla="*/ 879107 h 2017102"/>
                <a:gd name="connsiteX445" fmla="*/ 196897 w 4011346"/>
                <a:gd name="connsiteY445" fmla="*/ 909142 h 2017102"/>
                <a:gd name="connsiteX446" fmla="*/ 256967 w 4011346"/>
                <a:gd name="connsiteY446" fmla="*/ 939177 h 2017102"/>
                <a:gd name="connsiteX447" fmla="*/ 293676 w 4011346"/>
                <a:gd name="connsiteY447" fmla="*/ 942515 h 2017102"/>
                <a:gd name="connsiteX448" fmla="*/ 327049 w 4011346"/>
                <a:gd name="connsiteY448" fmla="*/ 912480 h 2017102"/>
                <a:gd name="connsiteX449" fmla="*/ 343735 w 4011346"/>
                <a:gd name="connsiteY449" fmla="*/ 875770 h 2017102"/>
                <a:gd name="connsiteX450" fmla="*/ 333723 w 4011346"/>
                <a:gd name="connsiteY450" fmla="*/ 825712 h 2017102"/>
                <a:gd name="connsiteX451" fmla="*/ 290339 w 4011346"/>
                <a:gd name="connsiteY451" fmla="*/ 805688 h 2017102"/>
                <a:gd name="connsiteX452" fmla="*/ 236944 w 4011346"/>
                <a:gd name="connsiteY452" fmla="*/ 758967 h 2017102"/>
                <a:gd name="connsiteX453" fmla="*/ 133490 w 4011346"/>
                <a:gd name="connsiteY453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1877440 w 4011346"/>
                <a:gd name="connsiteY321" fmla="*/ 0 h 2017102"/>
                <a:gd name="connsiteX322" fmla="*/ 1835474 w 4011346"/>
                <a:gd name="connsiteY322" fmla="*/ 38128 h 2017102"/>
                <a:gd name="connsiteX323" fmla="*/ 1818788 w 4011346"/>
                <a:gd name="connsiteY323" fmla="*/ 78175 h 2017102"/>
                <a:gd name="connsiteX324" fmla="*/ 1838813 w 4011346"/>
                <a:gd name="connsiteY324" fmla="*/ 131569 h 2017102"/>
                <a:gd name="connsiteX325" fmla="*/ 1782079 w 4011346"/>
                <a:gd name="connsiteY325" fmla="*/ 118220 h 2017102"/>
                <a:gd name="connsiteX326" fmla="*/ 1768731 w 4011346"/>
                <a:gd name="connsiteY326" fmla="*/ 164942 h 2017102"/>
                <a:gd name="connsiteX327" fmla="*/ 1705322 w 4011346"/>
                <a:gd name="connsiteY327" fmla="*/ 188302 h 2017102"/>
                <a:gd name="connsiteX328" fmla="*/ 1685300 w 4011346"/>
                <a:gd name="connsiteY328" fmla="*/ 161604 h 2017102"/>
                <a:gd name="connsiteX329" fmla="*/ 1615218 w 4011346"/>
                <a:gd name="connsiteY329" fmla="*/ 164942 h 2017102"/>
                <a:gd name="connsiteX330" fmla="*/ 1638579 w 4011346"/>
                <a:gd name="connsiteY330" fmla="*/ 194977 h 2017102"/>
                <a:gd name="connsiteX331" fmla="*/ 1528449 w 4011346"/>
                <a:gd name="connsiteY331" fmla="*/ 221673 h 2017102"/>
                <a:gd name="connsiteX332" fmla="*/ 1465043 w 4011346"/>
                <a:gd name="connsiteY332" fmla="*/ 305104 h 2017102"/>
                <a:gd name="connsiteX333" fmla="*/ 1448357 w 4011346"/>
                <a:gd name="connsiteY333" fmla="*/ 331802 h 2017102"/>
                <a:gd name="connsiteX334" fmla="*/ 1481729 w 4011346"/>
                <a:gd name="connsiteY334" fmla="*/ 365175 h 2017102"/>
                <a:gd name="connsiteX335" fmla="*/ 1481729 w 4011346"/>
                <a:gd name="connsiteY335" fmla="*/ 395210 h 2017102"/>
                <a:gd name="connsiteX336" fmla="*/ 1458368 w 4011346"/>
                <a:gd name="connsiteY336" fmla="*/ 398547 h 2017102"/>
                <a:gd name="connsiteX337" fmla="*/ 1458368 w 4011346"/>
                <a:gd name="connsiteY337" fmla="*/ 378523 h 2017102"/>
                <a:gd name="connsiteX338" fmla="*/ 1418322 w 4011346"/>
                <a:gd name="connsiteY338" fmla="*/ 388535 h 2017102"/>
                <a:gd name="connsiteX339" fmla="*/ 1368263 w 4011346"/>
                <a:gd name="connsiteY339" fmla="*/ 395210 h 2017102"/>
                <a:gd name="connsiteX340" fmla="*/ 1321542 w 4011346"/>
                <a:gd name="connsiteY340" fmla="*/ 401884 h 2017102"/>
                <a:gd name="connsiteX341" fmla="*/ 1318205 w 4011346"/>
                <a:gd name="connsiteY341" fmla="*/ 488652 h 2017102"/>
                <a:gd name="connsiteX342" fmla="*/ 1358252 w 4011346"/>
                <a:gd name="connsiteY342" fmla="*/ 512013 h 2017102"/>
                <a:gd name="connsiteX343" fmla="*/ 1374938 w 4011346"/>
                <a:gd name="connsiteY343" fmla="*/ 542048 h 2017102"/>
                <a:gd name="connsiteX344" fmla="*/ 1384949 w 4011346"/>
                <a:gd name="connsiteY344" fmla="*/ 565408 h 2017102"/>
                <a:gd name="connsiteX345" fmla="*/ 1394961 w 4011346"/>
                <a:gd name="connsiteY345" fmla="*/ 615467 h 2017102"/>
                <a:gd name="connsiteX346" fmla="*/ 1384949 w 4011346"/>
                <a:gd name="connsiteY346" fmla="*/ 645502 h 2017102"/>
                <a:gd name="connsiteX347" fmla="*/ 1358252 w 4011346"/>
                <a:gd name="connsiteY347" fmla="*/ 612129 h 2017102"/>
                <a:gd name="connsiteX348" fmla="*/ 1361589 w 4011346"/>
                <a:gd name="connsiteY348" fmla="*/ 582094 h 2017102"/>
                <a:gd name="connsiteX349" fmla="*/ 1351577 w 4011346"/>
                <a:gd name="connsiteY349" fmla="*/ 542048 h 2017102"/>
                <a:gd name="connsiteX350" fmla="*/ 1328217 w 4011346"/>
                <a:gd name="connsiteY350" fmla="*/ 548722 h 2017102"/>
                <a:gd name="connsiteX351" fmla="*/ 1281495 w 4011346"/>
                <a:gd name="connsiteY351" fmla="*/ 512013 h 2017102"/>
                <a:gd name="connsiteX352" fmla="*/ 1241449 w 4011346"/>
                <a:gd name="connsiteY352" fmla="*/ 508675 h 2017102"/>
                <a:gd name="connsiteX353" fmla="*/ 1241449 w 4011346"/>
                <a:gd name="connsiteY353" fmla="*/ 555396 h 2017102"/>
                <a:gd name="connsiteX354" fmla="*/ 1201402 w 4011346"/>
                <a:gd name="connsiteY354" fmla="*/ 535373 h 2017102"/>
                <a:gd name="connsiteX355" fmla="*/ 1228100 w 4011346"/>
                <a:gd name="connsiteY355" fmla="*/ 585431 h 2017102"/>
                <a:gd name="connsiteX356" fmla="*/ 1258135 w 4011346"/>
                <a:gd name="connsiteY356" fmla="*/ 595443 h 2017102"/>
                <a:gd name="connsiteX357" fmla="*/ 1258135 w 4011346"/>
                <a:gd name="connsiteY357" fmla="*/ 615467 h 2017102"/>
                <a:gd name="connsiteX358" fmla="*/ 1198065 w 4011346"/>
                <a:gd name="connsiteY358" fmla="*/ 592106 h 2017102"/>
                <a:gd name="connsiteX359" fmla="*/ 1181379 w 4011346"/>
                <a:gd name="connsiteY359" fmla="*/ 592106 h 2017102"/>
                <a:gd name="connsiteX360" fmla="*/ 1178041 w 4011346"/>
                <a:gd name="connsiteY360" fmla="*/ 548722 h 2017102"/>
                <a:gd name="connsiteX361" fmla="*/ 1171367 w 4011346"/>
                <a:gd name="connsiteY361" fmla="*/ 461954 h 2017102"/>
                <a:gd name="connsiteX362" fmla="*/ 1161355 w 4011346"/>
                <a:gd name="connsiteY362" fmla="*/ 532036 h 2017102"/>
                <a:gd name="connsiteX363" fmla="*/ 1137995 w 4011346"/>
                <a:gd name="connsiteY363" fmla="*/ 562071 h 2017102"/>
                <a:gd name="connsiteX364" fmla="*/ 1158018 w 4011346"/>
                <a:gd name="connsiteY364" fmla="*/ 608792 h 2017102"/>
                <a:gd name="connsiteX365" fmla="*/ 1158018 w 4011346"/>
                <a:gd name="connsiteY365" fmla="*/ 642164 h 2017102"/>
                <a:gd name="connsiteX366" fmla="*/ 1141332 w 4011346"/>
                <a:gd name="connsiteY366" fmla="*/ 692223 h 2017102"/>
                <a:gd name="connsiteX367" fmla="*/ 1154681 w 4011346"/>
                <a:gd name="connsiteY367" fmla="*/ 725595 h 2017102"/>
                <a:gd name="connsiteX368" fmla="*/ 1184716 w 4011346"/>
                <a:gd name="connsiteY368" fmla="*/ 732269 h 2017102"/>
                <a:gd name="connsiteX369" fmla="*/ 1221425 w 4011346"/>
                <a:gd name="connsiteY369" fmla="*/ 738944 h 2017102"/>
                <a:gd name="connsiteX370" fmla="*/ 1241449 w 4011346"/>
                <a:gd name="connsiteY370" fmla="*/ 762304 h 2017102"/>
                <a:gd name="connsiteX371" fmla="*/ 1258135 w 4011346"/>
                <a:gd name="connsiteY371" fmla="*/ 805688 h 2017102"/>
                <a:gd name="connsiteX372" fmla="*/ 1258135 w 4011346"/>
                <a:gd name="connsiteY372" fmla="*/ 805688 h 2017102"/>
                <a:gd name="connsiteX373" fmla="*/ 1254798 w 4011346"/>
                <a:gd name="connsiteY373" fmla="*/ 839061 h 2017102"/>
                <a:gd name="connsiteX374" fmla="*/ 1274821 w 4011346"/>
                <a:gd name="connsiteY374" fmla="*/ 859084 h 2017102"/>
                <a:gd name="connsiteX375" fmla="*/ 1244786 w 4011346"/>
                <a:gd name="connsiteY375" fmla="*/ 865759 h 2017102"/>
                <a:gd name="connsiteX376" fmla="*/ 1224763 w 4011346"/>
                <a:gd name="connsiteY376" fmla="*/ 825712 h 2017102"/>
                <a:gd name="connsiteX377" fmla="*/ 1224763 w 4011346"/>
                <a:gd name="connsiteY377" fmla="*/ 785665 h 2017102"/>
                <a:gd name="connsiteX378" fmla="*/ 1194727 w 4011346"/>
                <a:gd name="connsiteY378" fmla="*/ 748956 h 2017102"/>
                <a:gd name="connsiteX379" fmla="*/ 1164692 w 4011346"/>
                <a:gd name="connsiteY379" fmla="*/ 792340 h 2017102"/>
                <a:gd name="connsiteX380" fmla="*/ 1178041 w 4011346"/>
                <a:gd name="connsiteY380" fmla="*/ 835723 h 2017102"/>
                <a:gd name="connsiteX381" fmla="*/ 1137995 w 4011346"/>
                <a:gd name="connsiteY381" fmla="*/ 892456 h 2017102"/>
                <a:gd name="connsiteX382" fmla="*/ 1097948 w 4011346"/>
                <a:gd name="connsiteY382" fmla="*/ 949189 h 2017102"/>
                <a:gd name="connsiteX383" fmla="*/ 1007843 w 4011346"/>
                <a:gd name="connsiteY383" fmla="*/ 912480 h 2017102"/>
                <a:gd name="connsiteX384" fmla="*/ 1074587 w 4011346"/>
                <a:gd name="connsiteY384" fmla="*/ 909142 h 2017102"/>
                <a:gd name="connsiteX385" fmla="*/ 1107960 w 4011346"/>
                <a:gd name="connsiteY385" fmla="*/ 845735 h 2017102"/>
                <a:gd name="connsiteX386" fmla="*/ 1121309 w 4011346"/>
                <a:gd name="connsiteY386" fmla="*/ 802351 h 2017102"/>
                <a:gd name="connsiteX387" fmla="*/ 1127983 w 4011346"/>
                <a:gd name="connsiteY387" fmla="*/ 768979 h 2017102"/>
                <a:gd name="connsiteX388" fmla="*/ 1117971 w 4011346"/>
                <a:gd name="connsiteY388" fmla="*/ 752293 h 2017102"/>
                <a:gd name="connsiteX389" fmla="*/ 1114634 w 4011346"/>
                <a:gd name="connsiteY389" fmla="*/ 702234 h 2017102"/>
                <a:gd name="connsiteX390" fmla="*/ 1104622 w 4011346"/>
                <a:gd name="connsiteY390" fmla="*/ 622141 h 2017102"/>
                <a:gd name="connsiteX391" fmla="*/ 1101285 w 4011346"/>
                <a:gd name="connsiteY391" fmla="*/ 562071 h 2017102"/>
                <a:gd name="connsiteX392" fmla="*/ 1124646 w 4011346"/>
                <a:gd name="connsiteY392" fmla="*/ 468629 h 2017102"/>
                <a:gd name="connsiteX393" fmla="*/ 1031203 w 4011346"/>
                <a:gd name="connsiteY393" fmla="*/ 458617 h 2017102"/>
                <a:gd name="connsiteX394" fmla="*/ 1014517 w 4011346"/>
                <a:gd name="connsiteY394" fmla="*/ 515350 h 2017102"/>
                <a:gd name="connsiteX395" fmla="*/ 1024529 w 4011346"/>
                <a:gd name="connsiteY395" fmla="*/ 562071 h 2017102"/>
                <a:gd name="connsiteX396" fmla="*/ 981145 w 4011346"/>
                <a:gd name="connsiteY396" fmla="*/ 615467 h 2017102"/>
                <a:gd name="connsiteX397" fmla="*/ 991157 w 4011346"/>
                <a:gd name="connsiteY397" fmla="*/ 652176 h 2017102"/>
                <a:gd name="connsiteX398" fmla="*/ 981145 w 4011346"/>
                <a:gd name="connsiteY398" fmla="*/ 698897 h 2017102"/>
                <a:gd name="connsiteX399" fmla="*/ 1001168 w 4011346"/>
                <a:gd name="connsiteY399" fmla="*/ 722258 h 2017102"/>
                <a:gd name="connsiteX400" fmla="*/ 1017854 w 4011346"/>
                <a:gd name="connsiteY400" fmla="*/ 768979 h 2017102"/>
                <a:gd name="connsiteX401" fmla="*/ 1047890 w 4011346"/>
                <a:gd name="connsiteY401" fmla="*/ 755630 h 2017102"/>
                <a:gd name="connsiteX402" fmla="*/ 1014517 w 4011346"/>
                <a:gd name="connsiteY402" fmla="*/ 809026 h 2017102"/>
                <a:gd name="connsiteX403" fmla="*/ 957784 w 4011346"/>
                <a:gd name="connsiteY403" fmla="*/ 755630 h 2017102"/>
                <a:gd name="connsiteX404" fmla="*/ 884365 w 4011346"/>
                <a:gd name="connsiteY404" fmla="*/ 718921 h 2017102"/>
                <a:gd name="connsiteX405" fmla="*/ 824295 w 4011346"/>
                <a:gd name="connsiteY405" fmla="*/ 695560 h 2017102"/>
                <a:gd name="connsiteX406" fmla="*/ 810946 w 4011346"/>
                <a:gd name="connsiteY406" fmla="*/ 732269 h 2017102"/>
                <a:gd name="connsiteX407" fmla="*/ 827633 w 4011346"/>
                <a:gd name="connsiteY407" fmla="*/ 768979 h 2017102"/>
                <a:gd name="connsiteX408" fmla="*/ 814284 w 4011346"/>
                <a:gd name="connsiteY408" fmla="*/ 792340 h 2017102"/>
                <a:gd name="connsiteX409" fmla="*/ 800935 w 4011346"/>
                <a:gd name="connsiteY409" fmla="*/ 809026 h 2017102"/>
                <a:gd name="connsiteX410" fmla="*/ 770900 w 4011346"/>
                <a:gd name="connsiteY410" fmla="*/ 752293 h 2017102"/>
                <a:gd name="connsiteX411" fmla="*/ 744202 w 4011346"/>
                <a:gd name="connsiteY411" fmla="*/ 789002 h 2017102"/>
                <a:gd name="connsiteX412" fmla="*/ 707492 w 4011346"/>
                <a:gd name="connsiteY412" fmla="*/ 782328 h 2017102"/>
                <a:gd name="connsiteX413" fmla="*/ 654097 w 4011346"/>
                <a:gd name="connsiteY413" fmla="*/ 819037 h 2017102"/>
                <a:gd name="connsiteX414" fmla="*/ 644085 w 4011346"/>
                <a:gd name="connsiteY414" fmla="*/ 795677 h 2017102"/>
                <a:gd name="connsiteX415" fmla="*/ 654097 w 4011346"/>
                <a:gd name="connsiteY415" fmla="*/ 758967 h 2017102"/>
                <a:gd name="connsiteX416" fmla="*/ 614050 w 4011346"/>
                <a:gd name="connsiteY416" fmla="*/ 795677 h 2017102"/>
                <a:gd name="connsiteX417" fmla="*/ 594027 w 4011346"/>
                <a:gd name="connsiteY417" fmla="*/ 795677 h 2017102"/>
                <a:gd name="connsiteX418" fmla="*/ 533957 w 4011346"/>
                <a:gd name="connsiteY418" fmla="*/ 829049 h 2017102"/>
                <a:gd name="connsiteX419" fmla="*/ 510596 w 4011346"/>
                <a:gd name="connsiteY419" fmla="*/ 852410 h 2017102"/>
                <a:gd name="connsiteX420" fmla="*/ 500584 w 4011346"/>
                <a:gd name="connsiteY420" fmla="*/ 899131 h 2017102"/>
                <a:gd name="connsiteX421" fmla="*/ 450526 w 4011346"/>
                <a:gd name="connsiteY421" fmla="*/ 885782 h 2017102"/>
                <a:gd name="connsiteX422" fmla="*/ 433840 w 4011346"/>
                <a:gd name="connsiteY422" fmla="*/ 849072 h 2017102"/>
                <a:gd name="connsiteX423" fmla="*/ 467212 w 4011346"/>
                <a:gd name="connsiteY423" fmla="*/ 819037 h 2017102"/>
                <a:gd name="connsiteX424" fmla="*/ 453863 w 4011346"/>
                <a:gd name="connsiteY424" fmla="*/ 795677 h 2017102"/>
                <a:gd name="connsiteX425" fmla="*/ 390456 w 4011346"/>
                <a:gd name="connsiteY425" fmla="*/ 765642 h 2017102"/>
                <a:gd name="connsiteX426" fmla="*/ 417154 w 4011346"/>
                <a:gd name="connsiteY426" fmla="*/ 815700 h 2017102"/>
                <a:gd name="connsiteX427" fmla="*/ 407142 w 4011346"/>
                <a:gd name="connsiteY427" fmla="*/ 859084 h 2017102"/>
                <a:gd name="connsiteX428" fmla="*/ 413817 w 4011346"/>
                <a:gd name="connsiteY428" fmla="*/ 895794 h 2017102"/>
                <a:gd name="connsiteX429" fmla="*/ 427165 w 4011346"/>
                <a:gd name="connsiteY429" fmla="*/ 919154 h 2017102"/>
                <a:gd name="connsiteX430" fmla="*/ 413817 w 4011346"/>
                <a:gd name="connsiteY430" fmla="*/ 949189 h 2017102"/>
                <a:gd name="connsiteX431" fmla="*/ 390456 w 4011346"/>
                <a:gd name="connsiteY431" fmla="*/ 925829 h 2017102"/>
                <a:gd name="connsiteX432" fmla="*/ 360421 w 4011346"/>
                <a:gd name="connsiteY432" fmla="*/ 922491 h 2017102"/>
                <a:gd name="connsiteX433" fmla="*/ 333723 w 4011346"/>
                <a:gd name="connsiteY433" fmla="*/ 962538 h 2017102"/>
                <a:gd name="connsiteX434" fmla="*/ 307025 w 4011346"/>
                <a:gd name="connsiteY434" fmla="*/ 982561 h 2017102"/>
                <a:gd name="connsiteX435" fmla="*/ 320374 w 4011346"/>
                <a:gd name="connsiteY435" fmla="*/ 1009259 h 2017102"/>
                <a:gd name="connsiteX436" fmla="*/ 303688 w 4011346"/>
                <a:gd name="connsiteY436" fmla="*/ 1032620 h 2017102"/>
                <a:gd name="connsiteX437" fmla="*/ 233606 w 4011346"/>
                <a:gd name="connsiteY437" fmla="*/ 995910 h 2017102"/>
                <a:gd name="connsiteX438" fmla="*/ 243618 w 4011346"/>
                <a:gd name="connsiteY438" fmla="*/ 1045969 h 2017102"/>
                <a:gd name="connsiteX439" fmla="*/ 263641 w 4011346"/>
                <a:gd name="connsiteY439" fmla="*/ 1065992 h 2017102"/>
                <a:gd name="connsiteX440" fmla="*/ 250292 w 4011346"/>
                <a:gd name="connsiteY440" fmla="*/ 1079341 h 2017102"/>
                <a:gd name="connsiteX441" fmla="*/ 193560 w 4011346"/>
                <a:gd name="connsiteY441" fmla="*/ 1042631 h 2017102"/>
                <a:gd name="connsiteX442" fmla="*/ 170199 w 4011346"/>
                <a:gd name="connsiteY442" fmla="*/ 1002585 h 2017102"/>
                <a:gd name="connsiteX443" fmla="*/ 170199 w 4011346"/>
                <a:gd name="connsiteY443" fmla="*/ 955864 h 2017102"/>
                <a:gd name="connsiteX444" fmla="*/ 133490 w 4011346"/>
                <a:gd name="connsiteY444" fmla="*/ 879107 h 2017102"/>
                <a:gd name="connsiteX445" fmla="*/ 196897 w 4011346"/>
                <a:gd name="connsiteY445" fmla="*/ 909142 h 2017102"/>
                <a:gd name="connsiteX446" fmla="*/ 256967 w 4011346"/>
                <a:gd name="connsiteY446" fmla="*/ 939177 h 2017102"/>
                <a:gd name="connsiteX447" fmla="*/ 293676 w 4011346"/>
                <a:gd name="connsiteY447" fmla="*/ 942515 h 2017102"/>
                <a:gd name="connsiteX448" fmla="*/ 327049 w 4011346"/>
                <a:gd name="connsiteY448" fmla="*/ 912480 h 2017102"/>
                <a:gd name="connsiteX449" fmla="*/ 343735 w 4011346"/>
                <a:gd name="connsiteY449" fmla="*/ 875770 h 2017102"/>
                <a:gd name="connsiteX450" fmla="*/ 333723 w 4011346"/>
                <a:gd name="connsiteY450" fmla="*/ 825712 h 2017102"/>
                <a:gd name="connsiteX451" fmla="*/ 290339 w 4011346"/>
                <a:gd name="connsiteY451" fmla="*/ 805688 h 2017102"/>
                <a:gd name="connsiteX452" fmla="*/ 236944 w 4011346"/>
                <a:gd name="connsiteY452" fmla="*/ 758967 h 2017102"/>
                <a:gd name="connsiteX453" fmla="*/ 133490 w 4011346"/>
                <a:gd name="connsiteY453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092713 w 4011346"/>
                <a:gd name="connsiteY321" fmla="*/ 214104 h 2017102"/>
                <a:gd name="connsiteX322" fmla="*/ 1877440 w 4011346"/>
                <a:gd name="connsiteY322" fmla="*/ 0 h 2017102"/>
                <a:gd name="connsiteX323" fmla="*/ 1835474 w 4011346"/>
                <a:gd name="connsiteY323" fmla="*/ 38128 h 2017102"/>
                <a:gd name="connsiteX324" fmla="*/ 1818788 w 4011346"/>
                <a:gd name="connsiteY324" fmla="*/ 78175 h 2017102"/>
                <a:gd name="connsiteX325" fmla="*/ 1838813 w 4011346"/>
                <a:gd name="connsiteY325" fmla="*/ 131569 h 2017102"/>
                <a:gd name="connsiteX326" fmla="*/ 1782079 w 4011346"/>
                <a:gd name="connsiteY326" fmla="*/ 118220 h 2017102"/>
                <a:gd name="connsiteX327" fmla="*/ 1768731 w 4011346"/>
                <a:gd name="connsiteY327" fmla="*/ 164942 h 2017102"/>
                <a:gd name="connsiteX328" fmla="*/ 1705322 w 4011346"/>
                <a:gd name="connsiteY328" fmla="*/ 188302 h 2017102"/>
                <a:gd name="connsiteX329" fmla="*/ 1685300 w 4011346"/>
                <a:gd name="connsiteY329" fmla="*/ 161604 h 2017102"/>
                <a:gd name="connsiteX330" fmla="*/ 1615218 w 4011346"/>
                <a:gd name="connsiteY330" fmla="*/ 164942 h 2017102"/>
                <a:gd name="connsiteX331" fmla="*/ 1638579 w 4011346"/>
                <a:gd name="connsiteY331" fmla="*/ 194977 h 2017102"/>
                <a:gd name="connsiteX332" fmla="*/ 1528449 w 4011346"/>
                <a:gd name="connsiteY332" fmla="*/ 221673 h 2017102"/>
                <a:gd name="connsiteX333" fmla="*/ 1465043 w 4011346"/>
                <a:gd name="connsiteY333" fmla="*/ 305104 h 2017102"/>
                <a:gd name="connsiteX334" fmla="*/ 1448357 w 4011346"/>
                <a:gd name="connsiteY334" fmla="*/ 331802 h 2017102"/>
                <a:gd name="connsiteX335" fmla="*/ 1481729 w 4011346"/>
                <a:gd name="connsiteY335" fmla="*/ 365175 h 2017102"/>
                <a:gd name="connsiteX336" fmla="*/ 1481729 w 4011346"/>
                <a:gd name="connsiteY336" fmla="*/ 395210 h 2017102"/>
                <a:gd name="connsiteX337" fmla="*/ 1458368 w 4011346"/>
                <a:gd name="connsiteY337" fmla="*/ 398547 h 2017102"/>
                <a:gd name="connsiteX338" fmla="*/ 1458368 w 4011346"/>
                <a:gd name="connsiteY338" fmla="*/ 378523 h 2017102"/>
                <a:gd name="connsiteX339" fmla="*/ 1418322 w 4011346"/>
                <a:gd name="connsiteY339" fmla="*/ 388535 h 2017102"/>
                <a:gd name="connsiteX340" fmla="*/ 1368263 w 4011346"/>
                <a:gd name="connsiteY340" fmla="*/ 395210 h 2017102"/>
                <a:gd name="connsiteX341" fmla="*/ 1321542 w 4011346"/>
                <a:gd name="connsiteY341" fmla="*/ 401884 h 2017102"/>
                <a:gd name="connsiteX342" fmla="*/ 1318205 w 4011346"/>
                <a:gd name="connsiteY342" fmla="*/ 488652 h 2017102"/>
                <a:gd name="connsiteX343" fmla="*/ 1358252 w 4011346"/>
                <a:gd name="connsiteY343" fmla="*/ 512013 h 2017102"/>
                <a:gd name="connsiteX344" fmla="*/ 1374938 w 4011346"/>
                <a:gd name="connsiteY344" fmla="*/ 542048 h 2017102"/>
                <a:gd name="connsiteX345" fmla="*/ 1384949 w 4011346"/>
                <a:gd name="connsiteY345" fmla="*/ 565408 h 2017102"/>
                <a:gd name="connsiteX346" fmla="*/ 1394961 w 4011346"/>
                <a:gd name="connsiteY346" fmla="*/ 615467 h 2017102"/>
                <a:gd name="connsiteX347" fmla="*/ 1384949 w 4011346"/>
                <a:gd name="connsiteY347" fmla="*/ 645502 h 2017102"/>
                <a:gd name="connsiteX348" fmla="*/ 1358252 w 4011346"/>
                <a:gd name="connsiteY348" fmla="*/ 612129 h 2017102"/>
                <a:gd name="connsiteX349" fmla="*/ 1361589 w 4011346"/>
                <a:gd name="connsiteY349" fmla="*/ 582094 h 2017102"/>
                <a:gd name="connsiteX350" fmla="*/ 1351577 w 4011346"/>
                <a:gd name="connsiteY350" fmla="*/ 542048 h 2017102"/>
                <a:gd name="connsiteX351" fmla="*/ 1328217 w 4011346"/>
                <a:gd name="connsiteY351" fmla="*/ 548722 h 2017102"/>
                <a:gd name="connsiteX352" fmla="*/ 1281495 w 4011346"/>
                <a:gd name="connsiteY352" fmla="*/ 512013 h 2017102"/>
                <a:gd name="connsiteX353" fmla="*/ 1241449 w 4011346"/>
                <a:gd name="connsiteY353" fmla="*/ 508675 h 2017102"/>
                <a:gd name="connsiteX354" fmla="*/ 1241449 w 4011346"/>
                <a:gd name="connsiteY354" fmla="*/ 555396 h 2017102"/>
                <a:gd name="connsiteX355" fmla="*/ 1201402 w 4011346"/>
                <a:gd name="connsiteY355" fmla="*/ 535373 h 2017102"/>
                <a:gd name="connsiteX356" fmla="*/ 1228100 w 4011346"/>
                <a:gd name="connsiteY356" fmla="*/ 585431 h 2017102"/>
                <a:gd name="connsiteX357" fmla="*/ 1258135 w 4011346"/>
                <a:gd name="connsiteY357" fmla="*/ 595443 h 2017102"/>
                <a:gd name="connsiteX358" fmla="*/ 1258135 w 4011346"/>
                <a:gd name="connsiteY358" fmla="*/ 615467 h 2017102"/>
                <a:gd name="connsiteX359" fmla="*/ 1198065 w 4011346"/>
                <a:gd name="connsiteY359" fmla="*/ 592106 h 2017102"/>
                <a:gd name="connsiteX360" fmla="*/ 1181379 w 4011346"/>
                <a:gd name="connsiteY360" fmla="*/ 592106 h 2017102"/>
                <a:gd name="connsiteX361" fmla="*/ 1178041 w 4011346"/>
                <a:gd name="connsiteY361" fmla="*/ 548722 h 2017102"/>
                <a:gd name="connsiteX362" fmla="*/ 1171367 w 4011346"/>
                <a:gd name="connsiteY362" fmla="*/ 461954 h 2017102"/>
                <a:gd name="connsiteX363" fmla="*/ 1161355 w 4011346"/>
                <a:gd name="connsiteY363" fmla="*/ 532036 h 2017102"/>
                <a:gd name="connsiteX364" fmla="*/ 1137995 w 4011346"/>
                <a:gd name="connsiteY364" fmla="*/ 562071 h 2017102"/>
                <a:gd name="connsiteX365" fmla="*/ 1158018 w 4011346"/>
                <a:gd name="connsiteY365" fmla="*/ 608792 h 2017102"/>
                <a:gd name="connsiteX366" fmla="*/ 1158018 w 4011346"/>
                <a:gd name="connsiteY366" fmla="*/ 642164 h 2017102"/>
                <a:gd name="connsiteX367" fmla="*/ 1141332 w 4011346"/>
                <a:gd name="connsiteY367" fmla="*/ 692223 h 2017102"/>
                <a:gd name="connsiteX368" fmla="*/ 1154681 w 4011346"/>
                <a:gd name="connsiteY368" fmla="*/ 725595 h 2017102"/>
                <a:gd name="connsiteX369" fmla="*/ 1184716 w 4011346"/>
                <a:gd name="connsiteY369" fmla="*/ 732269 h 2017102"/>
                <a:gd name="connsiteX370" fmla="*/ 1221425 w 4011346"/>
                <a:gd name="connsiteY370" fmla="*/ 738944 h 2017102"/>
                <a:gd name="connsiteX371" fmla="*/ 1241449 w 4011346"/>
                <a:gd name="connsiteY371" fmla="*/ 762304 h 2017102"/>
                <a:gd name="connsiteX372" fmla="*/ 1258135 w 4011346"/>
                <a:gd name="connsiteY372" fmla="*/ 805688 h 2017102"/>
                <a:gd name="connsiteX373" fmla="*/ 1258135 w 4011346"/>
                <a:gd name="connsiteY373" fmla="*/ 805688 h 2017102"/>
                <a:gd name="connsiteX374" fmla="*/ 1254798 w 4011346"/>
                <a:gd name="connsiteY374" fmla="*/ 839061 h 2017102"/>
                <a:gd name="connsiteX375" fmla="*/ 1274821 w 4011346"/>
                <a:gd name="connsiteY375" fmla="*/ 859084 h 2017102"/>
                <a:gd name="connsiteX376" fmla="*/ 1244786 w 4011346"/>
                <a:gd name="connsiteY376" fmla="*/ 865759 h 2017102"/>
                <a:gd name="connsiteX377" fmla="*/ 1224763 w 4011346"/>
                <a:gd name="connsiteY377" fmla="*/ 825712 h 2017102"/>
                <a:gd name="connsiteX378" fmla="*/ 1224763 w 4011346"/>
                <a:gd name="connsiteY378" fmla="*/ 785665 h 2017102"/>
                <a:gd name="connsiteX379" fmla="*/ 1194727 w 4011346"/>
                <a:gd name="connsiteY379" fmla="*/ 748956 h 2017102"/>
                <a:gd name="connsiteX380" fmla="*/ 1164692 w 4011346"/>
                <a:gd name="connsiteY380" fmla="*/ 792340 h 2017102"/>
                <a:gd name="connsiteX381" fmla="*/ 1178041 w 4011346"/>
                <a:gd name="connsiteY381" fmla="*/ 835723 h 2017102"/>
                <a:gd name="connsiteX382" fmla="*/ 1137995 w 4011346"/>
                <a:gd name="connsiteY382" fmla="*/ 892456 h 2017102"/>
                <a:gd name="connsiteX383" fmla="*/ 1097948 w 4011346"/>
                <a:gd name="connsiteY383" fmla="*/ 949189 h 2017102"/>
                <a:gd name="connsiteX384" fmla="*/ 1007843 w 4011346"/>
                <a:gd name="connsiteY384" fmla="*/ 912480 h 2017102"/>
                <a:gd name="connsiteX385" fmla="*/ 1074587 w 4011346"/>
                <a:gd name="connsiteY385" fmla="*/ 909142 h 2017102"/>
                <a:gd name="connsiteX386" fmla="*/ 1107960 w 4011346"/>
                <a:gd name="connsiteY386" fmla="*/ 845735 h 2017102"/>
                <a:gd name="connsiteX387" fmla="*/ 1121309 w 4011346"/>
                <a:gd name="connsiteY387" fmla="*/ 802351 h 2017102"/>
                <a:gd name="connsiteX388" fmla="*/ 1127983 w 4011346"/>
                <a:gd name="connsiteY388" fmla="*/ 768979 h 2017102"/>
                <a:gd name="connsiteX389" fmla="*/ 1117971 w 4011346"/>
                <a:gd name="connsiteY389" fmla="*/ 752293 h 2017102"/>
                <a:gd name="connsiteX390" fmla="*/ 1114634 w 4011346"/>
                <a:gd name="connsiteY390" fmla="*/ 702234 h 2017102"/>
                <a:gd name="connsiteX391" fmla="*/ 1104622 w 4011346"/>
                <a:gd name="connsiteY391" fmla="*/ 622141 h 2017102"/>
                <a:gd name="connsiteX392" fmla="*/ 1101285 w 4011346"/>
                <a:gd name="connsiteY392" fmla="*/ 562071 h 2017102"/>
                <a:gd name="connsiteX393" fmla="*/ 1124646 w 4011346"/>
                <a:gd name="connsiteY393" fmla="*/ 468629 h 2017102"/>
                <a:gd name="connsiteX394" fmla="*/ 1031203 w 4011346"/>
                <a:gd name="connsiteY394" fmla="*/ 458617 h 2017102"/>
                <a:gd name="connsiteX395" fmla="*/ 1014517 w 4011346"/>
                <a:gd name="connsiteY395" fmla="*/ 515350 h 2017102"/>
                <a:gd name="connsiteX396" fmla="*/ 1024529 w 4011346"/>
                <a:gd name="connsiteY396" fmla="*/ 562071 h 2017102"/>
                <a:gd name="connsiteX397" fmla="*/ 981145 w 4011346"/>
                <a:gd name="connsiteY397" fmla="*/ 615467 h 2017102"/>
                <a:gd name="connsiteX398" fmla="*/ 991157 w 4011346"/>
                <a:gd name="connsiteY398" fmla="*/ 652176 h 2017102"/>
                <a:gd name="connsiteX399" fmla="*/ 981145 w 4011346"/>
                <a:gd name="connsiteY399" fmla="*/ 698897 h 2017102"/>
                <a:gd name="connsiteX400" fmla="*/ 1001168 w 4011346"/>
                <a:gd name="connsiteY400" fmla="*/ 722258 h 2017102"/>
                <a:gd name="connsiteX401" fmla="*/ 1017854 w 4011346"/>
                <a:gd name="connsiteY401" fmla="*/ 768979 h 2017102"/>
                <a:gd name="connsiteX402" fmla="*/ 1047890 w 4011346"/>
                <a:gd name="connsiteY402" fmla="*/ 755630 h 2017102"/>
                <a:gd name="connsiteX403" fmla="*/ 1014517 w 4011346"/>
                <a:gd name="connsiteY403" fmla="*/ 809026 h 2017102"/>
                <a:gd name="connsiteX404" fmla="*/ 957784 w 4011346"/>
                <a:gd name="connsiteY404" fmla="*/ 755630 h 2017102"/>
                <a:gd name="connsiteX405" fmla="*/ 884365 w 4011346"/>
                <a:gd name="connsiteY405" fmla="*/ 718921 h 2017102"/>
                <a:gd name="connsiteX406" fmla="*/ 824295 w 4011346"/>
                <a:gd name="connsiteY406" fmla="*/ 695560 h 2017102"/>
                <a:gd name="connsiteX407" fmla="*/ 810946 w 4011346"/>
                <a:gd name="connsiteY407" fmla="*/ 732269 h 2017102"/>
                <a:gd name="connsiteX408" fmla="*/ 827633 w 4011346"/>
                <a:gd name="connsiteY408" fmla="*/ 768979 h 2017102"/>
                <a:gd name="connsiteX409" fmla="*/ 814284 w 4011346"/>
                <a:gd name="connsiteY409" fmla="*/ 792340 h 2017102"/>
                <a:gd name="connsiteX410" fmla="*/ 800935 w 4011346"/>
                <a:gd name="connsiteY410" fmla="*/ 809026 h 2017102"/>
                <a:gd name="connsiteX411" fmla="*/ 770900 w 4011346"/>
                <a:gd name="connsiteY411" fmla="*/ 752293 h 2017102"/>
                <a:gd name="connsiteX412" fmla="*/ 744202 w 4011346"/>
                <a:gd name="connsiteY412" fmla="*/ 789002 h 2017102"/>
                <a:gd name="connsiteX413" fmla="*/ 707492 w 4011346"/>
                <a:gd name="connsiteY413" fmla="*/ 782328 h 2017102"/>
                <a:gd name="connsiteX414" fmla="*/ 654097 w 4011346"/>
                <a:gd name="connsiteY414" fmla="*/ 819037 h 2017102"/>
                <a:gd name="connsiteX415" fmla="*/ 644085 w 4011346"/>
                <a:gd name="connsiteY415" fmla="*/ 795677 h 2017102"/>
                <a:gd name="connsiteX416" fmla="*/ 654097 w 4011346"/>
                <a:gd name="connsiteY416" fmla="*/ 758967 h 2017102"/>
                <a:gd name="connsiteX417" fmla="*/ 614050 w 4011346"/>
                <a:gd name="connsiteY417" fmla="*/ 795677 h 2017102"/>
                <a:gd name="connsiteX418" fmla="*/ 594027 w 4011346"/>
                <a:gd name="connsiteY418" fmla="*/ 795677 h 2017102"/>
                <a:gd name="connsiteX419" fmla="*/ 533957 w 4011346"/>
                <a:gd name="connsiteY419" fmla="*/ 829049 h 2017102"/>
                <a:gd name="connsiteX420" fmla="*/ 510596 w 4011346"/>
                <a:gd name="connsiteY420" fmla="*/ 852410 h 2017102"/>
                <a:gd name="connsiteX421" fmla="*/ 500584 w 4011346"/>
                <a:gd name="connsiteY421" fmla="*/ 899131 h 2017102"/>
                <a:gd name="connsiteX422" fmla="*/ 450526 w 4011346"/>
                <a:gd name="connsiteY422" fmla="*/ 885782 h 2017102"/>
                <a:gd name="connsiteX423" fmla="*/ 433840 w 4011346"/>
                <a:gd name="connsiteY423" fmla="*/ 849072 h 2017102"/>
                <a:gd name="connsiteX424" fmla="*/ 467212 w 4011346"/>
                <a:gd name="connsiteY424" fmla="*/ 819037 h 2017102"/>
                <a:gd name="connsiteX425" fmla="*/ 453863 w 4011346"/>
                <a:gd name="connsiteY425" fmla="*/ 795677 h 2017102"/>
                <a:gd name="connsiteX426" fmla="*/ 390456 w 4011346"/>
                <a:gd name="connsiteY426" fmla="*/ 765642 h 2017102"/>
                <a:gd name="connsiteX427" fmla="*/ 417154 w 4011346"/>
                <a:gd name="connsiteY427" fmla="*/ 815700 h 2017102"/>
                <a:gd name="connsiteX428" fmla="*/ 407142 w 4011346"/>
                <a:gd name="connsiteY428" fmla="*/ 859084 h 2017102"/>
                <a:gd name="connsiteX429" fmla="*/ 413817 w 4011346"/>
                <a:gd name="connsiteY429" fmla="*/ 895794 h 2017102"/>
                <a:gd name="connsiteX430" fmla="*/ 427165 w 4011346"/>
                <a:gd name="connsiteY430" fmla="*/ 919154 h 2017102"/>
                <a:gd name="connsiteX431" fmla="*/ 413817 w 4011346"/>
                <a:gd name="connsiteY431" fmla="*/ 949189 h 2017102"/>
                <a:gd name="connsiteX432" fmla="*/ 390456 w 4011346"/>
                <a:gd name="connsiteY432" fmla="*/ 925829 h 2017102"/>
                <a:gd name="connsiteX433" fmla="*/ 360421 w 4011346"/>
                <a:gd name="connsiteY433" fmla="*/ 922491 h 2017102"/>
                <a:gd name="connsiteX434" fmla="*/ 333723 w 4011346"/>
                <a:gd name="connsiteY434" fmla="*/ 962538 h 2017102"/>
                <a:gd name="connsiteX435" fmla="*/ 307025 w 4011346"/>
                <a:gd name="connsiteY435" fmla="*/ 982561 h 2017102"/>
                <a:gd name="connsiteX436" fmla="*/ 320374 w 4011346"/>
                <a:gd name="connsiteY436" fmla="*/ 1009259 h 2017102"/>
                <a:gd name="connsiteX437" fmla="*/ 303688 w 4011346"/>
                <a:gd name="connsiteY437" fmla="*/ 1032620 h 2017102"/>
                <a:gd name="connsiteX438" fmla="*/ 233606 w 4011346"/>
                <a:gd name="connsiteY438" fmla="*/ 995910 h 2017102"/>
                <a:gd name="connsiteX439" fmla="*/ 243618 w 4011346"/>
                <a:gd name="connsiteY439" fmla="*/ 1045969 h 2017102"/>
                <a:gd name="connsiteX440" fmla="*/ 263641 w 4011346"/>
                <a:gd name="connsiteY440" fmla="*/ 1065992 h 2017102"/>
                <a:gd name="connsiteX441" fmla="*/ 250292 w 4011346"/>
                <a:gd name="connsiteY441" fmla="*/ 1079341 h 2017102"/>
                <a:gd name="connsiteX442" fmla="*/ 193560 w 4011346"/>
                <a:gd name="connsiteY442" fmla="*/ 1042631 h 2017102"/>
                <a:gd name="connsiteX443" fmla="*/ 170199 w 4011346"/>
                <a:gd name="connsiteY443" fmla="*/ 1002585 h 2017102"/>
                <a:gd name="connsiteX444" fmla="*/ 170199 w 4011346"/>
                <a:gd name="connsiteY444" fmla="*/ 955864 h 2017102"/>
                <a:gd name="connsiteX445" fmla="*/ 133490 w 4011346"/>
                <a:gd name="connsiteY445" fmla="*/ 879107 h 2017102"/>
                <a:gd name="connsiteX446" fmla="*/ 196897 w 4011346"/>
                <a:gd name="connsiteY446" fmla="*/ 909142 h 2017102"/>
                <a:gd name="connsiteX447" fmla="*/ 256967 w 4011346"/>
                <a:gd name="connsiteY447" fmla="*/ 939177 h 2017102"/>
                <a:gd name="connsiteX448" fmla="*/ 293676 w 4011346"/>
                <a:gd name="connsiteY448" fmla="*/ 942515 h 2017102"/>
                <a:gd name="connsiteX449" fmla="*/ 327049 w 4011346"/>
                <a:gd name="connsiteY449" fmla="*/ 912480 h 2017102"/>
                <a:gd name="connsiteX450" fmla="*/ 343735 w 4011346"/>
                <a:gd name="connsiteY450" fmla="*/ 875770 h 2017102"/>
                <a:gd name="connsiteX451" fmla="*/ 333723 w 4011346"/>
                <a:gd name="connsiteY451" fmla="*/ 825712 h 2017102"/>
                <a:gd name="connsiteX452" fmla="*/ 290339 w 4011346"/>
                <a:gd name="connsiteY452" fmla="*/ 805688 h 2017102"/>
                <a:gd name="connsiteX453" fmla="*/ 236944 w 4011346"/>
                <a:gd name="connsiteY453" fmla="*/ 758967 h 2017102"/>
                <a:gd name="connsiteX454" fmla="*/ 133490 w 4011346"/>
                <a:gd name="connsiteY454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1877440 w 4011346"/>
                <a:gd name="connsiteY322" fmla="*/ 0 h 2017102"/>
                <a:gd name="connsiteX323" fmla="*/ 1835474 w 4011346"/>
                <a:gd name="connsiteY323" fmla="*/ 38128 h 2017102"/>
                <a:gd name="connsiteX324" fmla="*/ 1818788 w 4011346"/>
                <a:gd name="connsiteY324" fmla="*/ 78175 h 2017102"/>
                <a:gd name="connsiteX325" fmla="*/ 1838813 w 4011346"/>
                <a:gd name="connsiteY325" fmla="*/ 131569 h 2017102"/>
                <a:gd name="connsiteX326" fmla="*/ 1782079 w 4011346"/>
                <a:gd name="connsiteY326" fmla="*/ 118220 h 2017102"/>
                <a:gd name="connsiteX327" fmla="*/ 1768731 w 4011346"/>
                <a:gd name="connsiteY327" fmla="*/ 164942 h 2017102"/>
                <a:gd name="connsiteX328" fmla="*/ 1705322 w 4011346"/>
                <a:gd name="connsiteY328" fmla="*/ 188302 h 2017102"/>
                <a:gd name="connsiteX329" fmla="*/ 1685300 w 4011346"/>
                <a:gd name="connsiteY329" fmla="*/ 161604 h 2017102"/>
                <a:gd name="connsiteX330" fmla="*/ 1615218 w 4011346"/>
                <a:gd name="connsiteY330" fmla="*/ 164942 h 2017102"/>
                <a:gd name="connsiteX331" fmla="*/ 1638579 w 4011346"/>
                <a:gd name="connsiteY331" fmla="*/ 194977 h 2017102"/>
                <a:gd name="connsiteX332" fmla="*/ 1528449 w 4011346"/>
                <a:gd name="connsiteY332" fmla="*/ 221673 h 2017102"/>
                <a:gd name="connsiteX333" fmla="*/ 1465043 w 4011346"/>
                <a:gd name="connsiteY333" fmla="*/ 305104 h 2017102"/>
                <a:gd name="connsiteX334" fmla="*/ 1448357 w 4011346"/>
                <a:gd name="connsiteY334" fmla="*/ 331802 h 2017102"/>
                <a:gd name="connsiteX335" fmla="*/ 1481729 w 4011346"/>
                <a:gd name="connsiteY335" fmla="*/ 365175 h 2017102"/>
                <a:gd name="connsiteX336" fmla="*/ 1481729 w 4011346"/>
                <a:gd name="connsiteY336" fmla="*/ 395210 h 2017102"/>
                <a:gd name="connsiteX337" fmla="*/ 1458368 w 4011346"/>
                <a:gd name="connsiteY337" fmla="*/ 398547 h 2017102"/>
                <a:gd name="connsiteX338" fmla="*/ 1458368 w 4011346"/>
                <a:gd name="connsiteY338" fmla="*/ 378523 h 2017102"/>
                <a:gd name="connsiteX339" fmla="*/ 1418322 w 4011346"/>
                <a:gd name="connsiteY339" fmla="*/ 388535 h 2017102"/>
                <a:gd name="connsiteX340" fmla="*/ 1368263 w 4011346"/>
                <a:gd name="connsiteY340" fmla="*/ 395210 h 2017102"/>
                <a:gd name="connsiteX341" fmla="*/ 1321542 w 4011346"/>
                <a:gd name="connsiteY341" fmla="*/ 401884 h 2017102"/>
                <a:gd name="connsiteX342" fmla="*/ 1318205 w 4011346"/>
                <a:gd name="connsiteY342" fmla="*/ 488652 h 2017102"/>
                <a:gd name="connsiteX343" fmla="*/ 1358252 w 4011346"/>
                <a:gd name="connsiteY343" fmla="*/ 512013 h 2017102"/>
                <a:gd name="connsiteX344" fmla="*/ 1374938 w 4011346"/>
                <a:gd name="connsiteY344" fmla="*/ 542048 h 2017102"/>
                <a:gd name="connsiteX345" fmla="*/ 1384949 w 4011346"/>
                <a:gd name="connsiteY345" fmla="*/ 565408 h 2017102"/>
                <a:gd name="connsiteX346" fmla="*/ 1394961 w 4011346"/>
                <a:gd name="connsiteY346" fmla="*/ 615467 h 2017102"/>
                <a:gd name="connsiteX347" fmla="*/ 1384949 w 4011346"/>
                <a:gd name="connsiteY347" fmla="*/ 645502 h 2017102"/>
                <a:gd name="connsiteX348" fmla="*/ 1358252 w 4011346"/>
                <a:gd name="connsiteY348" fmla="*/ 612129 h 2017102"/>
                <a:gd name="connsiteX349" fmla="*/ 1361589 w 4011346"/>
                <a:gd name="connsiteY349" fmla="*/ 582094 h 2017102"/>
                <a:gd name="connsiteX350" fmla="*/ 1351577 w 4011346"/>
                <a:gd name="connsiteY350" fmla="*/ 542048 h 2017102"/>
                <a:gd name="connsiteX351" fmla="*/ 1328217 w 4011346"/>
                <a:gd name="connsiteY351" fmla="*/ 548722 h 2017102"/>
                <a:gd name="connsiteX352" fmla="*/ 1281495 w 4011346"/>
                <a:gd name="connsiteY352" fmla="*/ 512013 h 2017102"/>
                <a:gd name="connsiteX353" fmla="*/ 1241449 w 4011346"/>
                <a:gd name="connsiteY353" fmla="*/ 508675 h 2017102"/>
                <a:gd name="connsiteX354" fmla="*/ 1241449 w 4011346"/>
                <a:gd name="connsiteY354" fmla="*/ 555396 h 2017102"/>
                <a:gd name="connsiteX355" fmla="*/ 1201402 w 4011346"/>
                <a:gd name="connsiteY355" fmla="*/ 535373 h 2017102"/>
                <a:gd name="connsiteX356" fmla="*/ 1228100 w 4011346"/>
                <a:gd name="connsiteY356" fmla="*/ 585431 h 2017102"/>
                <a:gd name="connsiteX357" fmla="*/ 1258135 w 4011346"/>
                <a:gd name="connsiteY357" fmla="*/ 595443 h 2017102"/>
                <a:gd name="connsiteX358" fmla="*/ 1258135 w 4011346"/>
                <a:gd name="connsiteY358" fmla="*/ 615467 h 2017102"/>
                <a:gd name="connsiteX359" fmla="*/ 1198065 w 4011346"/>
                <a:gd name="connsiteY359" fmla="*/ 592106 h 2017102"/>
                <a:gd name="connsiteX360" fmla="*/ 1181379 w 4011346"/>
                <a:gd name="connsiteY360" fmla="*/ 592106 h 2017102"/>
                <a:gd name="connsiteX361" fmla="*/ 1178041 w 4011346"/>
                <a:gd name="connsiteY361" fmla="*/ 548722 h 2017102"/>
                <a:gd name="connsiteX362" fmla="*/ 1171367 w 4011346"/>
                <a:gd name="connsiteY362" fmla="*/ 461954 h 2017102"/>
                <a:gd name="connsiteX363" fmla="*/ 1161355 w 4011346"/>
                <a:gd name="connsiteY363" fmla="*/ 532036 h 2017102"/>
                <a:gd name="connsiteX364" fmla="*/ 1137995 w 4011346"/>
                <a:gd name="connsiteY364" fmla="*/ 562071 h 2017102"/>
                <a:gd name="connsiteX365" fmla="*/ 1158018 w 4011346"/>
                <a:gd name="connsiteY365" fmla="*/ 608792 h 2017102"/>
                <a:gd name="connsiteX366" fmla="*/ 1158018 w 4011346"/>
                <a:gd name="connsiteY366" fmla="*/ 642164 h 2017102"/>
                <a:gd name="connsiteX367" fmla="*/ 1141332 w 4011346"/>
                <a:gd name="connsiteY367" fmla="*/ 692223 h 2017102"/>
                <a:gd name="connsiteX368" fmla="*/ 1154681 w 4011346"/>
                <a:gd name="connsiteY368" fmla="*/ 725595 h 2017102"/>
                <a:gd name="connsiteX369" fmla="*/ 1184716 w 4011346"/>
                <a:gd name="connsiteY369" fmla="*/ 732269 h 2017102"/>
                <a:gd name="connsiteX370" fmla="*/ 1221425 w 4011346"/>
                <a:gd name="connsiteY370" fmla="*/ 738944 h 2017102"/>
                <a:gd name="connsiteX371" fmla="*/ 1241449 w 4011346"/>
                <a:gd name="connsiteY371" fmla="*/ 762304 h 2017102"/>
                <a:gd name="connsiteX372" fmla="*/ 1258135 w 4011346"/>
                <a:gd name="connsiteY372" fmla="*/ 805688 h 2017102"/>
                <a:gd name="connsiteX373" fmla="*/ 1258135 w 4011346"/>
                <a:gd name="connsiteY373" fmla="*/ 805688 h 2017102"/>
                <a:gd name="connsiteX374" fmla="*/ 1254798 w 4011346"/>
                <a:gd name="connsiteY374" fmla="*/ 839061 h 2017102"/>
                <a:gd name="connsiteX375" fmla="*/ 1274821 w 4011346"/>
                <a:gd name="connsiteY375" fmla="*/ 859084 h 2017102"/>
                <a:gd name="connsiteX376" fmla="*/ 1244786 w 4011346"/>
                <a:gd name="connsiteY376" fmla="*/ 865759 h 2017102"/>
                <a:gd name="connsiteX377" fmla="*/ 1224763 w 4011346"/>
                <a:gd name="connsiteY377" fmla="*/ 825712 h 2017102"/>
                <a:gd name="connsiteX378" fmla="*/ 1224763 w 4011346"/>
                <a:gd name="connsiteY378" fmla="*/ 785665 h 2017102"/>
                <a:gd name="connsiteX379" fmla="*/ 1194727 w 4011346"/>
                <a:gd name="connsiteY379" fmla="*/ 748956 h 2017102"/>
                <a:gd name="connsiteX380" fmla="*/ 1164692 w 4011346"/>
                <a:gd name="connsiteY380" fmla="*/ 792340 h 2017102"/>
                <a:gd name="connsiteX381" fmla="*/ 1178041 w 4011346"/>
                <a:gd name="connsiteY381" fmla="*/ 835723 h 2017102"/>
                <a:gd name="connsiteX382" fmla="*/ 1137995 w 4011346"/>
                <a:gd name="connsiteY382" fmla="*/ 892456 h 2017102"/>
                <a:gd name="connsiteX383" fmla="*/ 1097948 w 4011346"/>
                <a:gd name="connsiteY383" fmla="*/ 949189 h 2017102"/>
                <a:gd name="connsiteX384" fmla="*/ 1007843 w 4011346"/>
                <a:gd name="connsiteY384" fmla="*/ 912480 h 2017102"/>
                <a:gd name="connsiteX385" fmla="*/ 1074587 w 4011346"/>
                <a:gd name="connsiteY385" fmla="*/ 909142 h 2017102"/>
                <a:gd name="connsiteX386" fmla="*/ 1107960 w 4011346"/>
                <a:gd name="connsiteY386" fmla="*/ 845735 h 2017102"/>
                <a:gd name="connsiteX387" fmla="*/ 1121309 w 4011346"/>
                <a:gd name="connsiteY387" fmla="*/ 802351 h 2017102"/>
                <a:gd name="connsiteX388" fmla="*/ 1127983 w 4011346"/>
                <a:gd name="connsiteY388" fmla="*/ 768979 h 2017102"/>
                <a:gd name="connsiteX389" fmla="*/ 1117971 w 4011346"/>
                <a:gd name="connsiteY389" fmla="*/ 752293 h 2017102"/>
                <a:gd name="connsiteX390" fmla="*/ 1114634 w 4011346"/>
                <a:gd name="connsiteY390" fmla="*/ 702234 h 2017102"/>
                <a:gd name="connsiteX391" fmla="*/ 1104622 w 4011346"/>
                <a:gd name="connsiteY391" fmla="*/ 622141 h 2017102"/>
                <a:gd name="connsiteX392" fmla="*/ 1101285 w 4011346"/>
                <a:gd name="connsiteY392" fmla="*/ 562071 h 2017102"/>
                <a:gd name="connsiteX393" fmla="*/ 1124646 w 4011346"/>
                <a:gd name="connsiteY393" fmla="*/ 468629 h 2017102"/>
                <a:gd name="connsiteX394" fmla="*/ 1031203 w 4011346"/>
                <a:gd name="connsiteY394" fmla="*/ 458617 h 2017102"/>
                <a:gd name="connsiteX395" fmla="*/ 1014517 w 4011346"/>
                <a:gd name="connsiteY395" fmla="*/ 515350 h 2017102"/>
                <a:gd name="connsiteX396" fmla="*/ 1024529 w 4011346"/>
                <a:gd name="connsiteY396" fmla="*/ 562071 h 2017102"/>
                <a:gd name="connsiteX397" fmla="*/ 981145 w 4011346"/>
                <a:gd name="connsiteY397" fmla="*/ 615467 h 2017102"/>
                <a:gd name="connsiteX398" fmla="*/ 991157 w 4011346"/>
                <a:gd name="connsiteY398" fmla="*/ 652176 h 2017102"/>
                <a:gd name="connsiteX399" fmla="*/ 981145 w 4011346"/>
                <a:gd name="connsiteY399" fmla="*/ 698897 h 2017102"/>
                <a:gd name="connsiteX400" fmla="*/ 1001168 w 4011346"/>
                <a:gd name="connsiteY400" fmla="*/ 722258 h 2017102"/>
                <a:gd name="connsiteX401" fmla="*/ 1017854 w 4011346"/>
                <a:gd name="connsiteY401" fmla="*/ 768979 h 2017102"/>
                <a:gd name="connsiteX402" fmla="*/ 1047890 w 4011346"/>
                <a:gd name="connsiteY402" fmla="*/ 755630 h 2017102"/>
                <a:gd name="connsiteX403" fmla="*/ 1014517 w 4011346"/>
                <a:gd name="connsiteY403" fmla="*/ 809026 h 2017102"/>
                <a:gd name="connsiteX404" fmla="*/ 957784 w 4011346"/>
                <a:gd name="connsiteY404" fmla="*/ 755630 h 2017102"/>
                <a:gd name="connsiteX405" fmla="*/ 884365 w 4011346"/>
                <a:gd name="connsiteY405" fmla="*/ 718921 h 2017102"/>
                <a:gd name="connsiteX406" fmla="*/ 824295 w 4011346"/>
                <a:gd name="connsiteY406" fmla="*/ 695560 h 2017102"/>
                <a:gd name="connsiteX407" fmla="*/ 810946 w 4011346"/>
                <a:gd name="connsiteY407" fmla="*/ 732269 h 2017102"/>
                <a:gd name="connsiteX408" fmla="*/ 827633 w 4011346"/>
                <a:gd name="connsiteY408" fmla="*/ 768979 h 2017102"/>
                <a:gd name="connsiteX409" fmla="*/ 814284 w 4011346"/>
                <a:gd name="connsiteY409" fmla="*/ 792340 h 2017102"/>
                <a:gd name="connsiteX410" fmla="*/ 800935 w 4011346"/>
                <a:gd name="connsiteY410" fmla="*/ 809026 h 2017102"/>
                <a:gd name="connsiteX411" fmla="*/ 770900 w 4011346"/>
                <a:gd name="connsiteY411" fmla="*/ 752293 h 2017102"/>
                <a:gd name="connsiteX412" fmla="*/ 744202 w 4011346"/>
                <a:gd name="connsiteY412" fmla="*/ 789002 h 2017102"/>
                <a:gd name="connsiteX413" fmla="*/ 707492 w 4011346"/>
                <a:gd name="connsiteY413" fmla="*/ 782328 h 2017102"/>
                <a:gd name="connsiteX414" fmla="*/ 654097 w 4011346"/>
                <a:gd name="connsiteY414" fmla="*/ 819037 h 2017102"/>
                <a:gd name="connsiteX415" fmla="*/ 644085 w 4011346"/>
                <a:gd name="connsiteY415" fmla="*/ 795677 h 2017102"/>
                <a:gd name="connsiteX416" fmla="*/ 654097 w 4011346"/>
                <a:gd name="connsiteY416" fmla="*/ 758967 h 2017102"/>
                <a:gd name="connsiteX417" fmla="*/ 614050 w 4011346"/>
                <a:gd name="connsiteY417" fmla="*/ 795677 h 2017102"/>
                <a:gd name="connsiteX418" fmla="*/ 594027 w 4011346"/>
                <a:gd name="connsiteY418" fmla="*/ 795677 h 2017102"/>
                <a:gd name="connsiteX419" fmla="*/ 533957 w 4011346"/>
                <a:gd name="connsiteY419" fmla="*/ 829049 h 2017102"/>
                <a:gd name="connsiteX420" fmla="*/ 510596 w 4011346"/>
                <a:gd name="connsiteY420" fmla="*/ 852410 h 2017102"/>
                <a:gd name="connsiteX421" fmla="*/ 500584 w 4011346"/>
                <a:gd name="connsiteY421" fmla="*/ 899131 h 2017102"/>
                <a:gd name="connsiteX422" fmla="*/ 450526 w 4011346"/>
                <a:gd name="connsiteY422" fmla="*/ 885782 h 2017102"/>
                <a:gd name="connsiteX423" fmla="*/ 433840 w 4011346"/>
                <a:gd name="connsiteY423" fmla="*/ 849072 h 2017102"/>
                <a:gd name="connsiteX424" fmla="*/ 467212 w 4011346"/>
                <a:gd name="connsiteY424" fmla="*/ 819037 h 2017102"/>
                <a:gd name="connsiteX425" fmla="*/ 453863 w 4011346"/>
                <a:gd name="connsiteY425" fmla="*/ 795677 h 2017102"/>
                <a:gd name="connsiteX426" fmla="*/ 390456 w 4011346"/>
                <a:gd name="connsiteY426" fmla="*/ 765642 h 2017102"/>
                <a:gd name="connsiteX427" fmla="*/ 417154 w 4011346"/>
                <a:gd name="connsiteY427" fmla="*/ 815700 h 2017102"/>
                <a:gd name="connsiteX428" fmla="*/ 407142 w 4011346"/>
                <a:gd name="connsiteY428" fmla="*/ 859084 h 2017102"/>
                <a:gd name="connsiteX429" fmla="*/ 413817 w 4011346"/>
                <a:gd name="connsiteY429" fmla="*/ 895794 h 2017102"/>
                <a:gd name="connsiteX430" fmla="*/ 427165 w 4011346"/>
                <a:gd name="connsiteY430" fmla="*/ 919154 h 2017102"/>
                <a:gd name="connsiteX431" fmla="*/ 413817 w 4011346"/>
                <a:gd name="connsiteY431" fmla="*/ 949189 h 2017102"/>
                <a:gd name="connsiteX432" fmla="*/ 390456 w 4011346"/>
                <a:gd name="connsiteY432" fmla="*/ 925829 h 2017102"/>
                <a:gd name="connsiteX433" fmla="*/ 360421 w 4011346"/>
                <a:gd name="connsiteY433" fmla="*/ 922491 h 2017102"/>
                <a:gd name="connsiteX434" fmla="*/ 333723 w 4011346"/>
                <a:gd name="connsiteY434" fmla="*/ 962538 h 2017102"/>
                <a:gd name="connsiteX435" fmla="*/ 307025 w 4011346"/>
                <a:gd name="connsiteY435" fmla="*/ 982561 h 2017102"/>
                <a:gd name="connsiteX436" fmla="*/ 320374 w 4011346"/>
                <a:gd name="connsiteY436" fmla="*/ 1009259 h 2017102"/>
                <a:gd name="connsiteX437" fmla="*/ 303688 w 4011346"/>
                <a:gd name="connsiteY437" fmla="*/ 1032620 h 2017102"/>
                <a:gd name="connsiteX438" fmla="*/ 233606 w 4011346"/>
                <a:gd name="connsiteY438" fmla="*/ 995910 h 2017102"/>
                <a:gd name="connsiteX439" fmla="*/ 243618 w 4011346"/>
                <a:gd name="connsiteY439" fmla="*/ 1045969 h 2017102"/>
                <a:gd name="connsiteX440" fmla="*/ 263641 w 4011346"/>
                <a:gd name="connsiteY440" fmla="*/ 1065992 h 2017102"/>
                <a:gd name="connsiteX441" fmla="*/ 250292 w 4011346"/>
                <a:gd name="connsiteY441" fmla="*/ 1079341 h 2017102"/>
                <a:gd name="connsiteX442" fmla="*/ 193560 w 4011346"/>
                <a:gd name="connsiteY442" fmla="*/ 1042631 h 2017102"/>
                <a:gd name="connsiteX443" fmla="*/ 170199 w 4011346"/>
                <a:gd name="connsiteY443" fmla="*/ 1002585 h 2017102"/>
                <a:gd name="connsiteX444" fmla="*/ 170199 w 4011346"/>
                <a:gd name="connsiteY444" fmla="*/ 955864 h 2017102"/>
                <a:gd name="connsiteX445" fmla="*/ 133490 w 4011346"/>
                <a:gd name="connsiteY445" fmla="*/ 879107 h 2017102"/>
                <a:gd name="connsiteX446" fmla="*/ 196897 w 4011346"/>
                <a:gd name="connsiteY446" fmla="*/ 909142 h 2017102"/>
                <a:gd name="connsiteX447" fmla="*/ 256967 w 4011346"/>
                <a:gd name="connsiteY447" fmla="*/ 939177 h 2017102"/>
                <a:gd name="connsiteX448" fmla="*/ 293676 w 4011346"/>
                <a:gd name="connsiteY448" fmla="*/ 942515 h 2017102"/>
                <a:gd name="connsiteX449" fmla="*/ 327049 w 4011346"/>
                <a:gd name="connsiteY449" fmla="*/ 912480 h 2017102"/>
                <a:gd name="connsiteX450" fmla="*/ 343735 w 4011346"/>
                <a:gd name="connsiteY450" fmla="*/ 875770 h 2017102"/>
                <a:gd name="connsiteX451" fmla="*/ 333723 w 4011346"/>
                <a:gd name="connsiteY451" fmla="*/ 825712 h 2017102"/>
                <a:gd name="connsiteX452" fmla="*/ 290339 w 4011346"/>
                <a:gd name="connsiteY452" fmla="*/ 805688 h 2017102"/>
                <a:gd name="connsiteX453" fmla="*/ 236944 w 4011346"/>
                <a:gd name="connsiteY453" fmla="*/ 758967 h 2017102"/>
                <a:gd name="connsiteX454" fmla="*/ 133490 w 4011346"/>
                <a:gd name="connsiteY454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2078425 w 4011346"/>
                <a:gd name="connsiteY322" fmla="*/ 139809 h 2017102"/>
                <a:gd name="connsiteX323" fmla="*/ 1877440 w 4011346"/>
                <a:gd name="connsiteY323" fmla="*/ 0 h 2017102"/>
                <a:gd name="connsiteX324" fmla="*/ 1835474 w 4011346"/>
                <a:gd name="connsiteY324" fmla="*/ 38128 h 2017102"/>
                <a:gd name="connsiteX325" fmla="*/ 1818788 w 4011346"/>
                <a:gd name="connsiteY325" fmla="*/ 78175 h 2017102"/>
                <a:gd name="connsiteX326" fmla="*/ 1838813 w 4011346"/>
                <a:gd name="connsiteY326" fmla="*/ 131569 h 2017102"/>
                <a:gd name="connsiteX327" fmla="*/ 1782079 w 4011346"/>
                <a:gd name="connsiteY327" fmla="*/ 118220 h 2017102"/>
                <a:gd name="connsiteX328" fmla="*/ 1768731 w 4011346"/>
                <a:gd name="connsiteY328" fmla="*/ 164942 h 2017102"/>
                <a:gd name="connsiteX329" fmla="*/ 1705322 w 4011346"/>
                <a:gd name="connsiteY329" fmla="*/ 188302 h 2017102"/>
                <a:gd name="connsiteX330" fmla="*/ 1685300 w 4011346"/>
                <a:gd name="connsiteY330" fmla="*/ 161604 h 2017102"/>
                <a:gd name="connsiteX331" fmla="*/ 1615218 w 4011346"/>
                <a:gd name="connsiteY331" fmla="*/ 164942 h 2017102"/>
                <a:gd name="connsiteX332" fmla="*/ 1638579 w 4011346"/>
                <a:gd name="connsiteY332" fmla="*/ 194977 h 2017102"/>
                <a:gd name="connsiteX333" fmla="*/ 1528449 w 4011346"/>
                <a:gd name="connsiteY333" fmla="*/ 221673 h 2017102"/>
                <a:gd name="connsiteX334" fmla="*/ 1465043 w 4011346"/>
                <a:gd name="connsiteY334" fmla="*/ 305104 h 2017102"/>
                <a:gd name="connsiteX335" fmla="*/ 1448357 w 4011346"/>
                <a:gd name="connsiteY335" fmla="*/ 331802 h 2017102"/>
                <a:gd name="connsiteX336" fmla="*/ 1481729 w 4011346"/>
                <a:gd name="connsiteY336" fmla="*/ 365175 h 2017102"/>
                <a:gd name="connsiteX337" fmla="*/ 1481729 w 4011346"/>
                <a:gd name="connsiteY337" fmla="*/ 395210 h 2017102"/>
                <a:gd name="connsiteX338" fmla="*/ 1458368 w 4011346"/>
                <a:gd name="connsiteY338" fmla="*/ 398547 h 2017102"/>
                <a:gd name="connsiteX339" fmla="*/ 1458368 w 4011346"/>
                <a:gd name="connsiteY339" fmla="*/ 378523 h 2017102"/>
                <a:gd name="connsiteX340" fmla="*/ 1418322 w 4011346"/>
                <a:gd name="connsiteY340" fmla="*/ 388535 h 2017102"/>
                <a:gd name="connsiteX341" fmla="*/ 1368263 w 4011346"/>
                <a:gd name="connsiteY341" fmla="*/ 395210 h 2017102"/>
                <a:gd name="connsiteX342" fmla="*/ 1321542 w 4011346"/>
                <a:gd name="connsiteY342" fmla="*/ 401884 h 2017102"/>
                <a:gd name="connsiteX343" fmla="*/ 1318205 w 4011346"/>
                <a:gd name="connsiteY343" fmla="*/ 488652 h 2017102"/>
                <a:gd name="connsiteX344" fmla="*/ 1358252 w 4011346"/>
                <a:gd name="connsiteY344" fmla="*/ 512013 h 2017102"/>
                <a:gd name="connsiteX345" fmla="*/ 1374938 w 4011346"/>
                <a:gd name="connsiteY345" fmla="*/ 542048 h 2017102"/>
                <a:gd name="connsiteX346" fmla="*/ 1384949 w 4011346"/>
                <a:gd name="connsiteY346" fmla="*/ 565408 h 2017102"/>
                <a:gd name="connsiteX347" fmla="*/ 1394961 w 4011346"/>
                <a:gd name="connsiteY347" fmla="*/ 615467 h 2017102"/>
                <a:gd name="connsiteX348" fmla="*/ 1384949 w 4011346"/>
                <a:gd name="connsiteY348" fmla="*/ 645502 h 2017102"/>
                <a:gd name="connsiteX349" fmla="*/ 1358252 w 4011346"/>
                <a:gd name="connsiteY349" fmla="*/ 612129 h 2017102"/>
                <a:gd name="connsiteX350" fmla="*/ 1361589 w 4011346"/>
                <a:gd name="connsiteY350" fmla="*/ 582094 h 2017102"/>
                <a:gd name="connsiteX351" fmla="*/ 1351577 w 4011346"/>
                <a:gd name="connsiteY351" fmla="*/ 542048 h 2017102"/>
                <a:gd name="connsiteX352" fmla="*/ 1328217 w 4011346"/>
                <a:gd name="connsiteY352" fmla="*/ 548722 h 2017102"/>
                <a:gd name="connsiteX353" fmla="*/ 1281495 w 4011346"/>
                <a:gd name="connsiteY353" fmla="*/ 512013 h 2017102"/>
                <a:gd name="connsiteX354" fmla="*/ 1241449 w 4011346"/>
                <a:gd name="connsiteY354" fmla="*/ 508675 h 2017102"/>
                <a:gd name="connsiteX355" fmla="*/ 1241449 w 4011346"/>
                <a:gd name="connsiteY355" fmla="*/ 555396 h 2017102"/>
                <a:gd name="connsiteX356" fmla="*/ 1201402 w 4011346"/>
                <a:gd name="connsiteY356" fmla="*/ 535373 h 2017102"/>
                <a:gd name="connsiteX357" fmla="*/ 1228100 w 4011346"/>
                <a:gd name="connsiteY357" fmla="*/ 585431 h 2017102"/>
                <a:gd name="connsiteX358" fmla="*/ 1258135 w 4011346"/>
                <a:gd name="connsiteY358" fmla="*/ 595443 h 2017102"/>
                <a:gd name="connsiteX359" fmla="*/ 1258135 w 4011346"/>
                <a:gd name="connsiteY359" fmla="*/ 615467 h 2017102"/>
                <a:gd name="connsiteX360" fmla="*/ 1198065 w 4011346"/>
                <a:gd name="connsiteY360" fmla="*/ 592106 h 2017102"/>
                <a:gd name="connsiteX361" fmla="*/ 1181379 w 4011346"/>
                <a:gd name="connsiteY361" fmla="*/ 592106 h 2017102"/>
                <a:gd name="connsiteX362" fmla="*/ 1178041 w 4011346"/>
                <a:gd name="connsiteY362" fmla="*/ 548722 h 2017102"/>
                <a:gd name="connsiteX363" fmla="*/ 1171367 w 4011346"/>
                <a:gd name="connsiteY363" fmla="*/ 461954 h 2017102"/>
                <a:gd name="connsiteX364" fmla="*/ 1161355 w 4011346"/>
                <a:gd name="connsiteY364" fmla="*/ 532036 h 2017102"/>
                <a:gd name="connsiteX365" fmla="*/ 1137995 w 4011346"/>
                <a:gd name="connsiteY365" fmla="*/ 562071 h 2017102"/>
                <a:gd name="connsiteX366" fmla="*/ 1158018 w 4011346"/>
                <a:gd name="connsiteY366" fmla="*/ 608792 h 2017102"/>
                <a:gd name="connsiteX367" fmla="*/ 1158018 w 4011346"/>
                <a:gd name="connsiteY367" fmla="*/ 642164 h 2017102"/>
                <a:gd name="connsiteX368" fmla="*/ 1141332 w 4011346"/>
                <a:gd name="connsiteY368" fmla="*/ 692223 h 2017102"/>
                <a:gd name="connsiteX369" fmla="*/ 1154681 w 4011346"/>
                <a:gd name="connsiteY369" fmla="*/ 725595 h 2017102"/>
                <a:gd name="connsiteX370" fmla="*/ 1184716 w 4011346"/>
                <a:gd name="connsiteY370" fmla="*/ 732269 h 2017102"/>
                <a:gd name="connsiteX371" fmla="*/ 1221425 w 4011346"/>
                <a:gd name="connsiteY371" fmla="*/ 738944 h 2017102"/>
                <a:gd name="connsiteX372" fmla="*/ 1241449 w 4011346"/>
                <a:gd name="connsiteY372" fmla="*/ 762304 h 2017102"/>
                <a:gd name="connsiteX373" fmla="*/ 1258135 w 4011346"/>
                <a:gd name="connsiteY373" fmla="*/ 805688 h 2017102"/>
                <a:gd name="connsiteX374" fmla="*/ 1258135 w 4011346"/>
                <a:gd name="connsiteY374" fmla="*/ 805688 h 2017102"/>
                <a:gd name="connsiteX375" fmla="*/ 1254798 w 4011346"/>
                <a:gd name="connsiteY375" fmla="*/ 839061 h 2017102"/>
                <a:gd name="connsiteX376" fmla="*/ 1274821 w 4011346"/>
                <a:gd name="connsiteY376" fmla="*/ 859084 h 2017102"/>
                <a:gd name="connsiteX377" fmla="*/ 1244786 w 4011346"/>
                <a:gd name="connsiteY377" fmla="*/ 865759 h 2017102"/>
                <a:gd name="connsiteX378" fmla="*/ 1224763 w 4011346"/>
                <a:gd name="connsiteY378" fmla="*/ 825712 h 2017102"/>
                <a:gd name="connsiteX379" fmla="*/ 1224763 w 4011346"/>
                <a:gd name="connsiteY379" fmla="*/ 785665 h 2017102"/>
                <a:gd name="connsiteX380" fmla="*/ 1194727 w 4011346"/>
                <a:gd name="connsiteY380" fmla="*/ 748956 h 2017102"/>
                <a:gd name="connsiteX381" fmla="*/ 1164692 w 4011346"/>
                <a:gd name="connsiteY381" fmla="*/ 792340 h 2017102"/>
                <a:gd name="connsiteX382" fmla="*/ 1178041 w 4011346"/>
                <a:gd name="connsiteY382" fmla="*/ 835723 h 2017102"/>
                <a:gd name="connsiteX383" fmla="*/ 1137995 w 4011346"/>
                <a:gd name="connsiteY383" fmla="*/ 892456 h 2017102"/>
                <a:gd name="connsiteX384" fmla="*/ 1097948 w 4011346"/>
                <a:gd name="connsiteY384" fmla="*/ 949189 h 2017102"/>
                <a:gd name="connsiteX385" fmla="*/ 1007843 w 4011346"/>
                <a:gd name="connsiteY385" fmla="*/ 912480 h 2017102"/>
                <a:gd name="connsiteX386" fmla="*/ 1074587 w 4011346"/>
                <a:gd name="connsiteY386" fmla="*/ 909142 h 2017102"/>
                <a:gd name="connsiteX387" fmla="*/ 1107960 w 4011346"/>
                <a:gd name="connsiteY387" fmla="*/ 845735 h 2017102"/>
                <a:gd name="connsiteX388" fmla="*/ 1121309 w 4011346"/>
                <a:gd name="connsiteY388" fmla="*/ 802351 h 2017102"/>
                <a:gd name="connsiteX389" fmla="*/ 1127983 w 4011346"/>
                <a:gd name="connsiteY389" fmla="*/ 768979 h 2017102"/>
                <a:gd name="connsiteX390" fmla="*/ 1117971 w 4011346"/>
                <a:gd name="connsiteY390" fmla="*/ 752293 h 2017102"/>
                <a:gd name="connsiteX391" fmla="*/ 1114634 w 4011346"/>
                <a:gd name="connsiteY391" fmla="*/ 702234 h 2017102"/>
                <a:gd name="connsiteX392" fmla="*/ 1104622 w 4011346"/>
                <a:gd name="connsiteY392" fmla="*/ 622141 h 2017102"/>
                <a:gd name="connsiteX393" fmla="*/ 1101285 w 4011346"/>
                <a:gd name="connsiteY393" fmla="*/ 562071 h 2017102"/>
                <a:gd name="connsiteX394" fmla="*/ 1124646 w 4011346"/>
                <a:gd name="connsiteY394" fmla="*/ 468629 h 2017102"/>
                <a:gd name="connsiteX395" fmla="*/ 1031203 w 4011346"/>
                <a:gd name="connsiteY395" fmla="*/ 458617 h 2017102"/>
                <a:gd name="connsiteX396" fmla="*/ 1014517 w 4011346"/>
                <a:gd name="connsiteY396" fmla="*/ 515350 h 2017102"/>
                <a:gd name="connsiteX397" fmla="*/ 1024529 w 4011346"/>
                <a:gd name="connsiteY397" fmla="*/ 562071 h 2017102"/>
                <a:gd name="connsiteX398" fmla="*/ 981145 w 4011346"/>
                <a:gd name="connsiteY398" fmla="*/ 615467 h 2017102"/>
                <a:gd name="connsiteX399" fmla="*/ 991157 w 4011346"/>
                <a:gd name="connsiteY399" fmla="*/ 652176 h 2017102"/>
                <a:gd name="connsiteX400" fmla="*/ 981145 w 4011346"/>
                <a:gd name="connsiteY400" fmla="*/ 698897 h 2017102"/>
                <a:gd name="connsiteX401" fmla="*/ 1001168 w 4011346"/>
                <a:gd name="connsiteY401" fmla="*/ 722258 h 2017102"/>
                <a:gd name="connsiteX402" fmla="*/ 1017854 w 4011346"/>
                <a:gd name="connsiteY402" fmla="*/ 768979 h 2017102"/>
                <a:gd name="connsiteX403" fmla="*/ 1047890 w 4011346"/>
                <a:gd name="connsiteY403" fmla="*/ 755630 h 2017102"/>
                <a:gd name="connsiteX404" fmla="*/ 1014517 w 4011346"/>
                <a:gd name="connsiteY404" fmla="*/ 809026 h 2017102"/>
                <a:gd name="connsiteX405" fmla="*/ 957784 w 4011346"/>
                <a:gd name="connsiteY405" fmla="*/ 755630 h 2017102"/>
                <a:gd name="connsiteX406" fmla="*/ 884365 w 4011346"/>
                <a:gd name="connsiteY406" fmla="*/ 718921 h 2017102"/>
                <a:gd name="connsiteX407" fmla="*/ 824295 w 4011346"/>
                <a:gd name="connsiteY407" fmla="*/ 695560 h 2017102"/>
                <a:gd name="connsiteX408" fmla="*/ 810946 w 4011346"/>
                <a:gd name="connsiteY408" fmla="*/ 732269 h 2017102"/>
                <a:gd name="connsiteX409" fmla="*/ 827633 w 4011346"/>
                <a:gd name="connsiteY409" fmla="*/ 768979 h 2017102"/>
                <a:gd name="connsiteX410" fmla="*/ 814284 w 4011346"/>
                <a:gd name="connsiteY410" fmla="*/ 792340 h 2017102"/>
                <a:gd name="connsiteX411" fmla="*/ 800935 w 4011346"/>
                <a:gd name="connsiteY411" fmla="*/ 809026 h 2017102"/>
                <a:gd name="connsiteX412" fmla="*/ 770900 w 4011346"/>
                <a:gd name="connsiteY412" fmla="*/ 752293 h 2017102"/>
                <a:gd name="connsiteX413" fmla="*/ 744202 w 4011346"/>
                <a:gd name="connsiteY413" fmla="*/ 789002 h 2017102"/>
                <a:gd name="connsiteX414" fmla="*/ 707492 w 4011346"/>
                <a:gd name="connsiteY414" fmla="*/ 782328 h 2017102"/>
                <a:gd name="connsiteX415" fmla="*/ 654097 w 4011346"/>
                <a:gd name="connsiteY415" fmla="*/ 819037 h 2017102"/>
                <a:gd name="connsiteX416" fmla="*/ 644085 w 4011346"/>
                <a:gd name="connsiteY416" fmla="*/ 795677 h 2017102"/>
                <a:gd name="connsiteX417" fmla="*/ 654097 w 4011346"/>
                <a:gd name="connsiteY417" fmla="*/ 758967 h 2017102"/>
                <a:gd name="connsiteX418" fmla="*/ 614050 w 4011346"/>
                <a:gd name="connsiteY418" fmla="*/ 795677 h 2017102"/>
                <a:gd name="connsiteX419" fmla="*/ 594027 w 4011346"/>
                <a:gd name="connsiteY419" fmla="*/ 795677 h 2017102"/>
                <a:gd name="connsiteX420" fmla="*/ 533957 w 4011346"/>
                <a:gd name="connsiteY420" fmla="*/ 829049 h 2017102"/>
                <a:gd name="connsiteX421" fmla="*/ 510596 w 4011346"/>
                <a:gd name="connsiteY421" fmla="*/ 852410 h 2017102"/>
                <a:gd name="connsiteX422" fmla="*/ 500584 w 4011346"/>
                <a:gd name="connsiteY422" fmla="*/ 899131 h 2017102"/>
                <a:gd name="connsiteX423" fmla="*/ 450526 w 4011346"/>
                <a:gd name="connsiteY423" fmla="*/ 885782 h 2017102"/>
                <a:gd name="connsiteX424" fmla="*/ 433840 w 4011346"/>
                <a:gd name="connsiteY424" fmla="*/ 849072 h 2017102"/>
                <a:gd name="connsiteX425" fmla="*/ 467212 w 4011346"/>
                <a:gd name="connsiteY425" fmla="*/ 819037 h 2017102"/>
                <a:gd name="connsiteX426" fmla="*/ 453863 w 4011346"/>
                <a:gd name="connsiteY426" fmla="*/ 795677 h 2017102"/>
                <a:gd name="connsiteX427" fmla="*/ 390456 w 4011346"/>
                <a:gd name="connsiteY427" fmla="*/ 765642 h 2017102"/>
                <a:gd name="connsiteX428" fmla="*/ 417154 w 4011346"/>
                <a:gd name="connsiteY428" fmla="*/ 815700 h 2017102"/>
                <a:gd name="connsiteX429" fmla="*/ 407142 w 4011346"/>
                <a:gd name="connsiteY429" fmla="*/ 859084 h 2017102"/>
                <a:gd name="connsiteX430" fmla="*/ 413817 w 4011346"/>
                <a:gd name="connsiteY430" fmla="*/ 895794 h 2017102"/>
                <a:gd name="connsiteX431" fmla="*/ 427165 w 4011346"/>
                <a:gd name="connsiteY431" fmla="*/ 919154 h 2017102"/>
                <a:gd name="connsiteX432" fmla="*/ 413817 w 4011346"/>
                <a:gd name="connsiteY432" fmla="*/ 949189 h 2017102"/>
                <a:gd name="connsiteX433" fmla="*/ 390456 w 4011346"/>
                <a:gd name="connsiteY433" fmla="*/ 925829 h 2017102"/>
                <a:gd name="connsiteX434" fmla="*/ 360421 w 4011346"/>
                <a:gd name="connsiteY434" fmla="*/ 922491 h 2017102"/>
                <a:gd name="connsiteX435" fmla="*/ 333723 w 4011346"/>
                <a:gd name="connsiteY435" fmla="*/ 962538 h 2017102"/>
                <a:gd name="connsiteX436" fmla="*/ 307025 w 4011346"/>
                <a:gd name="connsiteY436" fmla="*/ 982561 h 2017102"/>
                <a:gd name="connsiteX437" fmla="*/ 320374 w 4011346"/>
                <a:gd name="connsiteY437" fmla="*/ 1009259 h 2017102"/>
                <a:gd name="connsiteX438" fmla="*/ 303688 w 4011346"/>
                <a:gd name="connsiteY438" fmla="*/ 1032620 h 2017102"/>
                <a:gd name="connsiteX439" fmla="*/ 233606 w 4011346"/>
                <a:gd name="connsiteY439" fmla="*/ 995910 h 2017102"/>
                <a:gd name="connsiteX440" fmla="*/ 243618 w 4011346"/>
                <a:gd name="connsiteY440" fmla="*/ 1045969 h 2017102"/>
                <a:gd name="connsiteX441" fmla="*/ 263641 w 4011346"/>
                <a:gd name="connsiteY441" fmla="*/ 1065992 h 2017102"/>
                <a:gd name="connsiteX442" fmla="*/ 250292 w 4011346"/>
                <a:gd name="connsiteY442" fmla="*/ 1079341 h 2017102"/>
                <a:gd name="connsiteX443" fmla="*/ 193560 w 4011346"/>
                <a:gd name="connsiteY443" fmla="*/ 1042631 h 2017102"/>
                <a:gd name="connsiteX444" fmla="*/ 170199 w 4011346"/>
                <a:gd name="connsiteY444" fmla="*/ 1002585 h 2017102"/>
                <a:gd name="connsiteX445" fmla="*/ 170199 w 4011346"/>
                <a:gd name="connsiteY445" fmla="*/ 955864 h 2017102"/>
                <a:gd name="connsiteX446" fmla="*/ 133490 w 4011346"/>
                <a:gd name="connsiteY446" fmla="*/ 879107 h 2017102"/>
                <a:gd name="connsiteX447" fmla="*/ 196897 w 4011346"/>
                <a:gd name="connsiteY447" fmla="*/ 909142 h 2017102"/>
                <a:gd name="connsiteX448" fmla="*/ 256967 w 4011346"/>
                <a:gd name="connsiteY448" fmla="*/ 939177 h 2017102"/>
                <a:gd name="connsiteX449" fmla="*/ 293676 w 4011346"/>
                <a:gd name="connsiteY449" fmla="*/ 942515 h 2017102"/>
                <a:gd name="connsiteX450" fmla="*/ 327049 w 4011346"/>
                <a:gd name="connsiteY450" fmla="*/ 912480 h 2017102"/>
                <a:gd name="connsiteX451" fmla="*/ 343735 w 4011346"/>
                <a:gd name="connsiteY451" fmla="*/ 875770 h 2017102"/>
                <a:gd name="connsiteX452" fmla="*/ 333723 w 4011346"/>
                <a:gd name="connsiteY452" fmla="*/ 825712 h 2017102"/>
                <a:gd name="connsiteX453" fmla="*/ 290339 w 4011346"/>
                <a:gd name="connsiteY453" fmla="*/ 805688 h 2017102"/>
                <a:gd name="connsiteX454" fmla="*/ 236944 w 4011346"/>
                <a:gd name="connsiteY454" fmla="*/ 758967 h 2017102"/>
                <a:gd name="connsiteX455" fmla="*/ 133490 w 4011346"/>
                <a:gd name="connsiteY455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2092713 w 4011346"/>
                <a:gd name="connsiteY322" fmla="*/ 102662 h 2017102"/>
                <a:gd name="connsiteX323" fmla="*/ 1877440 w 4011346"/>
                <a:gd name="connsiteY323" fmla="*/ 0 h 2017102"/>
                <a:gd name="connsiteX324" fmla="*/ 1835474 w 4011346"/>
                <a:gd name="connsiteY324" fmla="*/ 38128 h 2017102"/>
                <a:gd name="connsiteX325" fmla="*/ 1818788 w 4011346"/>
                <a:gd name="connsiteY325" fmla="*/ 78175 h 2017102"/>
                <a:gd name="connsiteX326" fmla="*/ 1838813 w 4011346"/>
                <a:gd name="connsiteY326" fmla="*/ 131569 h 2017102"/>
                <a:gd name="connsiteX327" fmla="*/ 1782079 w 4011346"/>
                <a:gd name="connsiteY327" fmla="*/ 118220 h 2017102"/>
                <a:gd name="connsiteX328" fmla="*/ 1768731 w 4011346"/>
                <a:gd name="connsiteY328" fmla="*/ 164942 h 2017102"/>
                <a:gd name="connsiteX329" fmla="*/ 1705322 w 4011346"/>
                <a:gd name="connsiteY329" fmla="*/ 188302 h 2017102"/>
                <a:gd name="connsiteX330" fmla="*/ 1685300 w 4011346"/>
                <a:gd name="connsiteY330" fmla="*/ 161604 h 2017102"/>
                <a:gd name="connsiteX331" fmla="*/ 1615218 w 4011346"/>
                <a:gd name="connsiteY331" fmla="*/ 164942 h 2017102"/>
                <a:gd name="connsiteX332" fmla="*/ 1638579 w 4011346"/>
                <a:gd name="connsiteY332" fmla="*/ 194977 h 2017102"/>
                <a:gd name="connsiteX333" fmla="*/ 1528449 w 4011346"/>
                <a:gd name="connsiteY333" fmla="*/ 221673 h 2017102"/>
                <a:gd name="connsiteX334" fmla="*/ 1465043 w 4011346"/>
                <a:gd name="connsiteY334" fmla="*/ 305104 h 2017102"/>
                <a:gd name="connsiteX335" fmla="*/ 1448357 w 4011346"/>
                <a:gd name="connsiteY335" fmla="*/ 331802 h 2017102"/>
                <a:gd name="connsiteX336" fmla="*/ 1481729 w 4011346"/>
                <a:gd name="connsiteY336" fmla="*/ 365175 h 2017102"/>
                <a:gd name="connsiteX337" fmla="*/ 1481729 w 4011346"/>
                <a:gd name="connsiteY337" fmla="*/ 395210 h 2017102"/>
                <a:gd name="connsiteX338" fmla="*/ 1458368 w 4011346"/>
                <a:gd name="connsiteY338" fmla="*/ 398547 h 2017102"/>
                <a:gd name="connsiteX339" fmla="*/ 1458368 w 4011346"/>
                <a:gd name="connsiteY339" fmla="*/ 378523 h 2017102"/>
                <a:gd name="connsiteX340" fmla="*/ 1418322 w 4011346"/>
                <a:gd name="connsiteY340" fmla="*/ 388535 h 2017102"/>
                <a:gd name="connsiteX341" fmla="*/ 1368263 w 4011346"/>
                <a:gd name="connsiteY341" fmla="*/ 395210 h 2017102"/>
                <a:gd name="connsiteX342" fmla="*/ 1321542 w 4011346"/>
                <a:gd name="connsiteY342" fmla="*/ 401884 h 2017102"/>
                <a:gd name="connsiteX343" fmla="*/ 1318205 w 4011346"/>
                <a:gd name="connsiteY343" fmla="*/ 488652 h 2017102"/>
                <a:gd name="connsiteX344" fmla="*/ 1358252 w 4011346"/>
                <a:gd name="connsiteY344" fmla="*/ 512013 h 2017102"/>
                <a:gd name="connsiteX345" fmla="*/ 1374938 w 4011346"/>
                <a:gd name="connsiteY345" fmla="*/ 542048 h 2017102"/>
                <a:gd name="connsiteX346" fmla="*/ 1384949 w 4011346"/>
                <a:gd name="connsiteY346" fmla="*/ 565408 h 2017102"/>
                <a:gd name="connsiteX347" fmla="*/ 1394961 w 4011346"/>
                <a:gd name="connsiteY347" fmla="*/ 615467 h 2017102"/>
                <a:gd name="connsiteX348" fmla="*/ 1384949 w 4011346"/>
                <a:gd name="connsiteY348" fmla="*/ 645502 h 2017102"/>
                <a:gd name="connsiteX349" fmla="*/ 1358252 w 4011346"/>
                <a:gd name="connsiteY349" fmla="*/ 612129 h 2017102"/>
                <a:gd name="connsiteX350" fmla="*/ 1361589 w 4011346"/>
                <a:gd name="connsiteY350" fmla="*/ 582094 h 2017102"/>
                <a:gd name="connsiteX351" fmla="*/ 1351577 w 4011346"/>
                <a:gd name="connsiteY351" fmla="*/ 542048 h 2017102"/>
                <a:gd name="connsiteX352" fmla="*/ 1328217 w 4011346"/>
                <a:gd name="connsiteY352" fmla="*/ 548722 h 2017102"/>
                <a:gd name="connsiteX353" fmla="*/ 1281495 w 4011346"/>
                <a:gd name="connsiteY353" fmla="*/ 512013 h 2017102"/>
                <a:gd name="connsiteX354" fmla="*/ 1241449 w 4011346"/>
                <a:gd name="connsiteY354" fmla="*/ 508675 h 2017102"/>
                <a:gd name="connsiteX355" fmla="*/ 1241449 w 4011346"/>
                <a:gd name="connsiteY355" fmla="*/ 555396 h 2017102"/>
                <a:gd name="connsiteX356" fmla="*/ 1201402 w 4011346"/>
                <a:gd name="connsiteY356" fmla="*/ 535373 h 2017102"/>
                <a:gd name="connsiteX357" fmla="*/ 1228100 w 4011346"/>
                <a:gd name="connsiteY357" fmla="*/ 585431 h 2017102"/>
                <a:gd name="connsiteX358" fmla="*/ 1258135 w 4011346"/>
                <a:gd name="connsiteY358" fmla="*/ 595443 h 2017102"/>
                <a:gd name="connsiteX359" fmla="*/ 1258135 w 4011346"/>
                <a:gd name="connsiteY359" fmla="*/ 615467 h 2017102"/>
                <a:gd name="connsiteX360" fmla="*/ 1198065 w 4011346"/>
                <a:gd name="connsiteY360" fmla="*/ 592106 h 2017102"/>
                <a:gd name="connsiteX361" fmla="*/ 1181379 w 4011346"/>
                <a:gd name="connsiteY361" fmla="*/ 592106 h 2017102"/>
                <a:gd name="connsiteX362" fmla="*/ 1178041 w 4011346"/>
                <a:gd name="connsiteY362" fmla="*/ 548722 h 2017102"/>
                <a:gd name="connsiteX363" fmla="*/ 1171367 w 4011346"/>
                <a:gd name="connsiteY363" fmla="*/ 461954 h 2017102"/>
                <a:gd name="connsiteX364" fmla="*/ 1161355 w 4011346"/>
                <a:gd name="connsiteY364" fmla="*/ 532036 h 2017102"/>
                <a:gd name="connsiteX365" fmla="*/ 1137995 w 4011346"/>
                <a:gd name="connsiteY365" fmla="*/ 562071 h 2017102"/>
                <a:gd name="connsiteX366" fmla="*/ 1158018 w 4011346"/>
                <a:gd name="connsiteY366" fmla="*/ 608792 h 2017102"/>
                <a:gd name="connsiteX367" fmla="*/ 1158018 w 4011346"/>
                <a:gd name="connsiteY367" fmla="*/ 642164 h 2017102"/>
                <a:gd name="connsiteX368" fmla="*/ 1141332 w 4011346"/>
                <a:gd name="connsiteY368" fmla="*/ 692223 h 2017102"/>
                <a:gd name="connsiteX369" fmla="*/ 1154681 w 4011346"/>
                <a:gd name="connsiteY369" fmla="*/ 725595 h 2017102"/>
                <a:gd name="connsiteX370" fmla="*/ 1184716 w 4011346"/>
                <a:gd name="connsiteY370" fmla="*/ 732269 h 2017102"/>
                <a:gd name="connsiteX371" fmla="*/ 1221425 w 4011346"/>
                <a:gd name="connsiteY371" fmla="*/ 738944 h 2017102"/>
                <a:gd name="connsiteX372" fmla="*/ 1241449 w 4011346"/>
                <a:gd name="connsiteY372" fmla="*/ 762304 h 2017102"/>
                <a:gd name="connsiteX373" fmla="*/ 1258135 w 4011346"/>
                <a:gd name="connsiteY373" fmla="*/ 805688 h 2017102"/>
                <a:gd name="connsiteX374" fmla="*/ 1258135 w 4011346"/>
                <a:gd name="connsiteY374" fmla="*/ 805688 h 2017102"/>
                <a:gd name="connsiteX375" fmla="*/ 1254798 w 4011346"/>
                <a:gd name="connsiteY375" fmla="*/ 839061 h 2017102"/>
                <a:gd name="connsiteX376" fmla="*/ 1274821 w 4011346"/>
                <a:gd name="connsiteY376" fmla="*/ 859084 h 2017102"/>
                <a:gd name="connsiteX377" fmla="*/ 1244786 w 4011346"/>
                <a:gd name="connsiteY377" fmla="*/ 865759 h 2017102"/>
                <a:gd name="connsiteX378" fmla="*/ 1224763 w 4011346"/>
                <a:gd name="connsiteY378" fmla="*/ 825712 h 2017102"/>
                <a:gd name="connsiteX379" fmla="*/ 1224763 w 4011346"/>
                <a:gd name="connsiteY379" fmla="*/ 785665 h 2017102"/>
                <a:gd name="connsiteX380" fmla="*/ 1194727 w 4011346"/>
                <a:gd name="connsiteY380" fmla="*/ 748956 h 2017102"/>
                <a:gd name="connsiteX381" fmla="*/ 1164692 w 4011346"/>
                <a:gd name="connsiteY381" fmla="*/ 792340 h 2017102"/>
                <a:gd name="connsiteX382" fmla="*/ 1178041 w 4011346"/>
                <a:gd name="connsiteY382" fmla="*/ 835723 h 2017102"/>
                <a:gd name="connsiteX383" fmla="*/ 1137995 w 4011346"/>
                <a:gd name="connsiteY383" fmla="*/ 892456 h 2017102"/>
                <a:gd name="connsiteX384" fmla="*/ 1097948 w 4011346"/>
                <a:gd name="connsiteY384" fmla="*/ 949189 h 2017102"/>
                <a:gd name="connsiteX385" fmla="*/ 1007843 w 4011346"/>
                <a:gd name="connsiteY385" fmla="*/ 912480 h 2017102"/>
                <a:gd name="connsiteX386" fmla="*/ 1074587 w 4011346"/>
                <a:gd name="connsiteY386" fmla="*/ 909142 h 2017102"/>
                <a:gd name="connsiteX387" fmla="*/ 1107960 w 4011346"/>
                <a:gd name="connsiteY387" fmla="*/ 845735 h 2017102"/>
                <a:gd name="connsiteX388" fmla="*/ 1121309 w 4011346"/>
                <a:gd name="connsiteY388" fmla="*/ 802351 h 2017102"/>
                <a:gd name="connsiteX389" fmla="*/ 1127983 w 4011346"/>
                <a:gd name="connsiteY389" fmla="*/ 768979 h 2017102"/>
                <a:gd name="connsiteX390" fmla="*/ 1117971 w 4011346"/>
                <a:gd name="connsiteY390" fmla="*/ 752293 h 2017102"/>
                <a:gd name="connsiteX391" fmla="*/ 1114634 w 4011346"/>
                <a:gd name="connsiteY391" fmla="*/ 702234 h 2017102"/>
                <a:gd name="connsiteX392" fmla="*/ 1104622 w 4011346"/>
                <a:gd name="connsiteY392" fmla="*/ 622141 h 2017102"/>
                <a:gd name="connsiteX393" fmla="*/ 1101285 w 4011346"/>
                <a:gd name="connsiteY393" fmla="*/ 562071 h 2017102"/>
                <a:gd name="connsiteX394" fmla="*/ 1124646 w 4011346"/>
                <a:gd name="connsiteY394" fmla="*/ 468629 h 2017102"/>
                <a:gd name="connsiteX395" fmla="*/ 1031203 w 4011346"/>
                <a:gd name="connsiteY395" fmla="*/ 458617 h 2017102"/>
                <a:gd name="connsiteX396" fmla="*/ 1014517 w 4011346"/>
                <a:gd name="connsiteY396" fmla="*/ 515350 h 2017102"/>
                <a:gd name="connsiteX397" fmla="*/ 1024529 w 4011346"/>
                <a:gd name="connsiteY397" fmla="*/ 562071 h 2017102"/>
                <a:gd name="connsiteX398" fmla="*/ 981145 w 4011346"/>
                <a:gd name="connsiteY398" fmla="*/ 615467 h 2017102"/>
                <a:gd name="connsiteX399" fmla="*/ 991157 w 4011346"/>
                <a:gd name="connsiteY399" fmla="*/ 652176 h 2017102"/>
                <a:gd name="connsiteX400" fmla="*/ 981145 w 4011346"/>
                <a:gd name="connsiteY400" fmla="*/ 698897 h 2017102"/>
                <a:gd name="connsiteX401" fmla="*/ 1001168 w 4011346"/>
                <a:gd name="connsiteY401" fmla="*/ 722258 h 2017102"/>
                <a:gd name="connsiteX402" fmla="*/ 1017854 w 4011346"/>
                <a:gd name="connsiteY402" fmla="*/ 768979 h 2017102"/>
                <a:gd name="connsiteX403" fmla="*/ 1047890 w 4011346"/>
                <a:gd name="connsiteY403" fmla="*/ 755630 h 2017102"/>
                <a:gd name="connsiteX404" fmla="*/ 1014517 w 4011346"/>
                <a:gd name="connsiteY404" fmla="*/ 809026 h 2017102"/>
                <a:gd name="connsiteX405" fmla="*/ 957784 w 4011346"/>
                <a:gd name="connsiteY405" fmla="*/ 755630 h 2017102"/>
                <a:gd name="connsiteX406" fmla="*/ 884365 w 4011346"/>
                <a:gd name="connsiteY406" fmla="*/ 718921 h 2017102"/>
                <a:gd name="connsiteX407" fmla="*/ 824295 w 4011346"/>
                <a:gd name="connsiteY407" fmla="*/ 695560 h 2017102"/>
                <a:gd name="connsiteX408" fmla="*/ 810946 w 4011346"/>
                <a:gd name="connsiteY408" fmla="*/ 732269 h 2017102"/>
                <a:gd name="connsiteX409" fmla="*/ 827633 w 4011346"/>
                <a:gd name="connsiteY409" fmla="*/ 768979 h 2017102"/>
                <a:gd name="connsiteX410" fmla="*/ 814284 w 4011346"/>
                <a:gd name="connsiteY410" fmla="*/ 792340 h 2017102"/>
                <a:gd name="connsiteX411" fmla="*/ 800935 w 4011346"/>
                <a:gd name="connsiteY411" fmla="*/ 809026 h 2017102"/>
                <a:gd name="connsiteX412" fmla="*/ 770900 w 4011346"/>
                <a:gd name="connsiteY412" fmla="*/ 752293 h 2017102"/>
                <a:gd name="connsiteX413" fmla="*/ 744202 w 4011346"/>
                <a:gd name="connsiteY413" fmla="*/ 789002 h 2017102"/>
                <a:gd name="connsiteX414" fmla="*/ 707492 w 4011346"/>
                <a:gd name="connsiteY414" fmla="*/ 782328 h 2017102"/>
                <a:gd name="connsiteX415" fmla="*/ 654097 w 4011346"/>
                <a:gd name="connsiteY415" fmla="*/ 819037 h 2017102"/>
                <a:gd name="connsiteX416" fmla="*/ 644085 w 4011346"/>
                <a:gd name="connsiteY416" fmla="*/ 795677 h 2017102"/>
                <a:gd name="connsiteX417" fmla="*/ 654097 w 4011346"/>
                <a:gd name="connsiteY417" fmla="*/ 758967 h 2017102"/>
                <a:gd name="connsiteX418" fmla="*/ 614050 w 4011346"/>
                <a:gd name="connsiteY418" fmla="*/ 795677 h 2017102"/>
                <a:gd name="connsiteX419" fmla="*/ 594027 w 4011346"/>
                <a:gd name="connsiteY419" fmla="*/ 795677 h 2017102"/>
                <a:gd name="connsiteX420" fmla="*/ 533957 w 4011346"/>
                <a:gd name="connsiteY420" fmla="*/ 829049 h 2017102"/>
                <a:gd name="connsiteX421" fmla="*/ 510596 w 4011346"/>
                <a:gd name="connsiteY421" fmla="*/ 852410 h 2017102"/>
                <a:gd name="connsiteX422" fmla="*/ 500584 w 4011346"/>
                <a:gd name="connsiteY422" fmla="*/ 899131 h 2017102"/>
                <a:gd name="connsiteX423" fmla="*/ 450526 w 4011346"/>
                <a:gd name="connsiteY423" fmla="*/ 885782 h 2017102"/>
                <a:gd name="connsiteX424" fmla="*/ 433840 w 4011346"/>
                <a:gd name="connsiteY424" fmla="*/ 849072 h 2017102"/>
                <a:gd name="connsiteX425" fmla="*/ 467212 w 4011346"/>
                <a:gd name="connsiteY425" fmla="*/ 819037 h 2017102"/>
                <a:gd name="connsiteX426" fmla="*/ 453863 w 4011346"/>
                <a:gd name="connsiteY426" fmla="*/ 795677 h 2017102"/>
                <a:gd name="connsiteX427" fmla="*/ 390456 w 4011346"/>
                <a:gd name="connsiteY427" fmla="*/ 765642 h 2017102"/>
                <a:gd name="connsiteX428" fmla="*/ 417154 w 4011346"/>
                <a:gd name="connsiteY428" fmla="*/ 815700 h 2017102"/>
                <a:gd name="connsiteX429" fmla="*/ 407142 w 4011346"/>
                <a:gd name="connsiteY429" fmla="*/ 859084 h 2017102"/>
                <a:gd name="connsiteX430" fmla="*/ 413817 w 4011346"/>
                <a:gd name="connsiteY430" fmla="*/ 895794 h 2017102"/>
                <a:gd name="connsiteX431" fmla="*/ 427165 w 4011346"/>
                <a:gd name="connsiteY431" fmla="*/ 919154 h 2017102"/>
                <a:gd name="connsiteX432" fmla="*/ 413817 w 4011346"/>
                <a:gd name="connsiteY432" fmla="*/ 949189 h 2017102"/>
                <a:gd name="connsiteX433" fmla="*/ 390456 w 4011346"/>
                <a:gd name="connsiteY433" fmla="*/ 925829 h 2017102"/>
                <a:gd name="connsiteX434" fmla="*/ 360421 w 4011346"/>
                <a:gd name="connsiteY434" fmla="*/ 922491 h 2017102"/>
                <a:gd name="connsiteX435" fmla="*/ 333723 w 4011346"/>
                <a:gd name="connsiteY435" fmla="*/ 962538 h 2017102"/>
                <a:gd name="connsiteX436" fmla="*/ 307025 w 4011346"/>
                <a:gd name="connsiteY436" fmla="*/ 982561 h 2017102"/>
                <a:gd name="connsiteX437" fmla="*/ 320374 w 4011346"/>
                <a:gd name="connsiteY437" fmla="*/ 1009259 h 2017102"/>
                <a:gd name="connsiteX438" fmla="*/ 303688 w 4011346"/>
                <a:gd name="connsiteY438" fmla="*/ 1032620 h 2017102"/>
                <a:gd name="connsiteX439" fmla="*/ 233606 w 4011346"/>
                <a:gd name="connsiteY439" fmla="*/ 995910 h 2017102"/>
                <a:gd name="connsiteX440" fmla="*/ 243618 w 4011346"/>
                <a:gd name="connsiteY440" fmla="*/ 1045969 h 2017102"/>
                <a:gd name="connsiteX441" fmla="*/ 263641 w 4011346"/>
                <a:gd name="connsiteY441" fmla="*/ 1065992 h 2017102"/>
                <a:gd name="connsiteX442" fmla="*/ 250292 w 4011346"/>
                <a:gd name="connsiteY442" fmla="*/ 1079341 h 2017102"/>
                <a:gd name="connsiteX443" fmla="*/ 193560 w 4011346"/>
                <a:gd name="connsiteY443" fmla="*/ 1042631 h 2017102"/>
                <a:gd name="connsiteX444" fmla="*/ 170199 w 4011346"/>
                <a:gd name="connsiteY444" fmla="*/ 1002585 h 2017102"/>
                <a:gd name="connsiteX445" fmla="*/ 170199 w 4011346"/>
                <a:gd name="connsiteY445" fmla="*/ 955864 h 2017102"/>
                <a:gd name="connsiteX446" fmla="*/ 133490 w 4011346"/>
                <a:gd name="connsiteY446" fmla="*/ 879107 h 2017102"/>
                <a:gd name="connsiteX447" fmla="*/ 196897 w 4011346"/>
                <a:gd name="connsiteY447" fmla="*/ 909142 h 2017102"/>
                <a:gd name="connsiteX448" fmla="*/ 256967 w 4011346"/>
                <a:gd name="connsiteY448" fmla="*/ 939177 h 2017102"/>
                <a:gd name="connsiteX449" fmla="*/ 293676 w 4011346"/>
                <a:gd name="connsiteY449" fmla="*/ 942515 h 2017102"/>
                <a:gd name="connsiteX450" fmla="*/ 327049 w 4011346"/>
                <a:gd name="connsiteY450" fmla="*/ 912480 h 2017102"/>
                <a:gd name="connsiteX451" fmla="*/ 343735 w 4011346"/>
                <a:gd name="connsiteY451" fmla="*/ 875770 h 2017102"/>
                <a:gd name="connsiteX452" fmla="*/ 333723 w 4011346"/>
                <a:gd name="connsiteY452" fmla="*/ 825712 h 2017102"/>
                <a:gd name="connsiteX453" fmla="*/ 290339 w 4011346"/>
                <a:gd name="connsiteY453" fmla="*/ 805688 h 2017102"/>
                <a:gd name="connsiteX454" fmla="*/ 236944 w 4011346"/>
                <a:gd name="connsiteY454" fmla="*/ 758967 h 2017102"/>
                <a:gd name="connsiteX455" fmla="*/ 133490 w 4011346"/>
                <a:gd name="connsiteY455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2092713 w 4011346"/>
                <a:gd name="connsiteY322" fmla="*/ 102662 h 2017102"/>
                <a:gd name="connsiteX323" fmla="*/ 2055565 w 4011346"/>
                <a:gd name="connsiteY323" fmla="*/ 79801 h 2017102"/>
                <a:gd name="connsiteX324" fmla="*/ 1877440 w 4011346"/>
                <a:gd name="connsiteY324" fmla="*/ 0 h 2017102"/>
                <a:gd name="connsiteX325" fmla="*/ 1835474 w 4011346"/>
                <a:gd name="connsiteY325" fmla="*/ 38128 h 2017102"/>
                <a:gd name="connsiteX326" fmla="*/ 1818788 w 4011346"/>
                <a:gd name="connsiteY326" fmla="*/ 78175 h 2017102"/>
                <a:gd name="connsiteX327" fmla="*/ 1838813 w 4011346"/>
                <a:gd name="connsiteY327" fmla="*/ 131569 h 2017102"/>
                <a:gd name="connsiteX328" fmla="*/ 1782079 w 4011346"/>
                <a:gd name="connsiteY328" fmla="*/ 118220 h 2017102"/>
                <a:gd name="connsiteX329" fmla="*/ 1768731 w 4011346"/>
                <a:gd name="connsiteY329" fmla="*/ 164942 h 2017102"/>
                <a:gd name="connsiteX330" fmla="*/ 1705322 w 4011346"/>
                <a:gd name="connsiteY330" fmla="*/ 188302 h 2017102"/>
                <a:gd name="connsiteX331" fmla="*/ 1685300 w 4011346"/>
                <a:gd name="connsiteY331" fmla="*/ 161604 h 2017102"/>
                <a:gd name="connsiteX332" fmla="*/ 1615218 w 4011346"/>
                <a:gd name="connsiteY332" fmla="*/ 164942 h 2017102"/>
                <a:gd name="connsiteX333" fmla="*/ 1638579 w 4011346"/>
                <a:gd name="connsiteY333" fmla="*/ 194977 h 2017102"/>
                <a:gd name="connsiteX334" fmla="*/ 1528449 w 4011346"/>
                <a:gd name="connsiteY334" fmla="*/ 221673 h 2017102"/>
                <a:gd name="connsiteX335" fmla="*/ 1465043 w 4011346"/>
                <a:gd name="connsiteY335" fmla="*/ 305104 h 2017102"/>
                <a:gd name="connsiteX336" fmla="*/ 1448357 w 4011346"/>
                <a:gd name="connsiteY336" fmla="*/ 331802 h 2017102"/>
                <a:gd name="connsiteX337" fmla="*/ 1481729 w 4011346"/>
                <a:gd name="connsiteY337" fmla="*/ 365175 h 2017102"/>
                <a:gd name="connsiteX338" fmla="*/ 1481729 w 4011346"/>
                <a:gd name="connsiteY338" fmla="*/ 395210 h 2017102"/>
                <a:gd name="connsiteX339" fmla="*/ 1458368 w 4011346"/>
                <a:gd name="connsiteY339" fmla="*/ 398547 h 2017102"/>
                <a:gd name="connsiteX340" fmla="*/ 1458368 w 4011346"/>
                <a:gd name="connsiteY340" fmla="*/ 378523 h 2017102"/>
                <a:gd name="connsiteX341" fmla="*/ 1418322 w 4011346"/>
                <a:gd name="connsiteY341" fmla="*/ 388535 h 2017102"/>
                <a:gd name="connsiteX342" fmla="*/ 1368263 w 4011346"/>
                <a:gd name="connsiteY342" fmla="*/ 395210 h 2017102"/>
                <a:gd name="connsiteX343" fmla="*/ 1321542 w 4011346"/>
                <a:gd name="connsiteY343" fmla="*/ 401884 h 2017102"/>
                <a:gd name="connsiteX344" fmla="*/ 1318205 w 4011346"/>
                <a:gd name="connsiteY344" fmla="*/ 488652 h 2017102"/>
                <a:gd name="connsiteX345" fmla="*/ 1358252 w 4011346"/>
                <a:gd name="connsiteY345" fmla="*/ 512013 h 2017102"/>
                <a:gd name="connsiteX346" fmla="*/ 1374938 w 4011346"/>
                <a:gd name="connsiteY346" fmla="*/ 542048 h 2017102"/>
                <a:gd name="connsiteX347" fmla="*/ 1384949 w 4011346"/>
                <a:gd name="connsiteY347" fmla="*/ 565408 h 2017102"/>
                <a:gd name="connsiteX348" fmla="*/ 1394961 w 4011346"/>
                <a:gd name="connsiteY348" fmla="*/ 615467 h 2017102"/>
                <a:gd name="connsiteX349" fmla="*/ 1384949 w 4011346"/>
                <a:gd name="connsiteY349" fmla="*/ 645502 h 2017102"/>
                <a:gd name="connsiteX350" fmla="*/ 1358252 w 4011346"/>
                <a:gd name="connsiteY350" fmla="*/ 612129 h 2017102"/>
                <a:gd name="connsiteX351" fmla="*/ 1361589 w 4011346"/>
                <a:gd name="connsiteY351" fmla="*/ 582094 h 2017102"/>
                <a:gd name="connsiteX352" fmla="*/ 1351577 w 4011346"/>
                <a:gd name="connsiteY352" fmla="*/ 542048 h 2017102"/>
                <a:gd name="connsiteX353" fmla="*/ 1328217 w 4011346"/>
                <a:gd name="connsiteY353" fmla="*/ 548722 h 2017102"/>
                <a:gd name="connsiteX354" fmla="*/ 1281495 w 4011346"/>
                <a:gd name="connsiteY354" fmla="*/ 512013 h 2017102"/>
                <a:gd name="connsiteX355" fmla="*/ 1241449 w 4011346"/>
                <a:gd name="connsiteY355" fmla="*/ 508675 h 2017102"/>
                <a:gd name="connsiteX356" fmla="*/ 1241449 w 4011346"/>
                <a:gd name="connsiteY356" fmla="*/ 555396 h 2017102"/>
                <a:gd name="connsiteX357" fmla="*/ 1201402 w 4011346"/>
                <a:gd name="connsiteY357" fmla="*/ 535373 h 2017102"/>
                <a:gd name="connsiteX358" fmla="*/ 1228100 w 4011346"/>
                <a:gd name="connsiteY358" fmla="*/ 585431 h 2017102"/>
                <a:gd name="connsiteX359" fmla="*/ 1258135 w 4011346"/>
                <a:gd name="connsiteY359" fmla="*/ 595443 h 2017102"/>
                <a:gd name="connsiteX360" fmla="*/ 1258135 w 4011346"/>
                <a:gd name="connsiteY360" fmla="*/ 615467 h 2017102"/>
                <a:gd name="connsiteX361" fmla="*/ 1198065 w 4011346"/>
                <a:gd name="connsiteY361" fmla="*/ 592106 h 2017102"/>
                <a:gd name="connsiteX362" fmla="*/ 1181379 w 4011346"/>
                <a:gd name="connsiteY362" fmla="*/ 592106 h 2017102"/>
                <a:gd name="connsiteX363" fmla="*/ 1178041 w 4011346"/>
                <a:gd name="connsiteY363" fmla="*/ 548722 h 2017102"/>
                <a:gd name="connsiteX364" fmla="*/ 1171367 w 4011346"/>
                <a:gd name="connsiteY364" fmla="*/ 461954 h 2017102"/>
                <a:gd name="connsiteX365" fmla="*/ 1161355 w 4011346"/>
                <a:gd name="connsiteY365" fmla="*/ 532036 h 2017102"/>
                <a:gd name="connsiteX366" fmla="*/ 1137995 w 4011346"/>
                <a:gd name="connsiteY366" fmla="*/ 562071 h 2017102"/>
                <a:gd name="connsiteX367" fmla="*/ 1158018 w 4011346"/>
                <a:gd name="connsiteY367" fmla="*/ 608792 h 2017102"/>
                <a:gd name="connsiteX368" fmla="*/ 1158018 w 4011346"/>
                <a:gd name="connsiteY368" fmla="*/ 642164 h 2017102"/>
                <a:gd name="connsiteX369" fmla="*/ 1141332 w 4011346"/>
                <a:gd name="connsiteY369" fmla="*/ 692223 h 2017102"/>
                <a:gd name="connsiteX370" fmla="*/ 1154681 w 4011346"/>
                <a:gd name="connsiteY370" fmla="*/ 725595 h 2017102"/>
                <a:gd name="connsiteX371" fmla="*/ 1184716 w 4011346"/>
                <a:gd name="connsiteY371" fmla="*/ 732269 h 2017102"/>
                <a:gd name="connsiteX372" fmla="*/ 1221425 w 4011346"/>
                <a:gd name="connsiteY372" fmla="*/ 738944 h 2017102"/>
                <a:gd name="connsiteX373" fmla="*/ 1241449 w 4011346"/>
                <a:gd name="connsiteY373" fmla="*/ 762304 h 2017102"/>
                <a:gd name="connsiteX374" fmla="*/ 1258135 w 4011346"/>
                <a:gd name="connsiteY374" fmla="*/ 805688 h 2017102"/>
                <a:gd name="connsiteX375" fmla="*/ 1258135 w 4011346"/>
                <a:gd name="connsiteY375" fmla="*/ 805688 h 2017102"/>
                <a:gd name="connsiteX376" fmla="*/ 1254798 w 4011346"/>
                <a:gd name="connsiteY376" fmla="*/ 839061 h 2017102"/>
                <a:gd name="connsiteX377" fmla="*/ 1274821 w 4011346"/>
                <a:gd name="connsiteY377" fmla="*/ 859084 h 2017102"/>
                <a:gd name="connsiteX378" fmla="*/ 1244786 w 4011346"/>
                <a:gd name="connsiteY378" fmla="*/ 865759 h 2017102"/>
                <a:gd name="connsiteX379" fmla="*/ 1224763 w 4011346"/>
                <a:gd name="connsiteY379" fmla="*/ 825712 h 2017102"/>
                <a:gd name="connsiteX380" fmla="*/ 1224763 w 4011346"/>
                <a:gd name="connsiteY380" fmla="*/ 785665 h 2017102"/>
                <a:gd name="connsiteX381" fmla="*/ 1194727 w 4011346"/>
                <a:gd name="connsiteY381" fmla="*/ 748956 h 2017102"/>
                <a:gd name="connsiteX382" fmla="*/ 1164692 w 4011346"/>
                <a:gd name="connsiteY382" fmla="*/ 792340 h 2017102"/>
                <a:gd name="connsiteX383" fmla="*/ 1178041 w 4011346"/>
                <a:gd name="connsiteY383" fmla="*/ 835723 h 2017102"/>
                <a:gd name="connsiteX384" fmla="*/ 1137995 w 4011346"/>
                <a:gd name="connsiteY384" fmla="*/ 892456 h 2017102"/>
                <a:gd name="connsiteX385" fmla="*/ 1097948 w 4011346"/>
                <a:gd name="connsiteY385" fmla="*/ 949189 h 2017102"/>
                <a:gd name="connsiteX386" fmla="*/ 1007843 w 4011346"/>
                <a:gd name="connsiteY386" fmla="*/ 912480 h 2017102"/>
                <a:gd name="connsiteX387" fmla="*/ 1074587 w 4011346"/>
                <a:gd name="connsiteY387" fmla="*/ 909142 h 2017102"/>
                <a:gd name="connsiteX388" fmla="*/ 1107960 w 4011346"/>
                <a:gd name="connsiteY388" fmla="*/ 845735 h 2017102"/>
                <a:gd name="connsiteX389" fmla="*/ 1121309 w 4011346"/>
                <a:gd name="connsiteY389" fmla="*/ 802351 h 2017102"/>
                <a:gd name="connsiteX390" fmla="*/ 1127983 w 4011346"/>
                <a:gd name="connsiteY390" fmla="*/ 768979 h 2017102"/>
                <a:gd name="connsiteX391" fmla="*/ 1117971 w 4011346"/>
                <a:gd name="connsiteY391" fmla="*/ 752293 h 2017102"/>
                <a:gd name="connsiteX392" fmla="*/ 1114634 w 4011346"/>
                <a:gd name="connsiteY392" fmla="*/ 702234 h 2017102"/>
                <a:gd name="connsiteX393" fmla="*/ 1104622 w 4011346"/>
                <a:gd name="connsiteY393" fmla="*/ 622141 h 2017102"/>
                <a:gd name="connsiteX394" fmla="*/ 1101285 w 4011346"/>
                <a:gd name="connsiteY394" fmla="*/ 562071 h 2017102"/>
                <a:gd name="connsiteX395" fmla="*/ 1124646 w 4011346"/>
                <a:gd name="connsiteY395" fmla="*/ 468629 h 2017102"/>
                <a:gd name="connsiteX396" fmla="*/ 1031203 w 4011346"/>
                <a:gd name="connsiteY396" fmla="*/ 458617 h 2017102"/>
                <a:gd name="connsiteX397" fmla="*/ 1014517 w 4011346"/>
                <a:gd name="connsiteY397" fmla="*/ 515350 h 2017102"/>
                <a:gd name="connsiteX398" fmla="*/ 1024529 w 4011346"/>
                <a:gd name="connsiteY398" fmla="*/ 562071 h 2017102"/>
                <a:gd name="connsiteX399" fmla="*/ 981145 w 4011346"/>
                <a:gd name="connsiteY399" fmla="*/ 615467 h 2017102"/>
                <a:gd name="connsiteX400" fmla="*/ 991157 w 4011346"/>
                <a:gd name="connsiteY400" fmla="*/ 652176 h 2017102"/>
                <a:gd name="connsiteX401" fmla="*/ 981145 w 4011346"/>
                <a:gd name="connsiteY401" fmla="*/ 698897 h 2017102"/>
                <a:gd name="connsiteX402" fmla="*/ 1001168 w 4011346"/>
                <a:gd name="connsiteY402" fmla="*/ 722258 h 2017102"/>
                <a:gd name="connsiteX403" fmla="*/ 1017854 w 4011346"/>
                <a:gd name="connsiteY403" fmla="*/ 768979 h 2017102"/>
                <a:gd name="connsiteX404" fmla="*/ 1047890 w 4011346"/>
                <a:gd name="connsiteY404" fmla="*/ 755630 h 2017102"/>
                <a:gd name="connsiteX405" fmla="*/ 1014517 w 4011346"/>
                <a:gd name="connsiteY405" fmla="*/ 809026 h 2017102"/>
                <a:gd name="connsiteX406" fmla="*/ 957784 w 4011346"/>
                <a:gd name="connsiteY406" fmla="*/ 755630 h 2017102"/>
                <a:gd name="connsiteX407" fmla="*/ 884365 w 4011346"/>
                <a:gd name="connsiteY407" fmla="*/ 718921 h 2017102"/>
                <a:gd name="connsiteX408" fmla="*/ 824295 w 4011346"/>
                <a:gd name="connsiteY408" fmla="*/ 695560 h 2017102"/>
                <a:gd name="connsiteX409" fmla="*/ 810946 w 4011346"/>
                <a:gd name="connsiteY409" fmla="*/ 732269 h 2017102"/>
                <a:gd name="connsiteX410" fmla="*/ 827633 w 4011346"/>
                <a:gd name="connsiteY410" fmla="*/ 768979 h 2017102"/>
                <a:gd name="connsiteX411" fmla="*/ 814284 w 4011346"/>
                <a:gd name="connsiteY411" fmla="*/ 792340 h 2017102"/>
                <a:gd name="connsiteX412" fmla="*/ 800935 w 4011346"/>
                <a:gd name="connsiteY412" fmla="*/ 809026 h 2017102"/>
                <a:gd name="connsiteX413" fmla="*/ 770900 w 4011346"/>
                <a:gd name="connsiteY413" fmla="*/ 752293 h 2017102"/>
                <a:gd name="connsiteX414" fmla="*/ 744202 w 4011346"/>
                <a:gd name="connsiteY414" fmla="*/ 789002 h 2017102"/>
                <a:gd name="connsiteX415" fmla="*/ 707492 w 4011346"/>
                <a:gd name="connsiteY415" fmla="*/ 782328 h 2017102"/>
                <a:gd name="connsiteX416" fmla="*/ 654097 w 4011346"/>
                <a:gd name="connsiteY416" fmla="*/ 819037 h 2017102"/>
                <a:gd name="connsiteX417" fmla="*/ 644085 w 4011346"/>
                <a:gd name="connsiteY417" fmla="*/ 795677 h 2017102"/>
                <a:gd name="connsiteX418" fmla="*/ 654097 w 4011346"/>
                <a:gd name="connsiteY418" fmla="*/ 758967 h 2017102"/>
                <a:gd name="connsiteX419" fmla="*/ 614050 w 4011346"/>
                <a:gd name="connsiteY419" fmla="*/ 795677 h 2017102"/>
                <a:gd name="connsiteX420" fmla="*/ 594027 w 4011346"/>
                <a:gd name="connsiteY420" fmla="*/ 795677 h 2017102"/>
                <a:gd name="connsiteX421" fmla="*/ 533957 w 4011346"/>
                <a:gd name="connsiteY421" fmla="*/ 829049 h 2017102"/>
                <a:gd name="connsiteX422" fmla="*/ 510596 w 4011346"/>
                <a:gd name="connsiteY422" fmla="*/ 852410 h 2017102"/>
                <a:gd name="connsiteX423" fmla="*/ 500584 w 4011346"/>
                <a:gd name="connsiteY423" fmla="*/ 899131 h 2017102"/>
                <a:gd name="connsiteX424" fmla="*/ 450526 w 4011346"/>
                <a:gd name="connsiteY424" fmla="*/ 885782 h 2017102"/>
                <a:gd name="connsiteX425" fmla="*/ 433840 w 4011346"/>
                <a:gd name="connsiteY425" fmla="*/ 849072 h 2017102"/>
                <a:gd name="connsiteX426" fmla="*/ 467212 w 4011346"/>
                <a:gd name="connsiteY426" fmla="*/ 819037 h 2017102"/>
                <a:gd name="connsiteX427" fmla="*/ 453863 w 4011346"/>
                <a:gd name="connsiteY427" fmla="*/ 795677 h 2017102"/>
                <a:gd name="connsiteX428" fmla="*/ 390456 w 4011346"/>
                <a:gd name="connsiteY428" fmla="*/ 765642 h 2017102"/>
                <a:gd name="connsiteX429" fmla="*/ 417154 w 4011346"/>
                <a:gd name="connsiteY429" fmla="*/ 815700 h 2017102"/>
                <a:gd name="connsiteX430" fmla="*/ 407142 w 4011346"/>
                <a:gd name="connsiteY430" fmla="*/ 859084 h 2017102"/>
                <a:gd name="connsiteX431" fmla="*/ 413817 w 4011346"/>
                <a:gd name="connsiteY431" fmla="*/ 895794 h 2017102"/>
                <a:gd name="connsiteX432" fmla="*/ 427165 w 4011346"/>
                <a:gd name="connsiteY432" fmla="*/ 919154 h 2017102"/>
                <a:gd name="connsiteX433" fmla="*/ 413817 w 4011346"/>
                <a:gd name="connsiteY433" fmla="*/ 949189 h 2017102"/>
                <a:gd name="connsiteX434" fmla="*/ 390456 w 4011346"/>
                <a:gd name="connsiteY434" fmla="*/ 925829 h 2017102"/>
                <a:gd name="connsiteX435" fmla="*/ 360421 w 4011346"/>
                <a:gd name="connsiteY435" fmla="*/ 922491 h 2017102"/>
                <a:gd name="connsiteX436" fmla="*/ 333723 w 4011346"/>
                <a:gd name="connsiteY436" fmla="*/ 962538 h 2017102"/>
                <a:gd name="connsiteX437" fmla="*/ 307025 w 4011346"/>
                <a:gd name="connsiteY437" fmla="*/ 982561 h 2017102"/>
                <a:gd name="connsiteX438" fmla="*/ 320374 w 4011346"/>
                <a:gd name="connsiteY438" fmla="*/ 1009259 h 2017102"/>
                <a:gd name="connsiteX439" fmla="*/ 303688 w 4011346"/>
                <a:gd name="connsiteY439" fmla="*/ 1032620 h 2017102"/>
                <a:gd name="connsiteX440" fmla="*/ 233606 w 4011346"/>
                <a:gd name="connsiteY440" fmla="*/ 995910 h 2017102"/>
                <a:gd name="connsiteX441" fmla="*/ 243618 w 4011346"/>
                <a:gd name="connsiteY441" fmla="*/ 1045969 h 2017102"/>
                <a:gd name="connsiteX442" fmla="*/ 263641 w 4011346"/>
                <a:gd name="connsiteY442" fmla="*/ 1065992 h 2017102"/>
                <a:gd name="connsiteX443" fmla="*/ 250292 w 4011346"/>
                <a:gd name="connsiteY443" fmla="*/ 1079341 h 2017102"/>
                <a:gd name="connsiteX444" fmla="*/ 193560 w 4011346"/>
                <a:gd name="connsiteY444" fmla="*/ 1042631 h 2017102"/>
                <a:gd name="connsiteX445" fmla="*/ 170199 w 4011346"/>
                <a:gd name="connsiteY445" fmla="*/ 1002585 h 2017102"/>
                <a:gd name="connsiteX446" fmla="*/ 170199 w 4011346"/>
                <a:gd name="connsiteY446" fmla="*/ 955864 h 2017102"/>
                <a:gd name="connsiteX447" fmla="*/ 133490 w 4011346"/>
                <a:gd name="connsiteY447" fmla="*/ 879107 h 2017102"/>
                <a:gd name="connsiteX448" fmla="*/ 196897 w 4011346"/>
                <a:gd name="connsiteY448" fmla="*/ 909142 h 2017102"/>
                <a:gd name="connsiteX449" fmla="*/ 256967 w 4011346"/>
                <a:gd name="connsiteY449" fmla="*/ 939177 h 2017102"/>
                <a:gd name="connsiteX450" fmla="*/ 293676 w 4011346"/>
                <a:gd name="connsiteY450" fmla="*/ 942515 h 2017102"/>
                <a:gd name="connsiteX451" fmla="*/ 327049 w 4011346"/>
                <a:gd name="connsiteY451" fmla="*/ 912480 h 2017102"/>
                <a:gd name="connsiteX452" fmla="*/ 343735 w 4011346"/>
                <a:gd name="connsiteY452" fmla="*/ 875770 h 2017102"/>
                <a:gd name="connsiteX453" fmla="*/ 333723 w 4011346"/>
                <a:gd name="connsiteY453" fmla="*/ 825712 h 2017102"/>
                <a:gd name="connsiteX454" fmla="*/ 290339 w 4011346"/>
                <a:gd name="connsiteY454" fmla="*/ 805688 h 2017102"/>
                <a:gd name="connsiteX455" fmla="*/ 236944 w 4011346"/>
                <a:gd name="connsiteY455" fmla="*/ 758967 h 2017102"/>
                <a:gd name="connsiteX456" fmla="*/ 133490 w 4011346"/>
                <a:gd name="connsiteY456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2092713 w 4011346"/>
                <a:gd name="connsiteY322" fmla="*/ 102662 h 2017102"/>
                <a:gd name="connsiteX323" fmla="*/ 1938408 w 4011346"/>
                <a:gd name="connsiteY323" fmla="*/ 162668 h 2017102"/>
                <a:gd name="connsiteX324" fmla="*/ 1877440 w 4011346"/>
                <a:gd name="connsiteY324" fmla="*/ 0 h 2017102"/>
                <a:gd name="connsiteX325" fmla="*/ 1835474 w 4011346"/>
                <a:gd name="connsiteY325" fmla="*/ 38128 h 2017102"/>
                <a:gd name="connsiteX326" fmla="*/ 1818788 w 4011346"/>
                <a:gd name="connsiteY326" fmla="*/ 78175 h 2017102"/>
                <a:gd name="connsiteX327" fmla="*/ 1838813 w 4011346"/>
                <a:gd name="connsiteY327" fmla="*/ 131569 h 2017102"/>
                <a:gd name="connsiteX328" fmla="*/ 1782079 w 4011346"/>
                <a:gd name="connsiteY328" fmla="*/ 118220 h 2017102"/>
                <a:gd name="connsiteX329" fmla="*/ 1768731 w 4011346"/>
                <a:gd name="connsiteY329" fmla="*/ 164942 h 2017102"/>
                <a:gd name="connsiteX330" fmla="*/ 1705322 w 4011346"/>
                <a:gd name="connsiteY330" fmla="*/ 188302 h 2017102"/>
                <a:gd name="connsiteX331" fmla="*/ 1685300 w 4011346"/>
                <a:gd name="connsiteY331" fmla="*/ 161604 h 2017102"/>
                <a:gd name="connsiteX332" fmla="*/ 1615218 w 4011346"/>
                <a:gd name="connsiteY332" fmla="*/ 164942 h 2017102"/>
                <a:gd name="connsiteX333" fmla="*/ 1638579 w 4011346"/>
                <a:gd name="connsiteY333" fmla="*/ 194977 h 2017102"/>
                <a:gd name="connsiteX334" fmla="*/ 1528449 w 4011346"/>
                <a:gd name="connsiteY334" fmla="*/ 221673 h 2017102"/>
                <a:gd name="connsiteX335" fmla="*/ 1465043 w 4011346"/>
                <a:gd name="connsiteY335" fmla="*/ 305104 h 2017102"/>
                <a:gd name="connsiteX336" fmla="*/ 1448357 w 4011346"/>
                <a:gd name="connsiteY336" fmla="*/ 331802 h 2017102"/>
                <a:gd name="connsiteX337" fmla="*/ 1481729 w 4011346"/>
                <a:gd name="connsiteY337" fmla="*/ 365175 h 2017102"/>
                <a:gd name="connsiteX338" fmla="*/ 1481729 w 4011346"/>
                <a:gd name="connsiteY338" fmla="*/ 395210 h 2017102"/>
                <a:gd name="connsiteX339" fmla="*/ 1458368 w 4011346"/>
                <a:gd name="connsiteY339" fmla="*/ 398547 h 2017102"/>
                <a:gd name="connsiteX340" fmla="*/ 1458368 w 4011346"/>
                <a:gd name="connsiteY340" fmla="*/ 378523 h 2017102"/>
                <a:gd name="connsiteX341" fmla="*/ 1418322 w 4011346"/>
                <a:gd name="connsiteY341" fmla="*/ 388535 h 2017102"/>
                <a:gd name="connsiteX342" fmla="*/ 1368263 w 4011346"/>
                <a:gd name="connsiteY342" fmla="*/ 395210 h 2017102"/>
                <a:gd name="connsiteX343" fmla="*/ 1321542 w 4011346"/>
                <a:gd name="connsiteY343" fmla="*/ 401884 h 2017102"/>
                <a:gd name="connsiteX344" fmla="*/ 1318205 w 4011346"/>
                <a:gd name="connsiteY344" fmla="*/ 488652 h 2017102"/>
                <a:gd name="connsiteX345" fmla="*/ 1358252 w 4011346"/>
                <a:gd name="connsiteY345" fmla="*/ 512013 h 2017102"/>
                <a:gd name="connsiteX346" fmla="*/ 1374938 w 4011346"/>
                <a:gd name="connsiteY346" fmla="*/ 542048 h 2017102"/>
                <a:gd name="connsiteX347" fmla="*/ 1384949 w 4011346"/>
                <a:gd name="connsiteY347" fmla="*/ 565408 h 2017102"/>
                <a:gd name="connsiteX348" fmla="*/ 1394961 w 4011346"/>
                <a:gd name="connsiteY348" fmla="*/ 615467 h 2017102"/>
                <a:gd name="connsiteX349" fmla="*/ 1384949 w 4011346"/>
                <a:gd name="connsiteY349" fmla="*/ 645502 h 2017102"/>
                <a:gd name="connsiteX350" fmla="*/ 1358252 w 4011346"/>
                <a:gd name="connsiteY350" fmla="*/ 612129 h 2017102"/>
                <a:gd name="connsiteX351" fmla="*/ 1361589 w 4011346"/>
                <a:gd name="connsiteY351" fmla="*/ 582094 h 2017102"/>
                <a:gd name="connsiteX352" fmla="*/ 1351577 w 4011346"/>
                <a:gd name="connsiteY352" fmla="*/ 542048 h 2017102"/>
                <a:gd name="connsiteX353" fmla="*/ 1328217 w 4011346"/>
                <a:gd name="connsiteY353" fmla="*/ 548722 h 2017102"/>
                <a:gd name="connsiteX354" fmla="*/ 1281495 w 4011346"/>
                <a:gd name="connsiteY354" fmla="*/ 512013 h 2017102"/>
                <a:gd name="connsiteX355" fmla="*/ 1241449 w 4011346"/>
                <a:gd name="connsiteY355" fmla="*/ 508675 h 2017102"/>
                <a:gd name="connsiteX356" fmla="*/ 1241449 w 4011346"/>
                <a:gd name="connsiteY356" fmla="*/ 555396 h 2017102"/>
                <a:gd name="connsiteX357" fmla="*/ 1201402 w 4011346"/>
                <a:gd name="connsiteY357" fmla="*/ 535373 h 2017102"/>
                <a:gd name="connsiteX358" fmla="*/ 1228100 w 4011346"/>
                <a:gd name="connsiteY358" fmla="*/ 585431 h 2017102"/>
                <a:gd name="connsiteX359" fmla="*/ 1258135 w 4011346"/>
                <a:gd name="connsiteY359" fmla="*/ 595443 h 2017102"/>
                <a:gd name="connsiteX360" fmla="*/ 1258135 w 4011346"/>
                <a:gd name="connsiteY360" fmla="*/ 615467 h 2017102"/>
                <a:gd name="connsiteX361" fmla="*/ 1198065 w 4011346"/>
                <a:gd name="connsiteY361" fmla="*/ 592106 h 2017102"/>
                <a:gd name="connsiteX362" fmla="*/ 1181379 w 4011346"/>
                <a:gd name="connsiteY362" fmla="*/ 592106 h 2017102"/>
                <a:gd name="connsiteX363" fmla="*/ 1178041 w 4011346"/>
                <a:gd name="connsiteY363" fmla="*/ 548722 h 2017102"/>
                <a:gd name="connsiteX364" fmla="*/ 1171367 w 4011346"/>
                <a:gd name="connsiteY364" fmla="*/ 461954 h 2017102"/>
                <a:gd name="connsiteX365" fmla="*/ 1161355 w 4011346"/>
                <a:gd name="connsiteY365" fmla="*/ 532036 h 2017102"/>
                <a:gd name="connsiteX366" fmla="*/ 1137995 w 4011346"/>
                <a:gd name="connsiteY366" fmla="*/ 562071 h 2017102"/>
                <a:gd name="connsiteX367" fmla="*/ 1158018 w 4011346"/>
                <a:gd name="connsiteY367" fmla="*/ 608792 h 2017102"/>
                <a:gd name="connsiteX368" fmla="*/ 1158018 w 4011346"/>
                <a:gd name="connsiteY368" fmla="*/ 642164 h 2017102"/>
                <a:gd name="connsiteX369" fmla="*/ 1141332 w 4011346"/>
                <a:gd name="connsiteY369" fmla="*/ 692223 h 2017102"/>
                <a:gd name="connsiteX370" fmla="*/ 1154681 w 4011346"/>
                <a:gd name="connsiteY370" fmla="*/ 725595 h 2017102"/>
                <a:gd name="connsiteX371" fmla="*/ 1184716 w 4011346"/>
                <a:gd name="connsiteY371" fmla="*/ 732269 h 2017102"/>
                <a:gd name="connsiteX372" fmla="*/ 1221425 w 4011346"/>
                <a:gd name="connsiteY372" fmla="*/ 738944 h 2017102"/>
                <a:gd name="connsiteX373" fmla="*/ 1241449 w 4011346"/>
                <a:gd name="connsiteY373" fmla="*/ 762304 h 2017102"/>
                <a:gd name="connsiteX374" fmla="*/ 1258135 w 4011346"/>
                <a:gd name="connsiteY374" fmla="*/ 805688 h 2017102"/>
                <a:gd name="connsiteX375" fmla="*/ 1258135 w 4011346"/>
                <a:gd name="connsiteY375" fmla="*/ 805688 h 2017102"/>
                <a:gd name="connsiteX376" fmla="*/ 1254798 w 4011346"/>
                <a:gd name="connsiteY376" fmla="*/ 839061 h 2017102"/>
                <a:gd name="connsiteX377" fmla="*/ 1274821 w 4011346"/>
                <a:gd name="connsiteY377" fmla="*/ 859084 h 2017102"/>
                <a:gd name="connsiteX378" fmla="*/ 1244786 w 4011346"/>
                <a:gd name="connsiteY378" fmla="*/ 865759 h 2017102"/>
                <a:gd name="connsiteX379" fmla="*/ 1224763 w 4011346"/>
                <a:gd name="connsiteY379" fmla="*/ 825712 h 2017102"/>
                <a:gd name="connsiteX380" fmla="*/ 1224763 w 4011346"/>
                <a:gd name="connsiteY380" fmla="*/ 785665 h 2017102"/>
                <a:gd name="connsiteX381" fmla="*/ 1194727 w 4011346"/>
                <a:gd name="connsiteY381" fmla="*/ 748956 h 2017102"/>
                <a:gd name="connsiteX382" fmla="*/ 1164692 w 4011346"/>
                <a:gd name="connsiteY382" fmla="*/ 792340 h 2017102"/>
                <a:gd name="connsiteX383" fmla="*/ 1178041 w 4011346"/>
                <a:gd name="connsiteY383" fmla="*/ 835723 h 2017102"/>
                <a:gd name="connsiteX384" fmla="*/ 1137995 w 4011346"/>
                <a:gd name="connsiteY384" fmla="*/ 892456 h 2017102"/>
                <a:gd name="connsiteX385" fmla="*/ 1097948 w 4011346"/>
                <a:gd name="connsiteY385" fmla="*/ 949189 h 2017102"/>
                <a:gd name="connsiteX386" fmla="*/ 1007843 w 4011346"/>
                <a:gd name="connsiteY386" fmla="*/ 912480 h 2017102"/>
                <a:gd name="connsiteX387" fmla="*/ 1074587 w 4011346"/>
                <a:gd name="connsiteY387" fmla="*/ 909142 h 2017102"/>
                <a:gd name="connsiteX388" fmla="*/ 1107960 w 4011346"/>
                <a:gd name="connsiteY388" fmla="*/ 845735 h 2017102"/>
                <a:gd name="connsiteX389" fmla="*/ 1121309 w 4011346"/>
                <a:gd name="connsiteY389" fmla="*/ 802351 h 2017102"/>
                <a:gd name="connsiteX390" fmla="*/ 1127983 w 4011346"/>
                <a:gd name="connsiteY390" fmla="*/ 768979 h 2017102"/>
                <a:gd name="connsiteX391" fmla="*/ 1117971 w 4011346"/>
                <a:gd name="connsiteY391" fmla="*/ 752293 h 2017102"/>
                <a:gd name="connsiteX392" fmla="*/ 1114634 w 4011346"/>
                <a:gd name="connsiteY392" fmla="*/ 702234 h 2017102"/>
                <a:gd name="connsiteX393" fmla="*/ 1104622 w 4011346"/>
                <a:gd name="connsiteY393" fmla="*/ 622141 h 2017102"/>
                <a:gd name="connsiteX394" fmla="*/ 1101285 w 4011346"/>
                <a:gd name="connsiteY394" fmla="*/ 562071 h 2017102"/>
                <a:gd name="connsiteX395" fmla="*/ 1124646 w 4011346"/>
                <a:gd name="connsiteY395" fmla="*/ 468629 h 2017102"/>
                <a:gd name="connsiteX396" fmla="*/ 1031203 w 4011346"/>
                <a:gd name="connsiteY396" fmla="*/ 458617 h 2017102"/>
                <a:gd name="connsiteX397" fmla="*/ 1014517 w 4011346"/>
                <a:gd name="connsiteY397" fmla="*/ 515350 h 2017102"/>
                <a:gd name="connsiteX398" fmla="*/ 1024529 w 4011346"/>
                <a:gd name="connsiteY398" fmla="*/ 562071 h 2017102"/>
                <a:gd name="connsiteX399" fmla="*/ 981145 w 4011346"/>
                <a:gd name="connsiteY399" fmla="*/ 615467 h 2017102"/>
                <a:gd name="connsiteX400" fmla="*/ 991157 w 4011346"/>
                <a:gd name="connsiteY400" fmla="*/ 652176 h 2017102"/>
                <a:gd name="connsiteX401" fmla="*/ 981145 w 4011346"/>
                <a:gd name="connsiteY401" fmla="*/ 698897 h 2017102"/>
                <a:gd name="connsiteX402" fmla="*/ 1001168 w 4011346"/>
                <a:gd name="connsiteY402" fmla="*/ 722258 h 2017102"/>
                <a:gd name="connsiteX403" fmla="*/ 1017854 w 4011346"/>
                <a:gd name="connsiteY403" fmla="*/ 768979 h 2017102"/>
                <a:gd name="connsiteX404" fmla="*/ 1047890 w 4011346"/>
                <a:gd name="connsiteY404" fmla="*/ 755630 h 2017102"/>
                <a:gd name="connsiteX405" fmla="*/ 1014517 w 4011346"/>
                <a:gd name="connsiteY405" fmla="*/ 809026 h 2017102"/>
                <a:gd name="connsiteX406" fmla="*/ 957784 w 4011346"/>
                <a:gd name="connsiteY406" fmla="*/ 755630 h 2017102"/>
                <a:gd name="connsiteX407" fmla="*/ 884365 w 4011346"/>
                <a:gd name="connsiteY407" fmla="*/ 718921 h 2017102"/>
                <a:gd name="connsiteX408" fmla="*/ 824295 w 4011346"/>
                <a:gd name="connsiteY408" fmla="*/ 695560 h 2017102"/>
                <a:gd name="connsiteX409" fmla="*/ 810946 w 4011346"/>
                <a:gd name="connsiteY409" fmla="*/ 732269 h 2017102"/>
                <a:gd name="connsiteX410" fmla="*/ 827633 w 4011346"/>
                <a:gd name="connsiteY410" fmla="*/ 768979 h 2017102"/>
                <a:gd name="connsiteX411" fmla="*/ 814284 w 4011346"/>
                <a:gd name="connsiteY411" fmla="*/ 792340 h 2017102"/>
                <a:gd name="connsiteX412" fmla="*/ 800935 w 4011346"/>
                <a:gd name="connsiteY412" fmla="*/ 809026 h 2017102"/>
                <a:gd name="connsiteX413" fmla="*/ 770900 w 4011346"/>
                <a:gd name="connsiteY413" fmla="*/ 752293 h 2017102"/>
                <a:gd name="connsiteX414" fmla="*/ 744202 w 4011346"/>
                <a:gd name="connsiteY414" fmla="*/ 789002 h 2017102"/>
                <a:gd name="connsiteX415" fmla="*/ 707492 w 4011346"/>
                <a:gd name="connsiteY415" fmla="*/ 782328 h 2017102"/>
                <a:gd name="connsiteX416" fmla="*/ 654097 w 4011346"/>
                <a:gd name="connsiteY416" fmla="*/ 819037 h 2017102"/>
                <a:gd name="connsiteX417" fmla="*/ 644085 w 4011346"/>
                <a:gd name="connsiteY417" fmla="*/ 795677 h 2017102"/>
                <a:gd name="connsiteX418" fmla="*/ 654097 w 4011346"/>
                <a:gd name="connsiteY418" fmla="*/ 758967 h 2017102"/>
                <a:gd name="connsiteX419" fmla="*/ 614050 w 4011346"/>
                <a:gd name="connsiteY419" fmla="*/ 795677 h 2017102"/>
                <a:gd name="connsiteX420" fmla="*/ 594027 w 4011346"/>
                <a:gd name="connsiteY420" fmla="*/ 795677 h 2017102"/>
                <a:gd name="connsiteX421" fmla="*/ 533957 w 4011346"/>
                <a:gd name="connsiteY421" fmla="*/ 829049 h 2017102"/>
                <a:gd name="connsiteX422" fmla="*/ 510596 w 4011346"/>
                <a:gd name="connsiteY422" fmla="*/ 852410 h 2017102"/>
                <a:gd name="connsiteX423" fmla="*/ 500584 w 4011346"/>
                <a:gd name="connsiteY423" fmla="*/ 899131 h 2017102"/>
                <a:gd name="connsiteX424" fmla="*/ 450526 w 4011346"/>
                <a:gd name="connsiteY424" fmla="*/ 885782 h 2017102"/>
                <a:gd name="connsiteX425" fmla="*/ 433840 w 4011346"/>
                <a:gd name="connsiteY425" fmla="*/ 849072 h 2017102"/>
                <a:gd name="connsiteX426" fmla="*/ 467212 w 4011346"/>
                <a:gd name="connsiteY426" fmla="*/ 819037 h 2017102"/>
                <a:gd name="connsiteX427" fmla="*/ 453863 w 4011346"/>
                <a:gd name="connsiteY427" fmla="*/ 795677 h 2017102"/>
                <a:gd name="connsiteX428" fmla="*/ 390456 w 4011346"/>
                <a:gd name="connsiteY428" fmla="*/ 765642 h 2017102"/>
                <a:gd name="connsiteX429" fmla="*/ 417154 w 4011346"/>
                <a:gd name="connsiteY429" fmla="*/ 815700 h 2017102"/>
                <a:gd name="connsiteX430" fmla="*/ 407142 w 4011346"/>
                <a:gd name="connsiteY430" fmla="*/ 859084 h 2017102"/>
                <a:gd name="connsiteX431" fmla="*/ 413817 w 4011346"/>
                <a:gd name="connsiteY431" fmla="*/ 895794 h 2017102"/>
                <a:gd name="connsiteX432" fmla="*/ 427165 w 4011346"/>
                <a:gd name="connsiteY432" fmla="*/ 919154 h 2017102"/>
                <a:gd name="connsiteX433" fmla="*/ 413817 w 4011346"/>
                <a:gd name="connsiteY433" fmla="*/ 949189 h 2017102"/>
                <a:gd name="connsiteX434" fmla="*/ 390456 w 4011346"/>
                <a:gd name="connsiteY434" fmla="*/ 925829 h 2017102"/>
                <a:gd name="connsiteX435" fmla="*/ 360421 w 4011346"/>
                <a:gd name="connsiteY435" fmla="*/ 922491 h 2017102"/>
                <a:gd name="connsiteX436" fmla="*/ 333723 w 4011346"/>
                <a:gd name="connsiteY436" fmla="*/ 962538 h 2017102"/>
                <a:gd name="connsiteX437" fmla="*/ 307025 w 4011346"/>
                <a:gd name="connsiteY437" fmla="*/ 982561 h 2017102"/>
                <a:gd name="connsiteX438" fmla="*/ 320374 w 4011346"/>
                <a:gd name="connsiteY438" fmla="*/ 1009259 h 2017102"/>
                <a:gd name="connsiteX439" fmla="*/ 303688 w 4011346"/>
                <a:gd name="connsiteY439" fmla="*/ 1032620 h 2017102"/>
                <a:gd name="connsiteX440" fmla="*/ 233606 w 4011346"/>
                <a:gd name="connsiteY440" fmla="*/ 995910 h 2017102"/>
                <a:gd name="connsiteX441" fmla="*/ 243618 w 4011346"/>
                <a:gd name="connsiteY441" fmla="*/ 1045969 h 2017102"/>
                <a:gd name="connsiteX442" fmla="*/ 263641 w 4011346"/>
                <a:gd name="connsiteY442" fmla="*/ 1065992 h 2017102"/>
                <a:gd name="connsiteX443" fmla="*/ 250292 w 4011346"/>
                <a:gd name="connsiteY443" fmla="*/ 1079341 h 2017102"/>
                <a:gd name="connsiteX444" fmla="*/ 193560 w 4011346"/>
                <a:gd name="connsiteY444" fmla="*/ 1042631 h 2017102"/>
                <a:gd name="connsiteX445" fmla="*/ 170199 w 4011346"/>
                <a:gd name="connsiteY445" fmla="*/ 1002585 h 2017102"/>
                <a:gd name="connsiteX446" fmla="*/ 170199 w 4011346"/>
                <a:gd name="connsiteY446" fmla="*/ 955864 h 2017102"/>
                <a:gd name="connsiteX447" fmla="*/ 133490 w 4011346"/>
                <a:gd name="connsiteY447" fmla="*/ 879107 h 2017102"/>
                <a:gd name="connsiteX448" fmla="*/ 196897 w 4011346"/>
                <a:gd name="connsiteY448" fmla="*/ 909142 h 2017102"/>
                <a:gd name="connsiteX449" fmla="*/ 256967 w 4011346"/>
                <a:gd name="connsiteY449" fmla="*/ 939177 h 2017102"/>
                <a:gd name="connsiteX450" fmla="*/ 293676 w 4011346"/>
                <a:gd name="connsiteY450" fmla="*/ 942515 h 2017102"/>
                <a:gd name="connsiteX451" fmla="*/ 327049 w 4011346"/>
                <a:gd name="connsiteY451" fmla="*/ 912480 h 2017102"/>
                <a:gd name="connsiteX452" fmla="*/ 343735 w 4011346"/>
                <a:gd name="connsiteY452" fmla="*/ 875770 h 2017102"/>
                <a:gd name="connsiteX453" fmla="*/ 333723 w 4011346"/>
                <a:gd name="connsiteY453" fmla="*/ 825712 h 2017102"/>
                <a:gd name="connsiteX454" fmla="*/ 290339 w 4011346"/>
                <a:gd name="connsiteY454" fmla="*/ 805688 h 2017102"/>
                <a:gd name="connsiteX455" fmla="*/ 236944 w 4011346"/>
                <a:gd name="connsiteY455" fmla="*/ 758967 h 2017102"/>
                <a:gd name="connsiteX456" fmla="*/ 133490 w 4011346"/>
                <a:gd name="connsiteY456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2092713 w 4011346"/>
                <a:gd name="connsiteY322" fmla="*/ 102662 h 2017102"/>
                <a:gd name="connsiteX323" fmla="*/ 1952696 w 4011346"/>
                <a:gd name="connsiteY323" fmla="*/ 134093 h 2017102"/>
                <a:gd name="connsiteX324" fmla="*/ 1877440 w 4011346"/>
                <a:gd name="connsiteY324" fmla="*/ 0 h 2017102"/>
                <a:gd name="connsiteX325" fmla="*/ 1835474 w 4011346"/>
                <a:gd name="connsiteY325" fmla="*/ 38128 h 2017102"/>
                <a:gd name="connsiteX326" fmla="*/ 1818788 w 4011346"/>
                <a:gd name="connsiteY326" fmla="*/ 78175 h 2017102"/>
                <a:gd name="connsiteX327" fmla="*/ 1838813 w 4011346"/>
                <a:gd name="connsiteY327" fmla="*/ 131569 h 2017102"/>
                <a:gd name="connsiteX328" fmla="*/ 1782079 w 4011346"/>
                <a:gd name="connsiteY328" fmla="*/ 118220 h 2017102"/>
                <a:gd name="connsiteX329" fmla="*/ 1768731 w 4011346"/>
                <a:gd name="connsiteY329" fmla="*/ 164942 h 2017102"/>
                <a:gd name="connsiteX330" fmla="*/ 1705322 w 4011346"/>
                <a:gd name="connsiteY330" fmla="*/ 188302 h 2017102"/>
                <a:gd name="connsiteX331" fmla="*/ 1685300 w 4011346"/>
                <a:gd name="connsiteY331" fmla="*/ 161604 h 2017102"/>
                <a:gd name="connsiteX332" fmla="*/ 1615218 w 4011346"/>
                <a:gd name="connsiteY332" fmla="*/ 164942 h 2017102"/>
                <a:gd name="connsiteX333" fmla="*/ 1638579 w 4011346"/>
                <a:gd name="connsiteY333" fmla="*/ 194977 h 2017102"/>
                <a:gd name="connsiteX334" fmla="*/ 1528449 w 4011346"/>
                <a:gd name="connsiteY334" fmla="*/ 221673 h 2017102"/>
                <a:gd name="connsiteX335" fmla="*/ 1465043 w 4011346"/>
                <a:gd name="connsiteY335" fmla="*/ 305104 h 2017102"/>
                <a:gd name="connsiteX336" fmla="*/ 1448357 w 4011346"/>
                <a:gd name="connsiteY336" fmla="*/ 331802 h 2017102"/>
                <a:gd name="connsiteX337" fmla="*/ 1481729 w 4011346"/>
                <a:gd name="connsiteY337" fmla="*/ 365175 h 2017102"/>
                <a:gd name="connsiteX338" fmla="*/ 1481729 w 4011346"/>
                <a:gd name="connsiteY338" fmla="*/ 395210 h 2017102"/>
                <a:gd name="connsiteX339" fmla="*/ 1458368 w 4011346"/>
                <a:gd name="connsiteY339" fmla="*/ 398547 h 2017102"/>
                <a:gd name="connsiteX340" fmla="*/ 1458368 w 4011346"/>
                <a:gd name="connsiteY340" fmla="*/ 378523 h 2017102"/>
                <a:gd name="connsiteX341" fmla="*/ 1418322 w 4011346"/>
                <a:gd name="connsiteY341" fmla="*/ 388535 h 2017102"/>
                <a:gd name="connsiteX342" fmla="*/ 1368263 w 4011346"/>
                <a:gd name="connsiteY342" fmla="*/ 395210 h 2017102"/>
                <a:gd name="connsiteX343" fmla="*/ 1321542 w 4011346"/>
                <a:gd name="connsiteY343" fmla="*/ 401884 h 2017102"/>
                <a:gd name="connsiteX344" fmla="*/ 1318205 w 4011346"/>
                <a:gd name="connsiteY344" fmla="*/ 488652 h 2017102"/>
                <a:gd name="connsiteX345" fmla="*/ 1358252 w 4011346"/>
                <a:gd name="connsiteY345" fmla="*/ 512013 h 2017102"/>
                <a:gd name="connsiteX346" fmla="*/ 1374938 w 4011346"/>
                <a:gd name="connsiteY346" fmla="*/ 542048 h 2017102"/>
                <a:gd name="connsiteX347" fmla="*/ 1384949 w 4011346"/>
                <a:gd name="connsiteY347" fmla="*/ 565408 h 2017102"/>
                <a:gd name="connsiteX348" fmla="*/ 1394961 w 4011346"/>
                <a:gd name="connsiteY348" fmla="*/ 615467 h 2017102"/>
                <a:gd name="connsiteX349" fmla="*/ 1384949 w 4011346"/>
                <a:gd name="connsiteY349" fmla="*/ 645502 h 2017102"/>
                <a:gd name="connsiteX350" fmla="*/ 1358252 w 4011346"/>
                <a:gd name="connsiteY350" fmla="*/ 612129 h 2017102"/>
                <a:gd name="connsiteX351" fmla="*/ 1361589 w 4011346"/>
                <a:gd name="connsiteY351" fmla="*/ 582094 h 2017102"/>
                <a:gd name="connsiteX352" fmla="*/ 1351577 w 4011346"/>
                <a:gd name="connsiteY352" fmla="*/ 542048 h 2017102"/>
                <a:gd name="connsiteX353" fmla="*/ 1328217 w 4011346"/>
                <a:gd name="connsiteY353" fmla="*/ 548722 h 2017102"/>
                <a:gd name="connsiteX354" fmla="*/ 1281495 w 4011346"/>
                <a:gd name="connsiteY354" fmla="*/ 512013 h 2017102"/>
                <a:gd name="connsiteX355" fmla="*/ 1241449 w 4011346"/>
                <a:gd name="connsiteY355" fmla="*/ 508675 h 2017102"/>
                <a:gd name="connsiteX356" fmla="*/ 1241449 w 4011346"/>
                <a:gd name="connsiteY356" fmla="*/ 555396 h 2017102"/>
                <a:gd name="connsiteX357" fmla="*/ 1201402 w 4011346"/>
                <a:gd name="connsiteY357" fmla="*/ 535373 h 2017102"/>
                <a:gd name="connsiteX358" fmla="*/ 1228100 w 4011346"/>
                <a:gd name="connsiteY358" fmla="*/ 585431 h 2017102"/>
                <a:gd name="connsiteX359" fmla="*/ 1258135 w 4011346"/>
                <a:gd name="connsiteY359" fmla="*/ 595443 h 2017102"/>
                <a:gd name="connsiteX360" fmla="*/ 1258135 w 4011346"/>
                <a:gd name="connsiteY360" fmla="*/ 615467 h 2017102"/>
                <a:gd name="connsiteX361" fmla="*/ 1198065 w 4011346"/>
                <a:gd name="connsiteY361" fmla="*/ 592106 h 2017102"/>
                <a:gd name="connsiteX362" fmla="*/ 1181379 w 4011346"/>
                <a:gd name="connsiteY362" fmla="*/ 592106 h 2017102"/>
                <a:gd name="connsiteX363" fmla="*/ 1178041 w 4011346"/>
                <a:gd name="connsiteY363" fmla="*/ 548722 h 2017102"/>
                <a:gd name="connsiteX364" fmla="*/ 1171367 w 4011346"/>
                <a:gd name="connsiteY364" fmla="*/ 461954 h 2017102"/>
                <a:gd name="connsiteX365" fmla="*/ 1161355 w 4011346"/>
                <a:gd name="connsiteY365" fmla="*/ 532036 h 2017102"/>
                <a:gd name="connsiteX366" fmla="*/ 1137995 w 4011346"/>
                <a:gd name="connsiteY366" fmla="*/ 562071 h 2017102"/>
                <a:gd name="connsiteX367" fmla="*/ 1158018 w 4011346"/>
                <a:gd name="connsiteY367" fmla="*/ 608792 h 2017102"/>
                <a:gd name="connsiteX368" fmla="*/ 1158018 w 4011346"/>
                <a:gd name="connsiteY368" fmla="*/ 642164 h 2017102"/>
                <a:gd name="connsiteX369" fmla="*/ 1141332 w 4011346"/>
                <a:gd name="connsiteY369" fmla="*/ 692223 h 2017102"/>
                <a:gd name="connsiteX370" fmla="*/ 1154681 w 4011346"/>
                <a:gd name="connsiteY370" fmla="*/ 725595 h 2017102"/>
                <a:gd name="connsiteX371" fmla="*/ 1184716 w 4011346"/>
                <a:gd name="connsiteY371" fmla="*/ 732269 h 2017102"/>
                <a:gd name="connsiteX372" fmla="*/ 1221425 w 4011346"/>
                <a:gd name="connsiteY372" fmla="*/ 738944 h 2017102"/>
                <a:gd name="connsiteX373" fmla="*/ 1241449 w 4011346"/>
                <a:gd name="connsiteY373" fmla="*/ 762304 h 2017102"/>
                <a:gd name="connsiteX374" fmla="*/ 1258135 w 4011346"/>
                <a:gd name="connsiteY374" fmla="*/ 805688 h 2017102"/>
                <a:gd name="connsiteX375" fmla="*/ 1258135 w 4011346"/>
                <a:gd name="connsiteY375" fmla="*/ 805688 h 2017102"/>
                <a:gd name="connsiteX376" fmla="*/ 1254798 w 4011346"/>
                <a:gd name="connsiteY376" fmla="*/ 839061 h 2017102"/>
                <a:gd name="connsiteX377" fmla="*/ 1274821 w 4011346"/>
                <a:gd name="connsiteY377" fmla="*/ 859084 h 2017102"/>
                <a:gd name="connsiteX378" fmla="*/ 1244786 w 4011346"/>
                <a:gd name="connsiteY378" fmla="*/ 865759 h 2017102"/>
                <a:gd name="connsiteX379" fmla="*/ 1224763 w 4011346"/>
                <a:gd name="connsiteY379" fmla="*/ 825712 h 2017102"/>
                <a:gd name="connsiteX380" fmla="*/ 1224763 w 4011346"/>
                <a:gd name="connsiteY380" fmla="*/ 785665 h 2017102"/>
                <a:gd name="connsiteX381" fmla="*/ 1194727 w 4011346"/>
                <a:gd name="connsiteY381" fmla="*/ 748956 h 2017102"/>
                <a:gd name="connsiteX382" fmla="*/ 1164692 w 4011346"/>
                <a:gd name="connsiteY382" fmla="*/ 792340 h 2017102"/>
                <a:gd name="connsiteX383" fmla="*/ 1178041 w 4011346"/>
                <a:gd name="connsiteY383" fmla="*/ 835723 h 2017102"/>
                <a:gd name="connsiteX384" fmla="*/ 1137995 w 4011346"/>
                <a:gd name="connsiteY384" fmla="*/ 892456 h 2017102"/>
                <a:gd name="connsiteX385" fmla="*/ 1097948 w 4011346"/>
                <a:gd name="connsiteY385" fmla="*/ 949189 h 2017102"/>
                <a:gd name="connsiteX386" fmla="*/ 1007843 w 4011346"/>
                <a:gd name="connsiteY386" fmla="*/ 912480 h 2017102"/>
                <a:gd name="connsiteX387" fmla="*/ 1074587 w 4011346"/>
                <a:gd name="connsiteY387" fmla="*/ 909142 h 2017102"/>
                <a:gd name="connsiteX388" fmla="*/ 1107960 w 4011346"/>
                <a:gd name="connsiteY388" fmla="*/ 845735 h 2017102"/>
                <a:gd name="connsiteX389" fmla="*/ 1121309 w 4011346"/>
                <a:gd name="connsiteY389" fmla="*/ 802351 h 2017102"/>
                <a:gd name="connsiteX390" fmla="*/ 1127983 w 4011346"/>
                <a:gd name="connsiteY390" fmla="*/ 768979 h 2017102"/>
                <a:gd name="connsiteX391" fmla="*/ 1117971 w 4011346"/>
                <a:gd name="connsiteY391" fmla="*/ 752293 h 2017102"/>
                <a:gd name="connsiteX392" fmla="*/ 1114634 w 4011346"/>
                <a:gd name="connsiteY392" fmla="*/ 702234 h 2017102"/>
                <a:gd name="connsiteX393" fmla="*/ 1104622 w 4011346"/>
                <a:gd name="connsiteY393" fmla="*/ 622141 h 2017102"/>
                <a:gd name="connsiteX394" fmla="*/ 1101285 w 4011346"/>
                <a:gd name="connsiteY394" fmla="*/ 562071 h 2017102"/>
                <a:gd name="connsiteX395" fmla="*/ 1124646 w 4011346"/>
                <a:gd name="connsiteY395" fmla="*/ 468629 h 2017102"/>
                <a:gd name="connsiteX396" fmla="*/ 1031203 w 4011346"/>
                <a:gd name="connsiteY396" fmla="*/ 458617 h 2017102"/>
                <a:gd name="connsiteX397" fmla="*/ 1014517 w 4011346"/>
                <a:gd name="connsiteY397" fmla="*/ 515350 h 2017102"/>
                <a:gd name="connsiteX398" fmla="*/ 1024529 w 4011346"/>
                <a:gd name="connsiteY398" fmla="*/ 562071 h 2017102"/>
                <a:gd name="connsiteX399" fmla="*/ 981145 w 4011346"/>
                <a:gd name="connsiteY399" fmla="*/ 615467 h 2017102"/>
                <a:gd name="connsiteX400" fmla="*/ 991157 w 4011346"/>
                <a:gd name="connsiteY400" fmla="*/ 652176 h 2017102"/>
                <a:gd name="connsiteX401" fmla="*/ 981145 w 4011346"/>
                <a:gd name="connsiteY401" fmla="*/ 698897 h 2017102"/>
                <a:gd name="connsiteX402" fmla="*/ 1001168 w 4011346"/>
                <a:gd name="connsiteY402" fmla="*/ 722258 h 2017102"/>
                <a:gd name="connsiteX403" fmla="*/ 1017854 w 4011346"/>
                <a:gd name="connsiteY403" fmla="*/ 768979 h 2017102"/>
                <a:gd name="connsiteX404" fmla="*/ 1047890 w 4011346"/>
                <a:gd name="connsiteY404" fmla="*/ 755630 h 2017102"/>
                <a:gd name="connsiteX405" fmla="*/ 1014517 w 4011346"/>
                <a:gd name="connsiteY405" fmla="*/ 809026 h 2017102"/>
                <a:gd name="connsiteX406" fmla="*/ 957784 w 4011346"/>
                <a:gd name="connsiteY406" fmla="*/ 755630 h 2017102"/>
                <a:gd name="connsiteX407" fmla="*/ 884365 w 4011346"/>
                <a:gd name="connsiteY407" fmla="*/ 718921 h 2017102"/>
                <a:gd name="connsiteX408" fmla="*/ 824295 w 4011346"/>
                <a:gd name="connsiteY408" fmla="*/ 695560 h 2017102"/>
                <a:gd name="connsiteX409" fmla="*/ 810946 w 4011346"/>
                <a:gd name="connsiteY409" fmla="*/ 732269 h 2017102"/>
                <a:gd name="connsiteX410" fmla="*/ 827633 w 4011346"/>
                <a:gd name="connsiteY410" fmla="*/ 768979 h 2017102"/>
                <a:gd name="connsiteX411" fmla="*/ 814284 w 4011346"/>
                <a:gd name="connsiteY411" fmla="*/ 792340 h 2017102"/>
                <a:gd name="connsiteX412" fmla="*/ 800935 w 4011346"/>
                <a:gd name="connsiteY412" fmla="*/ 809026 h 2017102"/>
                <a:gd name="connsiteX413" fmla="*/ 770900 w 4011346"/>
                <a:gd name="connsiteY413" fmla="*/ 752293 h 2017102"/>
                <a:gd name="connsiteX414" fmla="*/ 744202 w 4011346"/>
                <a:gd name="connsiteY414" fmla="*/ 789002 h 2017102"/>
                <a:gd name="connsiteX415" fmla="*/ 707492 w 4011346"/>
                <a:gd name="connsiteY415" fmla="*/ 782328 h 2017102"/>
                <a:gd name="connsiteX416" fmla="*/ 654097 w 4011346"/>
                <a:gd name="connsiteY416" fmla="*/ 819037 h 2017102"/>
                <a:gd name="connsiteX417" fmla="*/ 644085 w 4011346"/>
                <a:gd name="connsiteY417" fmla="*/ 795677 h 2017102"/>
                <a:gd name="connsiteX418" fmla="*/ 654097 w 4011346"/>
                <a:gd name="connsiteY418" fmla="*/ 758967 h 2017102"/>
                <a:gd name="connsiteX419" fmla="*/ 614050 w 4011346"/>
                <a:gd name="connsiteY419" fmla="*/ 795677 h 2017102"/>
                <a:gd name="connsiteX420" fmla="*/ 594027 w 4011346"/>
                <a:gd name="connsiteY420" fmla="*/ 795677 h 2017102"/>
                <a:gd name="connsiteX421" fmla="*/ 533957 w 4011346"/>
                <a:gd name="connsiteY421" fmla="*/ 829049 h 2017102"/>
                <a:gd name="connsiteX422" fmla="*/ 510596 w 4011346"/>
                <a:gd name="connsiteY422" fmla="*/ 852410 h 2017102"/>
                <a:gd name="connsiteX423" fmla="*/ 500584 w 4011346"/>
                <a:gd name="connsiteY423" fmla="*/ 899131 h 2017102"/>
                <a:gd name="connsiteX424" fmla="*/ 450526 w 4011346"/>
                <a:gd name="connsiteY424" fmla="*/ 885782 h 2017102"/>
                <a:gd name="connsiteX425" fmla="*/ 433840 w 4011346"/>
                <a:gd name="connsiteY425" fmla="*/ 849072 h 2017102"/>
                <a:gd name="connsiteX426" fmla="*/ 467212 w 4011346"/>
                <a:gd name="connsiteY426" fmla="*/ 819037 h 2017102"/>
                <a:gd name="connsiteX427" fmla="*/ 453863 w 4011346"/>
                <a:gd name="connsiteY427" fmla="*/ 795677 h 2017102"/>
                <a:gd name="connsiteX428" fmla="*/ 390456 w 4011346"/>
                <a:gd name="connsiteY428" fmla="*/ 765642 h 2017102"/>
                <a:gd name="connsiteX429" fmla="*/ 417154 w 4011346"/>
                <a:gd name="connsiteY429" fmla="*/ 815700 h 2017102"/>
                <a:gd name="connsiteX430" fmla="*/ 407142 w 4011346"/>
                <a:gd name="connsiteY430" fmla="*/ 859084 h 2017102"/>
                <a:gd name="connsiteX431" fmla="*/ 413817 w 4011346"/>
                <a:gd name="connsiteY431" fmla="*/ 895794 h 2017102"/>
                <a:gd name="connsiteX432" fmla="*/ 427165 w 4011346"/>
                <a:gd name="connsiteY432" fmla="*/ 919154 h 2017102"/>
                <a:gd name="connsiteX433" fmla="*/ 413817 w 4011346"/>
                <a:gd name="connsiteY433" fmla="*/ 949189 h 2017102"/>
                <a:gd name="connsiteX434" fmla="*/ 390456 w 4011346"/>
                <a:gd name="connsiteY434" fmla="*/ 925829 h 2017102"/>
                <a:gd name="connsiteX435" fmla="*/ 360421 w 4011346"/>
                <a:gd name="connsiteY435" fmla="*/ 922491 h 2017102"/>
                <a:gd name="connsiteX436" fmla="*/ 333723 w 4011346"/>
                <a:gd name="connsiteY436" fmla="*/ 962538 h 2017102"/>
                <a:gd name="connsiteX437" fmla="*/ 307025 w 4011346"/>
                <a:gd name="connsiteY437" fmla="*/ 982561 h 2017102"/>
                <a:gd name="connsiteX438" fmla="*/ 320374 w 4011346"/>
                <a:gd name="connsiteY438" fmla="*/ 1009259 h 2017102"/>
                <a:gd name="connsiteX439" fmla="*/ 303688 w 4011346"/>
                <a:gd name="connsiteY439" fmla="*/ 1032620 h 2017102"/>
                <a:gd name="connsiteX440" fmla="*/ 233606 w 4011346"/>
                <a:gd name="connsiteY440" fmla="*/ 995910 h 2017102"/>
                <a:gd name="connsiteX441" fmla="*/ 243618 w 4011346"/>
                <a:gd name="connsiteY441" fmla="*/ 1045969 h 2017102"/>
                <a:gd name="connsiteX442" fmla="*/ 263641 w 4011346"/>
                <a:gd name="connsiteY442" fmla="*/ 1065992 h 2017102"/>
                <a:gd name="connsiteX443" fmla="*/ 250292 w 4011346"/>
                <a:gd name="connsiteY443" fmla="*/ 1079341 h 2017102"/>
                <a:gd name="connsiteX444" fmla="*/ 193560 w 4011346"/>
                <a:gd name="connsiteY444" fmla="*/ 1042631 h 2017102"/>
                <a:gd name="connsiteX445" fmla="*/ 170199 w 4011346"/>
                <a:gd name="connsiteY445" fmla="*/ 1002585 h 2017102"/>
                <a:gd name="connsiteX446" fmla="*/ 170199 w 4011346"/>
                <a:gd name="connsiteY446" fmla="*/ 955864 h 2017102"/>
                <a:gd name="connsiteX447" fmla="*/ 133490 w 4011346"/>
                <a:gd name="connsiteY447" fmla="*/ 879107 h 2017102"/>
                <a:gd name="connsiteX448" fmla="*/ 196897 w 4011346"/>
                <a:gd name="connsiteY448" fmla="*/ 909142 h 2017102"/>
                <a:gd name="connsiteX449" fmla="*/ 256967 w 4011346"/>
                <a:gd name="connsiteY449" fmla="*/ 939177 h 2017102"/>
                <a:gd name="connsiteX450" fmla="*/ 293676 w 4011346"/>
                <a:gd name="connsiteY450" fmla="*/ 942515 h 2017102"/>
                <a:gd name="connsiteX451" fmla="*/ 327049 w 4011346"/>
                <a:gd name="connsiteY451" fmla="*/ 912480 h 2017102"/>
                <a:gd name="connsiteX452" fmla="*/ 343735 w 4011346"/>
                <a:gd name="connsiteY452" fmla="*/ 875770 h 2017102"/>
                <a:gd name="connsiteX453" fmla="*/ 333723 w 4011346"/>
                <a:gd name="connsiteY453" fmla="*/ 825712 h 2017102"/>
                <a:gd name="connsiteX454" fmla="*/ 290339 w 4011346"/>
                <a:gd name="connsiteY454" fmla="*/ 805688 h 2017102"/>
                <a:gd name="connsiteX455" fmla="*/ 236944 w 4011346"/>
                <a:gd name="connsiteY455" fmla="*/ 758967 h 2017102"/>
                <a:gd name="connsiteX456" fmla="*/ 133490 w 4011346"/>
                <a:gd name="connsiteY456" fmla="*/ 702234 h 2017102"/>
                <a:gd name="connsiteX0" fmla="*/ 133490 w 4011346"/>
                <a:gd name="connsiteY0" fmla="*/ 702234 h 2017102"/>
                <a:gd name="connsiteX1" fmla="*/ 46722 w 4011346"/>
                <a:gd name="connsiteY1" fmla="*/ 732269 h 2017102"/>
                <a:gd name="connsiteX2" fmla="*/ 33373 w 4011346"/>
                <a:gd name="connsiteY2" fmla="*/ 762304 h 2017102"/>
                <a:gd name="connsiteX3" fmla="*/ 43384 w 4011346"/>
                <a:gd name="connsiteY3" fmla="*/ 792340 h 2017102"/>
                <a:gd name="connsiteX4" fmla="*/ 60071 w 4011346"/>
                <a:gd name="connsiteY4" fmla="*/ 819037 h 2017102"/>
                <a:gd name="connsiteX5" fmla="*/ 73419 w 4011346"/>
                <a:gd name="connsiteY5" fmla="*/ 849072 h 2017102"/>
                <a:gd name="connsiteX6" fmla="*/ 56733 w 4011346"/>
                <a:gd name="connsiteY6" fmla="*/ 872433 h 2017102"/>
                <a:gd name="connsiteX7" fmla="*/ 76757 w 4011346"/>
                <a:gd name="connsiteY7" fmla="*/ 952526 h 2017102"/>
                <a:gd name="connsiteX8" fmla="*/ 66745 w 4011346"/>
                <a:gd name="connsiteY8" fmla="*/ 969213 h 2017102"/>
                <a:gd name="connsiteX9" fmla="*/ 70082 w 4011346"/>
                <a:gd name="connsiteY9" fmla="*/ 995910 h 2017102"/>
                <a:gd name="connsiteX10" fmla="*/ 70082 w 4011346"/>
                <a:gd name="connsiteY10" fmla="*/ 1035957 h 2017102"/>
                <a:gd name="connsiteX11" fmla="*/ 80094 w 4011346"/>
                <a:gd name="connsiteY11" fmla="*/ 1055980 h 2017102"/>
                <a:gd name="connsiteX12" fmla="*/ 76757 w 4011346"/>
                <a:gd name="connsiteY12" fmla="*/ 1079341 h 2017102"/>
                <a:gd name="connsiteX13" fmla="*/ 106792 w 4011346"/>
                <a:gd name="connsiteY13" fmla="*/ 1112713 h 2017102"/>
                <a:gd name="connsiteX14" fmla="*/ 106792 w 4011346"/>
                <a:gd name="connsiteY14" fmla="*/ 1142748 h 2017102"/>
                <a:gd name="connsiteX15" fmla="*/ 13349 w 4011346"/>
                <a:gd name="connsiteY15" fmla="*/ 1232853 h 2017102"/>
                <a:gd name="connsiteX16" fmla="*/ 33373 w 4011346"/>
                <a:gd name="connsiteY16" fmla="*/ 1266226 h 2017102"/>
                <a:gd name="connsiteX17" fmla="*/ 33373 w 4011346"/>
                <a:gd name="connsiteY17" fmla="*/ 1266226 h 2017102"/>
                <a:gd name="connsiteX18" fmla="*/ 16687 w 4011346"/>
                <a:gd name="connsiteY18" fmla="*/ 1296261 h 2017102"/>
                <a:gd name="connsiteX19" fmla="*/ 3338 w 4011346"/>
                <a:gd name="connsiteY19" fmla="*/ 1326296 h 2017102"/>
                <a:gd name="connsiteX20" fmla="*/ 0 w 4011346"/>
                <a:gd name="connsiteY20" fmla="*/ 1386366 h 2017102"/>
                <a:gd name="connsiteX21" fmla="*/ 16687 w 4011346"/>
                <a:gd name="connsiteY21" fmla="*/ 1429750 h 2017102"/>
                <a:gd name="connsiteX22" fmla="*/ 20024 w 4011346"/>
                <a:gd name="connsiteY22" fmla="*/ 1463122 h 2017102"/>
                <a:gd name="connsiteX23" fmla="*/ 56733 w 4011346"/>
                <a:gd name="connsiteY23" fmla="*/ 1473134 h 2017102"/>
                <a:gd name="connsiteX24" fmla="*/ 116803 w 4011346"/>
                <a:gd name="connsiteY24" fmla="*/ 1559902 h 2017102"/>
                <a:gd name="connsiteX25" fmla="*/ 96780 w 4011346"/>
                <a:gd name="connsiteY25" fmla="*/ 1583262 h 2017102"/>
                <a:gd name="connsiteX26" fmla="*/ 93443 w 4011346"/>
                <a:gd name="connsiteY26" fmla="*/ 1613297 h 2017102"/>
                <a:gd name="connsiteX27" fmla="*/ 120141 w 4011346"/>
                <a:gd name="connsiteY27" fmla="*/ 1616634 h 2017102"/>
                <a:gd name="connsiteX28" fmla="*/ 160187 w 4011346"/>
                <a:gd name="connsiteY28" fmla="*/ 1629983 h 2017102"/>
                <a:gd name="connsiteX29" fmla="*/ 186885 w 4011346"/>
                <a:gd name="connsiteY29" fmla="*/ 1643332 h 2017102"/>
                <a:gd name="connsiteX30" fmla="*/ 213583 w 4011346"/>
                <a:gd name="connsiteY30" fmla="*/ 1673367 h 2017102"/>
                <a:gd name="connsiteX31" fmla="*/ 243618 w 4011346"/>
                <a:gd name="connsiteY31" fmla="*/ 1676704 h 2017102"/>
                <a:gd name="connsiteX32" fmla="*/ 287002 w 4011346"/>
                <a:gd name="connsiteY32" fmla="*/ 1706740 h 2017102"/>
                <a:gd name="connsiteX33" fmla="*/ 310363 w 4011346"/>
                <a:gd name="connsiteY33" fmla="*/ 1716751 h 2017102"/>
                <a:gd name="connsiteX34" fmla="*/ 310363 w 4011346"/>
                <a:gd name="connsiteY34" fmla="*/ 1753461 h 2017102"/>
                <a:gd name="connsiteX35" fmla="*/ 270316 w 4011346"/>
                <a:gd name="connsiteY35" fmla="*/ 1793507 h 2017102"/>
                <a:gd name="connsiteX36" fmla="*/ 280327 w 4011346"/>
                <a:gd name="connsiteY36" fmla="*/ 1816868 h 2017102"/>
                <a:gd name="connsiteX37" fmla="*/ 273653 w 4011346"/>
                <a:gd name="connsiteY37" fmla="*/ 1836891 h 2017102"/>
                <a:gd name="connsiteX38" fmla="*/ 266979 w 4011346"/>
                <a:gd name="connsiteY38" fmla="*/ 1853577 h 2017102"/>
                <a:gd name="connsiteX39" fmla="*/ 240281 w 4011346"/>
                <a:gd name="connsiteY39" fmla="*/ 1893624 h 2017102"/>
                <a:gd name="connsiteX40" fmla="*/ 307025 w 4011346"/>
                <a:gd name="connsiteY40" fmla="*/ 1930334 h 2017102"/>
                <a:gd name="connsiteX41" fmla="*/ 337060 w 4011346"/>
                <a:gd name="connsiteY41" fmla="*/ 1937008 h 2017102"/>
                <a:gd name="connsiteX42" fmla="*/ 360421 w 4011346"/>
                <a:gd name="connsiteY42" fmla="*/ 1943683 h 2017102"/>
                <a:gd name="connsiteX43" fmla="*/ 380444 w 4011346"/>
                <a:gd name="connsiteY43" fmla="*/ 1950357 h 2017102"/>
                <a:gd name="connsiteX44" fmla="*/ 407142 w 4011346"/>
                <a:gd name="connsiteY44" fmla="*/ 1970380 h 2017102"/>
                <a:gd name="connsiteX45" fmla="*/ 437177 w 4011346"/>
                <a:gd name="connsiteY45" fmla="*/ 1967043 h 2017102"/>
                <a:gd name="connsiteX46" fmla="*/ 507259 w 4011346"/>
                <a:gd name="connsiteY46" fmla="*/ 2017102 h 2017102"/>
                <a:gd name="connsiteX47" fmla="*/ 517271 w 4011346"/>
                <a:gd name="connsiteY47" fmla="*/ 2003753 h 2017102"/>
                <a:gd name="connsiteX48" fmla="*/ 507259 w 4011346"/>
                <a:gd name="connsiteY48" fmla="*/ 1963706 h 2017102"/>
                <a:gd name="connsiteX49" fmla="*/ 500584 w 4011346"/>
                <a:gd name="connsiteY49" fmla="*/ 1930334 h 2017102"/>
                <a:gd name="connsiteX50" fmla="*/ 483898 w 4011346"/>
                <a:gd name="connsiteY50" fmla="*/ 1886950 h 2017102"/>
                <a:gd name="connsiteX51" fmla="*/ 513933 w 4011346"/>
                <a:gd name="connsiteY51" fmla="*/ 1866926 h 2017102"/>
                <a:gd name="connsiteX52" fmla="*/ 547306 w 4011346"/>
                <a:gd name="connsiteY52" fmla="*/ 1843566 h 2017102"/>
                <a:gd name="connsiteX53" fmla="*/ 527282 w 4011346"/>
                <a:gd name="connsiteY53" fmla="*/ 1826880 h 2017102"/>
                <a:gd name="connsiteX54" fmla="*/ 517271 w 4011346"/>
                <a:gd name="connsiteY54" fmla="*/ 1793507 h 2017102"/>
                <a:gd name="connsiteX55" fmla="*/ 480561 w 4011346"/>
                <a:gd name="connsiteY55" fmla="*/ 1776821 h 2017102"/>
                <a:gd name="connsiteX56" fmla="*/ 470549 w 4011346"/>
                <a:gd name="connsiteY56" fmla="*/ 1756798 h 2017102"/>
                <a:gd name="connsiteX57" fmla="*/ 480561 w 4011346"/>
                <a:gd name="connsiteY57" fmla="*/ 1726763 h 2017102"/>
                <a:gd name="connsiteX58" fmla="*/ 490573 w 4011346"/>
                <a:gd name="connsiteY58" fmla="*/ 1686716 h 2017102"/>
                <a:gd name="connsiteX59" fmla="*/ 513933 w 4011346"/>
                <a:gd name="connsiteY59" fmla="*/ 1706740 h 2017102"/>
                <a:gd name="connsiteX60" fmla="*/ 520608 w 4011346"/>
                <a:gd name="connsiteY60" fmla="*/ 1690053 h 2017102"/>
                <a:gd name="connsiteX61" fmla="*/ 543968 w 4011346"/>
                <a:gd name="connsiteY61" fmla="*/ 1653344 h 2017102"/>
                <a:gd name="connsiteX62" fmla="*/ 574003 w 4011346"/>
                <a:gd name="connsiteY62" fmla="*/ 1636658 h 2017102"/>
                <a:gd name="connsiteX63" fmla="*/ 590690 w 4011346"/>
                <a:gd name="connsiteY63" fmla="*/ 1650007 h 2017102"/>
                <a:gd name="connsiteX64" fmla="*/ 610713 w 4011346"/>
                <a:gd name="connsiteY64" fmla="*/ 1623309 h 2017102"/>
                <a:gd name="connsiteX65" fmla="*/ 630736 w 4011346"/>
                <a:gd name="connsiteY65" fmla="*/ 1650007 h 2017102"/>
                <a:gd name="connsiteX66" fmla="*/ 657434 w 4011346"/>
                <a:gd name="connsiteY66" fmla="*/ 1673367 h 2017102"/>
                <a:gd name="connsiteX67" fmla="*/ 674120 w 4011346"/>
                <a:gd name="connsiteY67" fmla="*/ 1680042 h 2017102"/>
                <a:gd name="connsiteX68" fmla="*/ 697481 w 4011346"/>
                <a:gd name="connsiteY68" fmla="*/ 1680042 h 2017102"/>
                <a:gd name="connsiteX69" fmla="*/ 717504 w 4011346"/>
                <a:gd name="connsiteY69" fmla="*/ 1666693 h 2017102"/>
                <a:gd name="connsiteX70" fmla="*/ 744202 w 4011346"/>
                <a:gd name="connsiteY70" fmla="*/ 1666693 h 2017102"/>
                <a:gd name="connsiteX71" fmla="*/ 760888 w 4011346"/>
                <a:gd name="connsiteY71" fmla="*/ 1663356 h 2017102"/>
                <a:gd name="connsiteX72" fmla="*/ 790923 w 4011346"/>
                <a:gd name="connsiteY72" fmla="*/ 1696728 h 2017102"/>
                <a:gd name="connsiteX73" fmla="*/ 797598 w 4011346"/>
                <a:gd name="connsiteY73" fmla="*/ 1670030 h 2017102"/>
                <a:gd name="connsiteX74" fmla="*/ 817621 w 4011346"/>
                <a:gd name="connsiteY74" fmla="*/ 1686716 h 2017102"/>
                <a:gd name="connsiteX75" fmla="*/ 837644 w 4011346"/>
                <a:gd name="connsiteY75" fmla="*/ 1663356 h 2017102"/>
                <a:gd name="connsiteX76" fmla="*/ 827633 w 4011346"/>
                <a:gd name="connsiteY76" fmla="*/ 1643332 h 2017102"/>
                <a:gd name="connsiteX77" fmla="*/ 810946 w 4011346"/>
                <a:gd name="connsiteY77" fmla="*/ 1629983 h 2017102"/>
                <a:gd name="connsiteX78" fmla="*/ 810946 w 4011346"/>
                <a:gd name="connsiteY78" fmla="*/ 1603286 h 2017102"/>
                <a:gd name="connsiteX79" fmla="*/ 810946 w 4011346"/>
                <a:gd name="connsiteY79" fmla="*/ 1589937 h 2017102"/>
                <a:gd name="connsiteX80" fmla="*/ 830970 w 4011346"/>
                <a:gd name="connsiteY80" fmla="*/ 1586599 h 2017102"/>
                <a:gd name="connsiteX81" fmla="*/ 840981 w 4011346"/>
                <a:gd name="connsiteY81" fmla="*/ 1583262 h 2017102"/>
                <a:gd name="connsiteX82" fmla="*/ 820958 w 4011346"/>
                <a:gd name="connsiteY82" fmla="*/ 1546553 h 2017102"/>
                <a:gd name="connsiteX83" fmla="*/ 854330 w 4011346"/>
                <a:gd name="connsiteY83" fmla="*/ 1539878 h 2017102"/>
                <a:gd name="connsiteX84" fmla="*/ 891040 w 4011346"/>
                <a:gd name="connsiteY84" fmla="*/ 1546553 h 2017102"/>
                <a:gd name="connsiteX85" fmla="*/ 964459 w 4011346"/>
                <a:gd name="connsiteY85" fmla="*/ 1503169 h 2017102"/>
                <a:gd name="connsiteX86" fmla="*/ 1001168 w 4011346"/>
                <a:gd name="connsiteY86" fmla="*/ 1503169 h 2017102"/>
                <a:gd name="connsiteX87" fmla="*/ 1027866 w 4011346"/>
                <a:gd name="connsiteY87" fmla="*/ 1479808 h 2017102"/>
                <a:gd name="connsiteX88" fmla="*/ 1047890 w 4011346"/>
                <a:gd name="connsiteY88" fmla="*/ 1489820 h 2017102"/>
                <a:gd name="connsiteX89" fmla="*/ 1067913 w 4011346"/>
                <a:gd name="connsiteY89" fmla="*/ 1499831 h 2017102"/>
                <a:gd name="connsiteX90" fmla="*/ 1087936 w 4011346"/>
                <a:gd name="connsiteY90" fmla="*/ 1526529 h 2017102"/>
                <a:gd name="connsiteX91" fmla="*/ 1074587 w 4011346"/>
                <a:gd name="connsiteY91" fmla="*/ 1539878 h 2017102"/>
                <a:gd name="connsiteX92" fmla="*/ 1104622 w 4011346"/>
                <a:gd name="connsiteY92" fmla="*/ 1539878 h 2017102"/>
                <a:gd name="connsiteX93" fmla="*/ 1107960 w 4011346"/>
                <a:gd name="connsiteY93" fmla="*/ 1556564 h 2017102"/>
                <a:gd name="connsiteX94" fmla="*/ 1121309 w 4011346"/>
                <a:gd name="connsiteY94" fmla="*/ 1539878 h 2017102"/>
                <a:gd name="connsiteX95" fmla="*/ 1134657 w 4011346"/>
                <a:gd name="connsiteY95" fmla="*/ 1553227 h 2017102"/>
                <a:gd name="connsiteX96" fmla="*/ 1134657 w 4011346"/>
                <a:gd name="connsiteY96" fmla="*/ 1573250 h 2017102"/>
                <a:gd name="connsiteX97" fmla="*/ 1148006 w 4011346"/>
                <a:gd name="connsiteY97" fmla="*/ 1569913 h 2017102"/>
                <a:gd name="connsiteX98" fmla="*/ 1208076 w 4011346"/>
                <a:gd name="connsiteY98" fmla="*/ 1523192 h 2017102"/>
                <a:gd name="connsiteX99" fmla="*/ 1211414 w 4011346"/>
                <a:gd name="connsiteY99" fmla="*/ 1543215 h 2017102"/>
                <a:gd name="connsiteX100" fmla="*/ 1244786 w 4011346"/>
                <a:gd name="connsiteY100" fmla="*/ 1563239 h 2017102"/>
                <a:gd name="connsiteX101" fmla="*/ 1264809 w 4011346"/>
                <a:gd name="connsiteY101" fmla="*/ 1593274 h 2017102"/>
                <a:gd name="connsiteX102" fmla="*/ 1298181 w 4011346"/>
                <a:gd name="connsiteY102" fmla="*/ 1700065 h 2017102"/>
                <a:gd name="connsiteX103" fmla="*/ 1308193 w 4011346"/>
                <a:gd name="connsiteY103" fmla="*/ 1656681 h 2017102"/>
                <a:gd name="connsiteX104" fmla="*/ 1344903 w 4011346"/>
                <a:gd name="connsiteY104" fmla="*/ 1676704 h 2017102"/>
                <a:gd name="connsiteX105" fmla="*/ 1388287 w 4011346"/>
                <a:gd name="connsiteY105" fmla="*/ 1676704 h 2017102"/>
                <a:gd name="connsiteX106" fmla="*/ 1394961 w 4011346"/>
                <a:gd name="connsiteY106" fmla="*/ 1700065 h 2017102"/>
                <a:gd name="connsiteX107" fmla="*/ 1435008 w 4011346"/>
                <a:gd name="connsiteY107" fmla="*/ 1723426 h 2017102"/>
                <a:gd name="connsiteX108" fmla="*/ 1465043 w 4011346"/>
                <a:gd name="connsiteY108" fmla="*/ 1723426 h 2017102"/>
                <a:gd name="connsiteX109" fmla="*/ 1491741 w 4011346"/>
                <a:gd name="connsiteY109" fmla="*/ 1736775 h 2017102"/>
                <a:gd name="connsiteX110" fmla="*/ 1535125 w 4011346"/>
                <a:gd name="connsiteY110" fmla="*/ 1693391 h 2017102"/>
                <a:gd name="connsiteX111" fmla="*/ 1571834 w 4011346"/>
                <a:gd name="connsiteY111" fmla="*/ 1673367 h 2017102"/>
                <a:gd name="connsiteX112" fmla="*/ 1608544 w 4011346"/>
                <a:gd name="connsiteY112" fmla="*/ 1676704 h 2017102"/>
                <a:gd name="connsiteX113" fmla="*/ 1655265 w 4011346"/>
                <a:gd name="connsiteY113" fmla="*/ 1690053 h 2017102"/>
                <a:gd name="connsiteX114" fmla="*/ 1681963 w 4011346"/>
                <a:gd name="connsiteY114" fmla="*/ 1706740 h 2017102"/>
                <a:gd name="connsiteX115" fmla="*/ 1735358 w 4011346"/>
                <a:gd name="connsiteY115" fmla="*/ 1700065 h 2017102"/>
                <a:gd name="connsiteX116" fmla="*/ 1745370 w 4011346"/>
                <a:gd name="connsiteY116" fmla="*/ 1680042 h 2017102"/>
                <a:gd name="connsiteX117" fmla="*/ 1738695 w 4011346"/>
                <a:gd name="connsiteY117" fmla="*/ 1660018 h 2017102"/>
                <a:gd name="connsiteX118" fmla="*/ 1765393 w 4011346"/>
                <a:gd name="connsiteY118" fmla="*/ 1633321 h 2017102"/>
                <a:gd name="connsiteX119" fmla="*/ 1778742 w 4011346"/>
                <a:gd name="connsiteY119" fmla="*/ 1629983 h 2017102"/>
                <a:gd name="connsiteX120" fmla="*/ 1812114 w 4011346"/>
                <a:gd name="connsiteY120" fmla="*/ 1646669 h 2017102"/>
                <a:gd name="connsiteX121" fmla="*/ 1852161 w 4011346"/>
                <a:gd name="connsiteY121" fmla="*/ 1660018 h 2017102"/>
                <a:gd name="connsiteX122" fmla="*/ 1858836 w 4011346"/>
                <a:gd name="connsiteY122" fmla="*/ 1686716 h 2017102"/>
                <a:gd name="connsiteX123" fmla="*/ 1872184 w 4011346"/>
                <a:gd name="connsiteY123" fmla="*/ 1693391 h 2017102"/>
                <a:gd name="connsiteX124" fmla="*/ 1902219 w 4011346"/>
                <a:gd name="connsiteY124" fmla="*/ 1696728 h 2017102"/>
                <a:gd name="connsiteX125" fmla="*/ 1932254 w 4011346"/>
                <a:gd name="connsiteY125" fmla="*/ 1680042 h 2017102"/>
                <a:gd name="connsiteX126" fmla="*/ 1962290 w 4011346"/>
                <a:gd name="connsiteY126" fmla="*/ 1693391 h 2017102"/>
                <a:gd name="connsiteX127" fmla="*/ 1985650 w 4011346"/>
                <a:gd name="connsiteY127" fmla="*/ 1706740 h 2017102"/>
                <a:gd name="connsiteX128" fmla="*/ 1995662 w 4011346"/>
                <a:gd name="connsiteY128" fmla="*/ 1716751 h 2017102"/>
                <a:gd name="connsiteX129" fmla="*/ 2032371 w 4011346"/>
                <a:gd name="connsiteY129" fmla="*/ 1736775 h 2017102"/>
                <a:gd name="connsiteX130" fmla="*/ 2069081 w 4011346"/>
                <a:gd name="connsiteY130" fmla="*/ 1733437 h 2017102"/>
                <a:gd name="connsiteX131" fmla="*/ 2142500 w 4011346"/>
                <a:gd name="connsiteY131" fmla="*/ 1690053 h 2017102"/>
                <a:gd name="connsiteX132" fmla="*/ 2195895 w 4011346"/>
                <a:gd name="connsiteY132" fmla="*/ 1703402 h 2017102"/>
                <a:gd name="connsiteX133" fmla="*/ 2225930 w 4011346"/>
                <a:gd name="connsiteY133" fmla="*/ 1713414 h 2017102"/>
                <a:gd name="connsiteX134" fmla="*/ 2259303 w 4011346"/>
                <a:gd name="connsiteY134" fmla="*/ 1700065 h 2017102"/>
                <a:gd name="connsiteX135" fmla="*/ 2262640 w 4011346"/>
                <a:gd name="connsiteY135" fmla="*/ 1673367 h 2017102"/>
                <a:gd name="connsiteX136" fmla="*/ 2282663 w 4011346"/>
                <a:gd name="connsiteY136" fmla="*/ 1643332 h 2017102"/>
                <a:gd name="connsiteX137" fmla="*/ 2299349 w 4011346"/>
                <a:gd name="connsiteY137" fmla="*/ 1589937 h 2017102"/>
                <a:gd name="connsiteX138" fmla="*/ 2282663 w 4011346"/>
                <a:gd name="connsiteY138" fmla="*/ 1593274 h 2017102"/>
                <a:gd name="connsiteX139" fmla="*/ 2312698 w 4011346"/>
                <a:gd name="connsiteY139" fmla="*/ 1566576 h 2017102"/>
                <a:gd name="connsiteX140" fmla="*/ 2339396 w 4011346"/>
                <a:gd name="connsiteY140" fmla="*/ 1563239 h 2017102"/>
                <a:gd name="connsiteX141" fmla="*/ 2396129 w 4011346"/>
                <a:gd name="connsiteY141" fmla="*/ 1573250 h 2017102"/>
                <a:gd name="connsiteX142" fmla="*/ 2436176 w 4011346"/>
                <a:gd name="connsiteY142" fmla="*/ 1599948 h 2017102"/>
                <a:gd name="connsiteX143" fmla="*/ 2462873 w 4011346"/>
                <a:gd name="connsiteY143" fmla="*/ 1629983 h 2017102"/>
                <a:gd name="connsiteX144" fmla="*/ 2469548 w 4011346"/>
                <a:gd name="connsiteY144" fmla="*/ 1666693 h 2017102"/>
                <a:gd name="connsiteX145" fmla="*/ 2476222 w 4011346"/>
                <a:gd name="connsiteY145" fmla="*/ 1706740 h 2017102"/>
                <a:gd name="connsiteX146" fmla="*/ 2486234 w 4011346"/>
                <a:gd name="connsiteY146" fmla="*/ 1726763 h 2017102"/>
                <a:gd name="connsiteX147" fmla="*/ 2529618 w 4011346"/>
                <a:gd name="connsiteY147" fmla="*/ 1740112 h 2017102"/>
                <a:gd name="connsiteX148" fmla="*/ 2549641 w 4011346"/>
                <a:gd name="connsiteY148" fmla="*/ 1760135 h 2017102"/>
                <a:gd name="connsiteX149" fmla="*/ 2562990 w 4011346"/>
                <a:gd name="connsiteY149" fmla="*/ 1793507 h 2017102"/>
                <a:gd name="connsiteX150" fmla="*/ 2586351 w 4011346"/>
                <a:gd name="connsiteY150" fmla="*/ 1786833 h 2017102"/>
                <a:gd name="connsiteX151" fmla="*/ 2606374 w 4011346"/>
                <a:gd name="connsiteY151" fmla="*/ 1776821 h 2017102"/>
                <a:gd name="connsiteX152" fmla="*/ 2639746 w 4011346"/>
                <a:gd name="connsiteY152" fmla="*/ 1760135 h 2017102"/>
                <a:gd name="connsiteX153" fmla="*/ 2643084 w 4011346"/>
                <a:gd name="connsiteY153" fmla="*/ 1776821 h 2017102"/>
                <a:gd name="connsiteX154" fmla="*/ 2626398 w 4011346"/>
                <a:gd name="connsiteY154" fmla="*/ 1806856 h 2017102"/>
                <a:gd name="connsiteX155" fmla="*/ 2616386 w 4011346"/>
                <a:gd name="connsiteY155" fmla="*/ 1843566 h 2017102"/>
                <a:gd name="connsiteX156" fmla="*/ 2603037 w 4011346"/>
                <a:gd name="connsiteY156" fmla="*/ 1896961 h 2017102"/>
                <a:gd name="connsiteX157" fmla="*/ 2579676 w 4011346"/>
                <a:gd name="connsiteY157" fmla="*/ 1870264 h 2017102"/>
                <a:gd name="connsiteX158" fmla="*/ 2552979 w 4011346"/>
                <a:gd name="connsiteY158" fmla="*/ 1893624 h 2017102"/>
                <a:gd name="connsiteX159" fmla="*/ 2559653 w 4011346"/>
                <a:gd name="connsiteY159" fmla="*/ 1920322 h 2017102"/>
                <a:gd name="connsiteX160" fmla="*/ 2559653 w 4011346"/>
                <a:gd name="connsiteY160" fmla="*/ 1957031 h 2017102"/>
                <a:gd name="connsiteX161" fmla="*/ 2549641 w 4011346"/>
                <a:gd name="connsiteY161" fmla="*/ 1977055 h 2017102"/>
                <a:gd name="connsiteX162" fmla="*/ 2589688 w 4011346"/>
                <a:gd name="connsiteY162" fmla="*/ 1957031 h 2017102"/>
                <a:gd name="connsiteX163" fmla="*/ 2626398 w 4011346"/>
                <a:gd name="connsiteY163" fmla="*/ 1967043 h 2017102"/>
                <a:gd name="connsiteX164" fmla="*/ 2653095 w 4011346"/>
                <a:gd name="connsiteY164" fmla="*/ 1943683 h 2017102"/>
                <a:gd name="connsiteX165" fmla="*/ 2683130 w 4011346"/>
                <a:gd name="connsiteY165" fmla="*/ 1890287 h 2017102"/>
                <a:gd name="connsiteX166" fmla="*/ 2753212 w 4011346"/>
                <a:gd name="connsiteY166" fmla="*/ 1803519 h 2017102"/>
                <a:gd name="connsiteX167" fmla="*/ 2783247 w 4011346"/>
                <a:gd name="connsiteY167" fmla="*/ 1733437 h 2017102"/>
                <a:gd name="connsiteX168" fmla="*/ 2803271 w 4011346"/>
                <a:gd name="connsiteY168" fmla="*/ 1629983 h 2017102"/>
                <a:gd name="connsiteX169" fmla="*/ 2793259 w 4011346"/>
                <a:gd name="connsiteY169" fmla="*/ 1579925 h 2017102"/>
                <a:gd name="connsiteX170" fmla="*/ 2769898 w 4011346"/>
                <a:gd name="connsiteY170" fmla="*/ 1546553 h 2017102"/>
                <a:gd name="connsiteX171" fmla="*/ 2726514 w 4011346"/>
                <a:gd name="connsiteY171" fmla="*/ 1546553 h 2017102"/>
                <a:gd name="connsiteX172" fmla="*/ 2699817 w 4011346"/>
                <a:gd name="connsiteY172" fmla="*/ 1546553 h 2017102"/>
                <a:gd name="connsiteX173" fmla="*/ 2683130 w 4011346"/>
                <a:gd name="connsiteY173" fmla="*/ 1526529 h 2017102"/>
                <a:gd name="connsiteX174" fmla="*/ 2669781 w 4011346"/>
                <a:gd name="connsiteY174" fmla="*/ 1506506 h 2017102"/>
                <a:gd name="connsiteX175" fmla="*/ 2763224 w 4011346"/>
                <a:gd name="connsiteY175" fmla="*/ 1389703 h 2017102"/>
                <a:gd name="connsiteX176" fmla="*/ 2846654 w 4011346"/>
                <a:gd name="connsiteY176" fmla="*/ 1322959 h 2017102"/>
                <a:gd name="connsiteX177" fmla="*/ 2890038 w 4011346"/>
                <a:gd name="connsiteY177" fmla="*/ 1299598 h 2017102"/>
                <a:gd name="connsiteX178" fmla="*/ 2933422 w 4011346"/>
                <a:gd name="connsiteY178" fmla="*/ 1319621 h 2017102"/>
                <a:gd name="connsiteX179" fmla="*/ 2950109 w 4011346"/>
                <a:gd name="connsiteY179" fmla="*/ 1302935 h 2017102"/>
                <a:gd name="connsiteX180" fmla="*/ 2993492 w 4011346"/>
                <a:gd name="connsiteY180" fmla="*/ 1319621 h 2017102"/>
                <a:gd name="connsiteX181" fmla="*/ 3006841 w 4011346"/>
                <a:gd name="connsiteY181" fmla="*/ 1286249 h 2017102"/>
                <a:gd name="connsiteX182" fmla="*/ 3053563 w 4011346"/>
                <a:gd name="connsiteY182" fmla="*/ 1296261 h 2017102"/>
                <a:gd name="connsiteX183" fmla="*/ 3070249 w 4011346"/>
                <a:gd name="connsiteY183" fmla="*/ 1312947 h 2017102"/>
                <a:gd name="connsiteX184" fmla="*/ 3060237 w 4011346"/>
                <a:gd name="connsiteY184" fmla="*/ 1332970 h 2017102"/>
                <a:gd name="connsiteX185" fmla="*/ 3123644 w 4011346"/>
                <a:gd name="connsiteY185" fmla="*/ 1316284 h 2017102"/>
                <a:gd name="connsiteX186" fmla="*/ 3140330 w 4011346"/>
                <a:gd name="connsiteY186" fmla="*/ 1302935 h 2017102"/>
                <a:gd name="connsiteX187" fmla="*/ 3123644 w 4011346"/>
                <a:gd name="connsiteY187" fmla="*/ 1289586 h 2017102"/>
                <a:gd name="connsiteX188" fmla="*/ 3143668 w 4011346"/>
                <a:gd name="connsiteY188" fmla="*/ 1249540 h 2017102"/>
                <a:gd name="connsiteX189" fmla="*/ 3190389 w 4011346"/>
                <a:gd name="connsiteY189" fmla="*/ 1179458 h 2017102"/>
                <a:gd name="connsiteX190" fmla="*/ 3233773 w 4011346"/>
                <a:gd name="connsiteY190" fmla="*/ 1176121 h 2017102"/>
                <a:gd name="connsiteX191" fmla="*/ 3273819 w 4011346"/>
                <a:gd name="connsiteY191" fmla="*/ 1186132 h 2017102"/>
                <a:gd name="connsiteX192" fmla="*/ 3277157 w 4011346"/>
                <a:gd name="connsiteY192" fmla="*/ 1242865 h 2017102"/>
                <a:gd name="connsiteX193" fmla="*/ 3320541 w 4011346"/>
                <a:gd name="connsiteY193" fmla="*/ 1199481 h 2017102"/>
                <a:gd name="connsiteX194" fmla="*/ 3343901 w 4011346"/>
                <a:gd name="connsiteY194" fmla="*/ 1182795 h 2017102"/>
                <a:gd name="connsiteX195" fmla="*/ 3350576 w 4011346"/>
                <a:gd name="connsiteY195" fmla="*/ 1149423 h 2017102"/>
                <a:gd name="connsiteX196" fmla="*/ 3377273 w 4011346"/>
                <a:gd name="connsiteY196" fmla="*/ 1132737 h 2017102"/>
                <a:gd name="connsiteX197" fmla="*/ 3407309 w 4011346"/>
                <a:gd name="connsiteY197" fmla="*/ 1142748 h 2017102"/>
                <a:gd name="connsiteX198" fmla="*/ 3373936 w 4011346"/>
                <a:gd name="connsiteY198" fmla="*/ 1172783 h 2017102"/>
                <a:gd name="connsiteX199" fmla="*/ 3360587 w 4011346"/>
                <a:gd name="connsiteY199" fmla="*/ 1222842 h 2017102"/>
                <a:gd name="connsiteX200" fmla="*/ 3323878 w 4011346"/>
                <a:gd name="connsiteY200" fmla="*/ 1262888 h 2017102"/>
                <a:gd name="connsiteX201" fmla="*/ 3210412 w 4011346"/>
                <a:gd name="connsiteY201" fmla="*/ 1359668 h 2017102"/>
                <a:gd name="connsiteX202" fmla="*/ 3163691 w 4011346"/>
                <a:gd name="connsiteY202" fmla="*/ 1429750 h 2017102"/>
                <a:gd name="connsiteX203" fmla="*/ 3160354 w 4011346"/>
                <a:gd name="connsiteY203" fmla="*/ 1503169 h 2017102"/>
                <a:gd name="connsiteX204" fmla="*/ 3170365 w 4011346"/>
                <a:gd name="connsiteY204" fmla="*/ 1593274 h 2017102"/>
                <a:gd name="connsiteX205" fmla="*/ 3190389 w 4011346"/>
                <a:gd name="connsiteY205" fmla="*/ 1656681 h 2017102"/>
                <a:gd name="connsiteX206" fmla="*/ 3217087 w 4011346"/>
                <a:gd name="connsiteY206" fmla="*/ 1646669 h 2017102"/>
                <a:gd name="connsiteX207" fmla="*/ 3240447 w 4011346"/>
                <a:gd name="connsiteY207" fmla="*/ 1579925 h 2017102"/>
                <a:gd name="connsiteX208" fmla="*/ 3270482 w 4011346"/>
                <a:gd name="connsiteY208" fmla="*/ 1576588 h 2017102"/>
                <a:gd name="connsiteX209" fmla="*/ 3287168 w 4011346"/>
                <a:gd name="connsiteY209" fmla="*/ 1516518 h 2017102"/>
                <a:gd name="connsiteX210" fmla="*/ 3313866 w 4011346"/>
                <a:gd name="connsiteY210" fmla="*/ 1506506 h 2017102"/>
                <a:gd name="connsiteX211" fmla="*/ 3313866 w 4011346"/>
                <a:gd name="connsiteY211" fmla="*/ 1476471 h 2017102"/>
                <a:gd name="connsiteX212" fmla="*/ 3337227 w 4011346"/>
                <a:gd name="connsiteY212" fmla="*/ 1439761 h 2017102"/>
                <a:gd name="connsiteX213" fmla="*/ 3330552 w 4011346"/>
                <a:gd name="connsiteY213" fmla="*/ 1396377 h 2017102"/>
                <a:gd name="connsiteX214" fmla="*/ 3333890 w 4011346"/>
                <a:gd name="connsiteY214" fmla="*/ 1366342 h 2017102"/>
                <a:gd name="connsiteX215" fmla="*/ 3323878 w 4011346"/>
                <a:gd name="connsiteY215" fmla="*/ 1356331 h 2017102"/>
                <a:gd name="connsiteX216" fmla="*/ 3363925 w 4011346"/>
                <a:gd name="connsiteY216" fmla="*/ 1269563 h 2017102"/>
                <a:gd name="connsiteX217" fmla="*/ 3383948 w 4011346"/>
                <a:gd name="connsiteY217" fmla="*/ 1279575 h 2017102"/>
                <a:gd name="connsiteX218" fmla="*/ 3410646 w 4011346"/>
                <a:gd name="connsiteY218" fmla="*/ 1252877 h 2017102"/>
                <a:gd name="connsiteX219" fmla="*/ 3420657 w 4011346"/>
                <a:gd name="connsiteY219" fmla="*/ 1279575 h 2017102"/>
                <a:gd name="connsiteX220" fmla="*/ 3447355 w 4011346"/>
                <a:gd name="connsiteY220" fmla="*/ 1262888 h 2017102"/>
                <a:gd name="connsiteX221" fmla="*/ 3477390 w 4011346"/>
                <a:gd name="connsiteY221" fmla="*/ 1252877 h 2017102"/>
                <a:gd name="connsiteX222" fmla="*/ 3514100 w 4011346"/>
                <a:gd name="connsiteY222" fmla="*/ 1279575 h 2017102"/>
                <a:gd name="connsiteX223" fmla="*/ 3574170 w 4011346"/>
                <a:gd name="connsiteY223" fmla="*/ 1212830 h 2017102"/>
                <a:gd name="connsiteX224" fmla="*/ 3637577 w 4011346"/>
                <a:gd name="connsiteY224" fmla="*/ 1166109 h 2017102"/>
                <a:gd name="connsiteX225" fmla="*/ 3690973 w 4011346"/>
                <a:gd name="connsiteY225" fmla="*/ 1129399 h 2017102"/>
                <a:gd name="connsiteX226" fmla="*/ 3741031 w 4011346"/>
                <a:gd name="connsiteY226" fmla="*/ 1156097 h 2017102"/>
                <a:gd name="connsiteX227" fmla="*/ 3751043 w 4011346"/>
                <a:gd name="connsiteY227" fmla="*/ 1129399 h 2017102"/>
                <a:gd name="connsiteX228" fmla="*/ 3727682 w 4011346"/>
                <a:gd name="connsiteY228" fmla="*/ 1062655 h 2017102"/>
                <a:gd name="connsiteX229" fmla="*/ 3700984 w 4011346"/>
                <a:gd name="connsiteY229" fmla="*/ 1045969 h 2017102"/>
                <a:gd name="connsiteX230" fmla="*/ 3697647 w 4011346"/>
                <a:gd name="connsiteY230" fmla="*/ 1015934 h 2017102"/>
                <a:gd name="connsiteX231" fmla="*/ 3751043 w 4011346"/>
                <a:gd name="connsiteY231" fmla="*/ 1022608 h 2017102"/>
                <a:gd name="connsiteX232" fmla="*/ 3774403 w 4011346"/>
                <a:gd name="connsiteY232" fmla="*/ 979224 h 2017102"/>
                <a:gd name="connsiteX233" fmla="*/ 3767729 w 4011346"/>
                <a:gd name="connsiteY233" fmla="*/ 952526 h 2017102"/>
                <a:gd name="connsiteX234" fmla="*/ 3794427 w 4011346"/>
                <a:gd name="connsiteY234" fmla="*/ 919154 h 2017102"/>
                <a:gd name="connsiteX235" fmla="*/ 3804438 w 4011346"/>
                <a:gd name="connsiteY235" fmla="*/ 962538 h 2017102"/>
                <a:gd name="connsiteX236" fmla="*/ 3827799 w 4011346"/>
                <a:gd name="connsiteY236" fmla="*/ 979224 h 2017102"/>
                <a:gd name="connsiteX237" fmla="*/ 3874520 w 4011346"/>
                <a:gd name="connsiteY237" fmla="*/ 999248 h 2017102"/>
                <a:gd name="connsiteX238" fmla="*/ 3894544 w 4011346"/>
                <a:gd name="connsiteY238" fmla="*/ 1025945 h 2017102"/>
                <a:gd name="connsiteX239" fmla="*/ 3941265 w 4011346"/>
                <a:gd name="connsiteY239" fmla="*/ 1049306 h 2017102"/>
                <a:gd name="connsiteX240" fmla="*/ 3947939 w 4011346"/>
                <a:gd name="connsiteY240" fmla="*/ 1035957 h 2017102"/>
                <a:gd name="connsiteX241" fmla="*/ 3957951 w 4011346"/>
                <a:gd name="connsiteY241" fmla="*/ 972550 h 2017102"/>
                <a:gd name="connsiteX242" fmla="*/ 4004672 w 4011346"/>
                <a:gd name="connsiteY242" fmla="*/ 965875 h 2017102"/>
                <a:gd name="connsiteX243" fmla="*/ 4011346 w 4011346"/>
                <a:gd name="connsiteY243" fmla="*/ 932503 h 2017102"/>
                <a:gd name="connsiteX244" fmla="*/ 3967963 w 4011346"/>
                <a:gd name="connsiteY244" fmla="*/ 895794 h 2017102"/>
                <a:gd name="connsiteX245" fmla="*/ 3921241 w 4011346"/>
                <a:gd name="connsiteY245" fmla="*/ 879107 h 2017102"/>
                <a:gd name="connsiteX246" fmla="*/ 3907892 w 4011346"/>
                <a:gd name="connsiteY246" fmla="*/ 882445 h 2017102"/>
                <a:gd name="connsiteX247" fmla="*/ 3907892 w 4011346"/>
                <a:gd name="connsiteY247" fmla="*/ 915817 h 2017102"/>
                <a:gd name="connsiteX248" fmla="*/ 3887869 w 4011346"/>
                <a:gd name="connsiteY248" fmla="*/ 909142 h 2017102"/>
                <a:gd name="connsiteX249" fmla="*/ 3874520 w 4011346"/>
                <a:gd name="connsiteY249" fmla="*/ 855747 h 2017102"/>
                <a:gd name="connsiteX250" fmla="*/ 3817787 w 4011346"/>
                <a:gd name="connsiteY250" fmla="*/ 792340 h 2017102"/>
                <a:gd name="connsiteX251" fmla="*/ 3717671 w 4011346"/>
                <a:gd name="connsiteY251" fmla="*/ 715583 h 2017102"/>
                <a:gd name="connsiteX252" fmla="*/ 3664275 w 4011346"/>
                <a:gd name="connsiteY252" fmla="*/ 695560 h 2017102"/>
                <a:gd name="connsiteX253" fmla="*/ 3584181 w 4011346"/>
                <a:gd name="connsiteY253" fmla="*/ 688886 h 2017102"/>
                <a:gd name="connsiteX254" fmla="*/ 3520774 w 4011346"/>
                <a:gd name="connsiteY254" fmla="*/ 672199 h 2017102"/>
                <a:gd name="connsiteX255" fmla="*/ 3530786 w 4011346"/>
                <a:gd name="connsiteY255" fmla="*/ 712246 h 2017102"/>
                <a:gd name="connsiteX256" fmla="*/ 3537460 w 4011346"/>
                <a:gd name="connsiteY256" fmla="*/ 738944 h 2017102"/>
                <a:gd name="connsiteX257" fmla="*/ 3507425 w 4011346"/>
                <a:gd name="connsiteY257" fmla="*/ 762304 h 2017102"/>
                <a:gd name="connsiteX258" fmla="*/ 3477390 w 4011346"/>
                <a:gd name="connsiteY258" fmla="*/ 735607 h 2017102"/>
                <a:gd name="connsiteX259" fmla="*/ 3477390 w 4011346"/>
                <a:gd name="connsiteY259" fmla="*/ 715583 h 2017102"/>
                <a:gd name="connsiteX260" fmla="*/ 3504088 w 4011346"/>
                <a:gd name="connsiteY260" fmla="*/ 695560 h 2017102"/>
                <a:gd name="connsiteX261" fmla="*/ 3467379 w 4011346"/>
                <a:gd name="connsiteY261" fmla="*/ 682211 h 2017102"/>
                <a:gd name="connsiteX262" fmla="*/ 3450692 w 4011346"/>
                <a:gd name="connsiteY262" fmla="*/ 708909 h 2017102"/>
                <a:gd name="connsiteX263" fmla="*/ 3440681 w 4011346"/>
                <a:gd name="connsiteY263" fmla="*/ 722258 h 2017102"/>
                <a:gd name="connsiteX264" fmla="*/ 3357250 w 4011346"/>
                <a:gd name="connsiteY264" fmla="*/ 708909 h 2017102"/>
                <a:gd name="connsiteX265" fmla="*/ 3297180 w 4011346"/>
                <a:gd name="connsiteY265" fmla="*/ 715583 h 2017102"/>
                <a:gd name="connsiteX266" fmla="*/ 3267145 w 4011346"/>
                <a:gd name="connsiteY266" fmla="*/ 692223 h 2017102"/>
                <a:gd name="connsiteX267" fmla="*/ 3267145 w 4011346"/>
                <a:gd name="connsiteY267" fmla="*/ 655513 h 2017102"/>
                <a:gd name="connsiteX268" fmla="*/ 3203738 w 4011346"/>
                <a:gd name="connsiteY268" fmla="*/ 598780 h 2017102"/>
                <a:gd name="connsiteX269" fmla="*/ 3076923 w 4011346"/>
                <a:gd name="connsiteY269" fmla="*/ 605455 h 2017102"/>
                <a:gd name="connsiteX270" fmla="*/ 3043551 w 4011346"/>
                <a:gd name="connsiteY270" fmla="*/ 582094 h 2017102"/>
                <a:gd name="connsiteX271" fmla="*/ 3000167 w 4011346"/>
                <a:gd name="connsiteY271" fmla="*/ 535373 h 2017102"/>
                <a:gd name="connsiteX272" fmla="*/ 3013516 w 4011346"/>
                <a:gd name="connsiteY272" fmla="*/ 528699 h 2017102"/>
                <a:gd name="connsiteX273" fmla="*/ 3000167 w 4011346"/>
                <a:gd name="connsiteY273" fmla="*/ 508675 h 2017102"/>
                <a:gd name="connsiteX274" fmla="*/ 2970132 w 4011346"/>
                <a:gd name="connsiteY274" fmla="*/ 505338 h 2017102"/>
                <a:gd name="connsiteX275" fmla="*/ 2920073 w 4011346"/>
                <a:gd name="connsiteY275" fmla="*/ 552059 h 2017102"/>
                <a:gd name="connsiteX276" fmla="*/ 2920073 w 4011346"/>
                <a:gd name="connsiteY276" fmla="*/ 552059 h 2017102"/>
                <a:gd name="connsiteX277" fmla="*/ 2916736 w 4011346"/>
                <a:gd name="connsiteY277" fmla="*/ 502001 h 2017102"/>
                <a:gd name="connsiteX278" fmla="*/ 2936760 w 4011346"/>
                <a:gd name="connsiteY278" fmla="*/ 498664 h 2017102"/>
                <a:gd name="connsiteX279" fmla="*/ 2866678 w 4011346"/>
                <a:gd name="connsiteY279" fmla="*/ 468629 h 2017102"/>
                <a:gd name="connsiteX280" fmla="*/ 2813282 w 4011346"/>
                <a:gd name="connsiteY280" fmla="*/ 465291 h 2017102"/>
                <a:gd name="connsiteX281" fmla="*/ 2793259 w 4011346"/>
                <a:gd name="connsiteY281" fmla="*/ 488652 h 2017102"/>
                <a:gd name="connsiteX282" fmla="*/ 2743200 w 4011346"/>
                <a:gd name="connsiteY282" fmla="*/ 498664 h 2017102"/>
                <a:gd name="connsiteX283" fmla="*/ 2786584 w 4011346"/>
                <a:gd name="connsiteY283" fmla="*/ 508675 h 2017102"/>
                <a:gd name="connsiteX284" fmla="*/ 2763224 w 4011346"/>
                <a:gd name="connsiteY284" fmla="*/ 528699 h 2017102"/>
                <a:gd name="connsiteX285" fmla="*/ 2769898 w 4011346"/>
                <a:gd name="connsiteY285" fmla="*/ 578757 h 2017102"/>
                <a:gd name="connsiteX286" fmla="*/ 2749875 w 4011346"/>
                <a:gd name="connsiteY286" fmla="*/ 562071 h 2017102"/>
                <a:gd name="connsiteX287" fmla="*/ 2733189 w 4011346"/>
                <a:gd name="connsiteY287" fmla="*/ 575420 h 2017102"/>
                <a:gd name="connsiteX288" fmla="*/ 2666444 w 4011346"/>
                <a:gd name="connsiteY288" fmla="*/ 565408 h 2017102"/>
                <a:gd name="connsiteX289" fmla="*/ 2636409 w 4011346"/>
                <a:gd name="connsiteY289" fmla="*/ 575420 h 2017102"/>
                <a:gd name="connsiteX290" fmla="*/ 2603037 w 4011346"/>
                <a:gd name="connsiteY290" fmla="*/ 535373 h 2017102"/>
                <a:gd name="connsiteX291" fmla="*/ 2569665 w 4011346"/>
                <a:gd name="connsiteY291" fmla="*/ 618804 h 2017102"/>
                <a:gd name="connsiteX292" fmla="*/ 2552979 w 4011346"/>
                <a:gd name="connsiteY292" fmla="*/ 638827 h 2017102"/>
                <a:gd name="connsiteX293" fmla="*/ 2469548 w 4011346"/>
                <a:gd name="connsiteY293" fmla="*/ 502001 h 2017102"/>
                <a:gd name="connsiteX294" fmla="*/ 2446187 w 4011346"/>
                <a:gd name="connsiteY294" fmla="*/ 518687 h 2017102"/>
                <a:gd name="connsiteX295" fmla="*/ 2442850 w 4011346"/>
                <a:gd name="connsiteY295" fmla="*/ 485315 h 2017102"/>
                <a:gd name="connsiteX296" fmla="*/ 2449525 w 4011346"/>
                <a:gd name="connsiteY296" fmla="*/ 415233 h 2017102"/>
                <a:gd name="connsiteX297" fmla="*/ 2386117 w 4011346"/>
                <a:gd name="connsiteY297" fmla="*/ 388535 h 2017102"/>
                <a:gd name="connsiteX298" fmla="*/ 2369431 w 4011346"/>
                <a:gd name="connsiteY298" fmla="*/ 428582 h 2017102"/>
                <a:gd name="connsiteX299" fmla="*/ 2379443 w 4011346"/>
                <a:gd name="connsiteY299" fmla="*/ 451942 h 2017102"/>
                <a:gd name="connsiteX300" fmla="*/ 2376106 w 4011346"/>
                <a:gd name="connsiteY300" fmla="*/ 471966 h 2017102"/>
                <a:gd name="connsiteX301" fmla="*/ 2352745 w 4011346"/>
                <a:gd name="connsiteY301" fmla="*/ 448605 h 2017102"/>
                <a:gd name="connsiteX302" fmla="*/ 2316036 w 4011346"/>
                <a:gd name="connsiteY302" fmla="*/ 455280 h 2017102"/>
                <a:gd name="connsiteX303" fmla="*/ 2272652 w 4011346"/>
                <a:gd name="connsiteY303" fmla="*/ 441931 h 2017102"/>
                <a:gd name="connsiteX304" fmla="*/ 2245954 w 4011346"/>
                <a:gd name="connsiteY304" fmla="*/ 401884 h 2017102"/>
                <a:gd name="connsiteX305" fmla="*/ 2209244 w 4011346"/>
                <a:gd name="connsiteY305" fmla="*/ 398547 h 2017102"/>
                <a:gd name="connsiteX306" fmla="*/ 2159186 w 4011346"/>
                <a:gd name="connsiteY306" fmla="*/ 388535 h 2017102"/>
                <a:gd name="connsiteX307" fmla="*/ 2132488 w 4011346"/>
                <a:gd name="connsiteY307" fmla="*/ 405221 h 2017102"/>
                <a:gd name="connsiteX308" fmla="*/ 2115802 w 4011346"/>
                <a:gd name="connsiteY308" fmla="*/ 418570 h 2017102"/>
                <a:gd name="connsiteX309" fmla="*/ 2115802 w 4011346"/>
                <a:gd name="connsiteY309" fmla="*/ 388535 h 2017102"/>
                <a:gd name="connsiteX310" fmla="*/ 2082430 w 4011346"/>
                <a:gd name="connsiteY310" fmla="*/ 385198 h 2017102"/>
                <a:gd name="connsiteX311" fmla="*/ 2045720 w 4011346"/>
                <a:gd name="connsiteY311" fmla="*/ 358500 h 2017102"/>
                <a:gd name="connsiteX312" fmla="*/ 2025697 w 4011346"/>
                <a:gd name="connsiteY312" fmla="*/ 388535 h 2017102"/>
                <a:gd name="connsiteX313" fmla="*/ 2055732 w 4011346"/>
                <a:gd name="connsiteY313" fmla="*/ 385198 h 2017102"/>
                <a:gd name="connsiteX314" fmla="*/ 2045720 w 4011346"/>
                <a:gd name="connsiteY314" fmla="*/ 411896 h 2017102"/>
                <a:gd name="connsiteX315" fmla="*/ 1988987 w 4011346"/>
                <a:gd name="connsiteY315" fmla="*/ 431919 h 2017102"/>
                <a:gd name="connsiteX316" fmla="*/ 1935592 w 4011346"/>
                <a:gd name="connsiteY316" fmla="*/ 441931 h 2017102"/>
                <a:gd name="connsiteX317" fmla="*/ 1995662 w 4011346"/>
                <a:gd name="connsiteY317" fmla="*/ 385198 h 2017102"/>
                <a:gd name="connsiteX318" fmla="*/ 2055732 w 4011346"/>
                <a:gd name="connsiteY318" fmla="*/ 315116 h 2017102"/>
                <a:gd name="connsiteX319" fmla="*/ 2055732 w 4011346"/>
                <a:gd name="connsiteY319" fmla="*/ 315116 h 2017102"/>
                <a:gd name="connsiteX320" fmla="*/ 2129860 w 4011346"/>
                <a:gd name="connsiteY320" fmla="*/ 245536 h 2017102"/>
                <a:gd name="connsiteX321" fmla="*/ 2127003 w 4011346"/>
                <a:gd name="connsiteY321" fmla="*/ 171242 h 2017102"/>
                <a:gd name="connsiteX322" fmla="*/ 2092713 w 4011346"/>
                <a:gd name="connsiteY322" fmla="*/ 102662 h 2017102"/>
                <a:gd name="connsiteX323" fmla="*/ 1952696 w 4011346"/>
                <a:gd name="connsiteY323" fmla="*/ 134093 h 2017102"/>
                <a:gd name="connsiteX324" fmla="*/ 1898403 w 4011346"/>
                <a:gd name="connsiteY324" fmla="*/ 39796 h 2017102"/>
                <a:gd name="connsiteX325" fmla="*/ 1877440 w 4011346"/>
                <a:gd name="connsiteY325" fmla="*/ 0 h 2017102"/>
                <a:gd name="connsiteX326" fmla="*/ 1835474 w 4011346"/>
                <a:gd name="connsiteY326" fmla="*/ 38128 h 2017102"/>
                <a:gd name="connsiteX327" fmla="*/ 1818788 w 4011346"/>
                <a:gd name="connsiteY327" fmla="*/ 78175 h 2017102"/>
                <a:gd name="connsiteX328" fmla="*/ 1838813 w 4011346"/>
                <a:gd name="connsiteY328" fmla="*/ 131569 h 2017102"/>
                <a:gd name="connsiteX329" fmla="*/ 1782079 w 4011346"/>
                <a:gd name="connsiteY329" fmla="*/ 118220 h 2017102"/>
                <a:gd name="connsiteX330" fmla="*/ 1768731 w 4011346"/>
                <a:gd name="connsiteY330" fmla="*/ 164942 h 2017102"/>
                <a:gd name="connsiteX331" fmla="*/ 1705322 w 4011346"/>
                <a:gd name="connsiteY331" fmla="*/ 188302 h 2017102"/>
                <a:gd name="connsiteX332" fmla="*/ 1685300 w 4011346"/>
                <a:gd name="connsiteY332" fmla="*/ 161604 h 2017102"/>
                <a:gd name="connsiteX333" fmla="*/ 1615218 w 4011346"/>
                <a:gd name="connsiteY333" fmla="*/ 164942 h 2017102"/>
                <a:gd name="connsiteX334" fmla="*/ 1638579 w 4011346"/>
                <a:gd name="connsiteY334" fmla="*/ 194977 h 2017102"/>
                <a:gd name="connsiteX335" fmla="*/ 1528449 w 4011346"/>
                <a:gd name="connsiteY335" fmla="*/ 221673 h 2017102"/>
                <a:gd name="connsiteX336" fmla="*/ 1465043 w 4011346"/>
                <a:gd name="connsiteY336" fmla="*/ 305104 h 2017102"/>
                <a:gd name="connsiteX337" fmla="*/ 1448357 w 4011346"/>
                <a:gd name="connsiteY337" fmla="*/ 331802 h 2017102"/>
                <a:gd name="connsiteX338" fmla="*/ 1481729 w 4011346"/>
                <a:gd name="connsiteY338" fmla="*/ 365175 h 2017102"/>
                <a:gd name="connsiteX339" fmla="*/ 1481729 w 4011346"/>
                <a:gd name="connsiteY339" fmla="*/ 395210 h 2017102"/>
                <a:gd name="connsiteX340" fmla="*/ 1458368 w 4011346"/>
                <a:gd name="connsiteY340" fmla="*/ 398547 h 2017102"/>
                <a:gd name="connsiteX341" fmla="*/ 1458368 w 4011346"/>
                <a:gd name="connsiteY341" fmla="*/ 378523 h 2017102"/>
                <a:gd name="connsiteX342" fmla="*/ 1418322 w 4011346"/>
                <a:gd name="connsiteY342" fmla="*/ 388535 h 2017102"/>
                <a:gd name="connsiteX343" fmla="*/ 1368263 w 4011346"/>
                <a:gd name="connsiteY343" fmla="*/ 395210 h 2017102"/>
                <a:gd name="connsiteX344" fmla="*/ 1321542 w 4011346"/>
                <a:gd name="connsiteY344" fmla="*/ 401884 h 2017102"/>
                <a:gd name="connsiteX345" fmla="*/ 1318205 w 4011346"/>
                <a:gd name="connsiteY345" fmla="*/ 488652 h 2017102"/>
                <a:gd name="connsiteX346" fmla="*/ 1358252 w 4011346"/>
                <a:gd name="connsiteY346" fmla="*/ 512013 h 2017102"/>
                <a:gd name="connsiteX347" fmla="*/ 1374938 w 4011346"/>
                <a:gd name="connsiteY347" fmla="*/ 542048 h 2017102"/>
                <a:gd name="connsiteX348" fmla="*/ 1384949 w 4011346"/>
                <a:gd name="connsiteY348" fmla="*/ 565408 h 2017102"/>
                <a:gd name="connsiteX349" fmla="*/ 1394961 w 4011346"/>
                <a:gd name="connsiteY349" fmla="*/ 615467 h 2017102"/>
                <a:gd name="connsiteX350" fmla="*/ 1384949 w 4011346"/>
                <a:gd name="connsiteY350" fmla="*/ 645502 h 2017102"/>
                <a:gd name="connsiteX351" fmla="*/ 1358252 w 4011346"/>
                <a:gd name="connsiteY351" fmla="*/ 612129 h 2017102"/>
                <a:gd name="connsiteX352" fmla="*/ 1361589 w 4011346"/>
                <a:gd name="connsiteY352" fmla="*/ 582094 h 2017102"/>
                <a:gd name="connsiteX353" fmla="*/ 1351577 w 4011346"/>
                <a:gd name="connsiteY353" fmla="*/ 542048 h 2017102"/>
                <a:gd name="connsiteX354" fmla="*/ 1328217 w 4011346"/>
                <a:gd name="connsiteY354" fmla="*/ 548722 h 2017102"/>
                <a:gd name="connsiteX355" fmla="*/ 1281495 w 4011346"/>
                <a:gd name="connsiteY355" fmla="*/ 512013 h 2017102"/>
                <a:gd name="connsiteX356" fmla="*/ 1241449 w 4011346"/>
                <a:gd name="connsiteY356" fmla="*/ 508675 h 2017102"/>
                <a:gd name="connsiteX357" fmla="*/ 1241449 w 4011346"/>
                <a:gd name="connsiteY357" fmla="*/ 555396 h 2017102"/>
                <a:gd name="connsiteX358" fmla="*/ 1201402 w 4011346"/>
                <a:gd name="connsiteY358" fmla="*/ 535373 h 2017102"/>
                <a:gd name="connsiteX359" fmla="*/ 1228100 w 4011346"/>
                <a:gd name="connsiteY359" fmla="*/ 585431 h 2017102"/>
                <a:gd name="connsiteX360" fmla="*/ 1258135 w 4011346"/>
                <a:gd name="connsiteY360" fmla="*/ 595443 h 2017102"/>
                <a:gd name="connsiteX361" fmla="*/ 1258135 w 4011346"/>
                <a:gd name="connsiteY361" fmla="*/ 615467 h 2017102"/>
                <a:gd name="connsiteX362" fmla="*/ 1198065 w 4011346"/>
                <a:gd name="connsiteY362" fmla="*/ 592106 h 2017102"/>
                <a:gd name="connsiteX363" fmla="*/ 1181379 w 4011346"/>
                <a:gd name="connsiteY363" fmla="*/ 592106 h 2017102"/>
                <a:gd name="connsiteX364" fmla="*/ 1178041 w 4011346"/>
                <a:gd name="connsiteY364" fmla="*/ 548722 h 2017102"/>
                <a:gd name="connsiteX365" fmla="*/ 1171367 w 4011346"/>
                <a:gd name="connsiteY365" fmla="*/ 461954 h 2017102"/>
                <a:gd name="connsiteX366" fmla="*/ 1161355 w 4011346"/>
                <a:gd name="connsiteY366" fmla="*/ 532036 h 2017102"/>
                <a:gd name="connsiteX367" fmla="*/ 1137995 w 4011346"/>
                <a:gd name="connsiteY367" fmla="*/ 562071 h 2017102"/>
                <a:gd name="connsiteX368" fmla="*/ 1158018 w 4011346"/>
                <a:gd name="connsiteY368" fmla="*/ 608792 h 2017102"/>
                <a:gd name="connsiteX369" fmla="*/ 1158018 w 4011346"/>
                <a:gd name="connsiteY369" fmla="*/ 642164 h 2017102"/>
                <a:gd name="connsiteX370" fmla="*/ 1141332 w 4011346"/>
                <a:gd name="connsiteY370" fmla="*/ 692223 h 2017102"/>
                <a:gd name="connsiteX371" fmla="*/ 1154681 w 4011346"/>
                <a:gd name="connsiteY371" fmla="*/ 725595 h 2017102"/>
                <a:gd name="connsiteX372" fmla="*/ 1184716 w 4011346"/>
                <a:gd name="connsiteY372" fmla="*/ 732269 h 2017102"/>
                <a:gd name="connsiteX373" fmla="*/ 1221425 w 4011346"/>
                <a:gd name="connsiteY373" fmla="*/ 738944 h 2017102"/>
                <a:gd name="connsiteX374" fmla="*/ 1241449 w 4011346"/>
                <a:gd name="connsiteY374" fmla="*/ 762304 h 2017102"/>
                <a:gd name="connsiteX375" fmla="*/ 1258135 w 4011346"/>
                <a:gd name="connsiteY375" fmla="*/ 805688 h 2017102"/>
                <a:gd name="connsiteX376" fmla="*/ 1258135 w 4011346"/>
                <a:gd name="connsiteY376" fmla="*/ 805688 h 2017102"/>
                <a:gd name="connsiteX377" fmla="*/ 1254798 w 4011346"/>
                <a:gd name="connsiteY377" fmla="*/ 839061 h 2017102"/>
                <a:gd name="connsiteX378" fmla="*/ 1274821 w 4011346"/>
                <a:gd name="connsiteY378" fmla="*/ 859084 h 2017102"/>
                <a:gd name="connsiteX379" fmla="*/ 1244786 w 4011346"/>
                <a:gd name="connsiteY379" fmla="*/ 865759 h 2017102"/>
                <a:gd name="connsiteX380" fmla="*/ 1224763 w 4011346"/>
                <a:gd name="connsiteY380" fmla="*/ 825712 h 2017102"/>
                <a:gd name="connsiteX381" fmla="*/ 1224763 w 4011346"/>
                <a:gd name="connsiteY381" fmla="*/ 785665 h 2017102"/>
                <a:gd name="connsiteX382" fmla="*/ 1194727 w 4011346"/>
                <a:gd name="connsiteY382" fmla="*/ 748956 h 2017102"/>
                <a:gd name="connsiteX383" fmla="*/ 1164692 w 4011346"/>
                <a:gd name="connsiteY383" fmla="*/ 792340 h 2017102"/>
                <a:gd name="connsiteX384" fmla="*/ 1178041 w 4011346"/>
                <a:gd name="connsiteY384" fmla="*/ 835723 h 2017102"/>
                <a:gd name="connsiteX385" fmla="*/ 1137995 w 4011346"/>
                <a:gd name="connsiteY385" fmla="*/ 892456 h 2017102"/>
                <a:gd name="connsiteX386" fmla="*/ 1097948 w 4011346"/>
                <a:gd name="connsiteY386" fmla="*/ 949189 h 2017102"/>
                <a:gd name="connsiteX387" fmla="*/ 1007843 w 4011346"/>
                <a:gd name="connsiteY387" fmla="*/ 912480 h 2017102"/>
                <a:gd name="connsiteX388" fmla="*/ 1074587 w 4011346"/>
                <a:gd name="connsiteY388" fmla="*/ 909142 h 2017102"/>
                <a:gd name="connsiteX389" fmla="*/ 1107960 w 4011346"/>
                <a:gd name="connsiteY389" fmla="*/ 845735 h 2017102"/>
                <a:gd name="connsiteX390" fmla="*/ 1121309 w 4011346"/>
                <a:gd name="connsiteY390" fmla="*/ 802351 h 2017102"/>
                <a:gd name="connsiteX391" fmla="*/ 1127983 w 4011346"/>
                <a:gd name="connsiteY391" fmla="*/ 768979 h 2017102"/>
                <a:gd name="connsiteX392" fmla="*/ 1117971 w 4011346"/>
                <a:gd name="connsiteY392" fmla="*/ 752293 h 2017102"/>
                <a:gd name="connsiteX393" fmla="*/ 1114634 w 4011346"/>
                <a:gd name="connsiteY393" fmla="*/ 702234 h 2017102"/>
                <a:gd name="connsiteX394" fmla="*/ 1104622 w 4011346"/>
                <a:gd name="connsiteY394" fmla="*/ 622141 h 2017102"/>
                <a:gd name="connsiteX395" fmla="*/ 1101285 w 4011346"/>
                <a:gd name="connsiteY395" fmla="*/ 562071 h 2017102"/>
                <a:gd name="connsiteX396" fmla="*/ 1124646 w 4011346"/>
                <a:gd name="connsiteY396" fmla="*/ 468629 h 2017102"/>
                <a:gd name="connsiteX397" fmla="*/ 1031203 w 4011346"/>
                <a:gd name="connsiteY397" fmla="*/ 458617 h 2017102"/>
                <a:gd name="connsiteX398" fmla="*/ 1014517 w 4011346"/>
                <a:gd name="connsiteY398" fmla="*/ 515350 h 2017102"/>
                <a:gd name="connsiteX399" fmla="*/ 1024529 w 4011346"/>
                <a:gd name="connsiteY399" fmla="*/ 562071 h 2017102"/>
                <a:gd name="connsiteX400" fmla="*/ 981145 w 4011346"/>
                <a:gd name="connsiteY400" fmla="*/ 615467 h 2017102"/>
                <a:gd name="connsiteX401" fmla="*/ 991157 w 4011346"/>
                <a:gd name="connsiteY401" fmla="*/ 652176 h 2017102"/>
                <a:gd name="connsiteX402" fmla="*/ 981145 w 4011346"/>
                <a:gd name="connsiteY402" fmla="*/ 698897 h 2017102"/>
                <a:gd name="connsiteX403" fmla="*/ 1001168 w 4011346"/>
                <a:gd name="connsiteY403" fmla="*/ 722258 h 2017102"/>
                <a:gd name="connsiteX404" fmla="*/ 1017854 w 4011346"/>
                <a:gd name="connsiteY404" fmla="*/ 768979 h 2017102"/>
                <a:gd name="connsiteX405" fmla="*/ 1047890 w 4011346"/>
                <a:gd name="connsiteY405" fmla="*/ 755630 h 2017102"/>
                <a:gd name="connsiteX406" fmla="*/ 1014517 w 4011346"/>
                <a:gd name="connsiteY406" fmla="*/ 809026 h 2017102"/>
                <a:gd name="connsiteX407" fmla="*/ 957784 w 4011346"/>
                <a:gd name="connsiteY407" fmla="*/ 755630 h 2017102"/>
                <a:gd name="connsiteX408" fmla="*/ 884365 w 4011346"/>
                <a:gd name="connsiteY408" fmla="*/ 718921 h 2017102"/>
                <a:gd name="connsiteX409" fmla="*/ 824295 w 4011346"/>
                <a:gd name="connsiteY409" fmla="*/ 695560 h 2017102"/>
                <a:gd name="connsiteX410" fmla="*/ 810946 w 4011346"/>
                <a:gd name="connsiteY410" fmla="*/ 732269 h 2017102"/>
                <a:gd name="connsiteX411" fmla="*/ 827633 w 4011346"/>
                <a:gd name="connsiteY411" fmla="*/ 768979 h 2017102"/>
                <a:gd name="connsiteX412" fmla="*/ 814284 w 4011346"/>
                <a:gd name="connsiteY412" fmla="*/ 792340 h 2017102"/>
                <a:gd name="connsiteX413" fmla="*/ 800935 w 4011346"/>
                <a:gd name="connsiteY413" fmla="*/ 809026 h 2017102"/>
                <a:gd name="connsiteX414" fmla="*/ 770900 w 4011346"/>
                <a:gd name="connsiteY414" fmla="*/ 752293 h 2017102"/>
                <a:gd name="connsiteX415" fmla="*/ 744202 w 4011346"/>
                <a:gd name="connsiteY415" fmla="*/ 789002 h 2017102"/>
                <a:gd name="connsiteX416" fmla="*/ 707492 w 4011346"/>
                <a:gd name="connsiteY416" fmla="*/ 782328 h 2017102"/>
                <a:gd name="connsiteX417" fmla="*/ 654097 w 4011346"/>
                <a:gd name="connsiteY417" fmla="*/ 819037 h 2017102"/>
                <a:gd name="connsiteX418" fmla="*/ 644085 w 4011346"/>
                <a:gd name="connsiteY418" fmla="*/ 795677 h 2017102"/>
                <a:gd name="connsiteX419" fmla="*/ 654097 w 4011346"/>
                <a:gd name="connsiteY419" fmla="*/ 758967 h 2017102"/>
                <a:gd name="connsiteX420" fmla="*/ 614050 w 4011346"/>
                <a:gd name="connsiteY420" fmla="*/ 795677 h 2017102"/>
                <a:gd name="connsiteX421" fmla="*/ 594027 w 4011346"/>
                <a:gd name="connsiteY421" fmla="*/ 795677 h 2017102"/>
                <a:gd name="connsiteX422" fmla="*/ 533957 w 4011346"/>
                <a:gd name="connsiteY422" fmla="*/ 829049 h 2017102"/>
                <a:gd name="connsiteX423" fmla="*/ 510596 w 4011346"/>
                <a:gd name="connsiteY423" fmla="*/ 852410 h 2017102"/>
                <a:gd name="connsiteX424" fmla="*/ 500584 w 4011346"/>
                <a:gd name="connsiteY424" fmla="*/ 899131 h 2017102"/>
                <a:gd name="connsiteX425" fmla="*/ 450526 w 4011346"/>
                <a:gd name="connsiteY425" fmla="*/ 885782 h 2017102"/>
                <a:gd name="connsiteX426" fmla="*/ 433840 w 4011346"/>
                <a:gd name="connsiteY426" fmla="*/ 849072 h 2017102"/>
                <a:gd name="connsiteX427" fmla="*/ 467212 w 4011346"/>
                <a:gd name="connsiteY427" fmla="*/ 819037 h 2017102"/>
                <a:gd name="connsiteX428" fmla="*/ 453863 w 4011346"/>
                <a:gd name="connsiteY428" fmla="*/ 795677 h 2017102"/>
                <a:gd name="connsiteX429" fmla="*/ 390456 w 4011346"/>
                <a:gd name="connsiteY429" fmla="*/ 765642 h 2017102"/>
                <a:gd name="connsiteX430" fmla="*/ 417154 w 4011346"/>
                <a:gd name="connsiteY430" fmla="*/ 815700 h 2017102"/>
                <a:gd name="connsiteX431" fmla="*/ 407142 w 4011346"/>
                <a:gd name="connsiteY431" fmla="*/ 859084 h 2017102"/>
                <a:gd name="connsiteX432" fmla="*/ 413817 w 4011346"/>
                <a:gd name="connsiteY432" fmla="*/ 895794 h 2017102"/>
                <a:gd name="connsiteX433" fmla="*/ 427165 w 4011346"/>
                <a:gd name="connsiteY433" fmla="*/ 919154 h 2017102"/>
                <a:gd name="connsiteX434" fmla="*/ 413817 w 4011346"/>
                <a:gd name="connsiteY434" fmla="*/ 949189 h 2017102"/>
                <a:gd name="connsiteX435" fmla="*/ 390456 w 4011346"/>
                <a:gd name="connsiteY435" fmla="*/ 925829 h 2017102"/>
                <a:gd name="connsiteX436" fmla="*/ 360421 w 4011346"/>
                <a:gd name="connsiteY436" fmla="*/ 922491 h 2017102"/>
                <a:gd name="connsiteX437" fmla="*/ 333723 w 4011346"/>
                <a:gd name="connsiteY437" fmla="*/ 962538 h 2017102"/>
                <a:gd name="connsiteX438" fmla="*/ 307025 w 4011346"/>
                <a:gd name="connsiteY438" fmla="*/ 982561 h 2017102"/>
                <a:gd name="connsiteX439" fmla="*/ 320374 w 4011346"/>
                <a:gd name="connsiteY439" fmla="*/ 1009259 h 2017102"/>
                <a:gd name="connsiteX440" fmla="*/ 303688 w 4011346"/>
                <a:gd name="connsiteY440" fmla="*/ 1032620 h 2017102"/>
                <a:gd name="connsiteX441" fmla="*/ 233606 w 4011346"/>
                <a:gd name="connsiteY441" fmla="*/ 995910 h 2017102"/>
                <a:gd name="connsiteX442" fmla="*/ 243618 w 4011346"/>
                <a:gd name="connsiteY442" fmla="*/ 1045969 h 2017102"/>
                <a:gd name="connsiteX443" fmla="*/ 263641 w 4011346"/>
                <a:gd name="connsiteY443" fmla="*/ 1065992 h 2017102"/>
                <a:gd name="connsiteX444" fmla="*/ 250292 w 4011346"/>
                <a:gd name="connsiteY444" fmla="*/ 1079341 h 2017102"/>
                <a:gd name="connsiteX445" fmla="*/ 193560 w 4011346"/>
                <a:gd name="connsiteY445" fmla="*/ 1042631 h 2017102"/>
                <a:gd name="connsiteX446" fmla="*/ 170199 w 4011346"/>
                <a:gd name="connsiteY446" fmla="*/ 1002585 h 2017102"/>
                <a:gd name="connsiteX447" fmla="*/ 170199 w 4011346"/>
                <a:gd name="connsiteY447" fmla="*/ 955864 h 2017102"/>
                <a:gd name="connsiteX448" fmla="*/ 133490 w 4011346"/>
                <a:gd name="connsiteY448" fmla="*/ 879107 h 2017102"/>
                <a:gd name="connsiteX449" fmla="*/ 196897 w 4011346"/>
                <a:gd name="connsiteY449" fmla="*/ 909142 h 2017102"/>
                <a:gd name="connsiteX450" fmla="*/ 256967 w 4011346"/>
                <a:gd name="connsiteY450" fmla="*/ 939177 h 2017102"/>
                <a:gd name="connsiteX451" fmla="*/ 293676 w 4011346"/>
                <a:gd name="connsiteY451" fmla="*/ 942515 h 2017102"/>
                <a:gd name="connsiteX452" fmla="*/ 327049 w 4011346"/>
                <a:gd name="connsiteY452" fmla="*/ 912480 h 2017102"/>
                <a:gd name="connsiteX453" fmla="*/ 343735 w 4011346"/>
                <a:gd name="connsiteY453" fmla="*/ 875770 h 2017102"/>
                <a:gd name="connsiteX454" fmla="*/ 333723 w 4011346"/>
                <a:gd name="connsiteY454" fmla="*/ 825712 h 2017102"/>
                <a:gd name="connsiteX455" fmla="*/ 290339 w 4011346"/>
                <a:gd name="connsiteY455" fmla="*/ 805688 h 2017102"/>
                <a:gd name="connsiteX456" fmla="*/ 236944 w 4011346"/>
                <a:gd name="connsiteY456" fmla="*/ 758967 h 2017102"/>
                <a:gd name="connsiteX457" fmla="*/ 133490 w 4011346"/>
                <a:gd name="connsiteY457" fmla="*/ 702234 h 2017102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09833 w 4011346"/>
                <a:gd name="connsiteY324" fmla="*/ 0 h 2020169"/>
                <a:gd name="connsiteX325" fmla="*/ 1877440 w 4011346"/>
                <a:gd name="connsiteY325" fmla="*/ 3067 h 2020169"/>
                <a:gd name="connsiteX326" fmla="*/ 1835474 w 4011346"/>
                <a:gd name="connsiteY326" fmla="*/ 41195 h 2020169"/>
                <a:gd name="connsiteX327" fmla="*/ 1818788 w 4011346"/>
                <a:gd name="connsiteY327" fmla="*/ 81242 h 2020169"/>
                <a:gd name="connsiteX328" fmla="*/ 1838813 w 4011346"/>
                <a:gd name="connsiteY328" fmla="*/ 134636 h 2020169"/>
                <a:gd name="connsiteX329" fmla="*/ 1782079 w 4011346"/>
                <a:gd name="connsiteY329" fmla="*/ 121287 h 2020169"/>
                <a:gd name="connsiteX330" fmla="*/ 1768731 w 4011346"/>
                <a:gd name="connsiteY330" fmla="*/ 168009 h 2020169"/>
                <a:gd name="connsiteX331" fmla="*/ 1705322 w 4011346"/>
                <a:gd name="connsiteY331" fmla="*/ 191369 h 2020169"/>
                <a:gd name="connsiteX332" fmla="*/ 1685300 w 4011346"/>
                <a:gd name="connsiteY332" fmla="*/ 164671 h 2020169"/>
                <a:gd name="connsiteX333" fmla="*/ 1615218 w 4011346"/>
                <a:gd name="connsiteY333" fmla="*/ 168009 h 2020169"/>
                <a:gd name="connsiteX334" fmla="*/ 1638579 w 4011346"/>
                <a:gd name="connsiteY334" fmla="*/ 198044 h 2020169"/>
                <a:gd name="connsiteX335" fmla="*/ 1528449 w 4011346"/>
                <a:gd name="connsiteY335" fmla="*/ 224740 h 2020169"/>
                <a:gd name="connsiteX336" fmla="*/ 1465043 w 4011346"/>
                <a:gd name="connsiteY336" fmla="*/ 308171 h 2020169"/>
                <a:gd name="connsiteX337" fmla="*/ 1448357 w 4011346"/>
                <a:gd name="connsiteY337" fmla="*/ 334869 h 2020169"/>
                <a:gd name="connsiteX338" fmla="*/ 1481729 w 4011346"/>
                <a:gd name="connsiteY338" fmla="*/ 368242 h 2020169"/>
                <a:gd name="connsiteX339" fmla="*/ 1481729 w 4011346"/>
                <a:gd name="connsiteY339" fmla="*/ 398277 h 2020169"/>
                <a:gd name="connsiteX340" fmla="*/ 1458368 w 4011346"/>
                <a:gd name="connsiteY340" fmla="*/ 401614 h 2020169"/>
                <a:gd name="connsiteX341" fmla="*/ 1458368 w 4011346"/>
                <a:gd name="connsiteY341" fmla="*/ 381590 h 2020169"/>
                <a:gd name="connsiteX342" fmla="*/ 1418322 w 4011346"/>
                <a:gd name="connsiteY342" fmla="*/ 391602 h 2020169"/>
                <a:gd name="connsiteX343" fmla="*/ 1368263 w 4011346"/>
                <a:gd name="connsiteY343" fmla="*/ 398277 h 2020169"/>
                <a:gd name="connsiteX344" fmla="*/ 1321542 w 4011346"/>
                <a:gd name="connsiteY344" fmla="*/ 404951 h 2020169"/>
                <a:gd name="connsiteX345" fmla="*/ 1318205 w 4011346"/>
                <a:gd name="connsiteY345" fmla="*/ 491719 h 2020169"/>
                <a:gd name="connsiteX346" fmla="*/ 1358252 w 4011346"/>
                <a:gd name="connsiteY346" fmla="*/ 515080 h 2020169"/>
                <a:gd name="connsiteX347" fmla="*/ 1374938 w 4011346"/>
                <a:gd name="connsiteY347" fmla="*/ 545115 h 2020169"/>
                <a:gd name="connsiteX348" fmla="*/ 1384949 w 4011346"/>
                <a:gd name="connsiteY348" fmla="*/ 568475 h 2020169"/>
                <a:gd name="connsiteX349" fmla="*/ 1394961 w 4011346"/>
                <a:gd name="connsiteY349" fmla="*/ 618534 h 2020169"/>
                <a:gd name="connsiteX350" fmla="*/ 1384949 w 4011346"/>
                <a:gd name="connsiteY350" fmla="*/ 648569 h 2020169"/>
                <a:gd name="connsiteX351" fmla="*/ 1358252 w 4011346"/>
                <a:gd name="connsiteY351" fmla="*/ 615196 h 2020169"/>
                <a:gd name="connsiteX352" fmla="*/ 1361589 w 4011346"/>
                <a:gd name="connsiteY352" fmla="*/ 585161 h 2020169"/>
                <a:gd name="connsiteX353" fmla="*/ 1351577 w 4011346"/>
                <a:gd name="connsiteY353" fmla="*/ 545115 h 2020169"/>
                <a:gd name="connsiteX354" fmla="*/ 1328217 w 4011346"/>
                <a:gd name="connsiteY354" fmla="*/ 551789 h 2020169"/>
                <a:gd name="connsiteX355" fmla="*/ 1281495 w 4011346"/>
                <a:gd name="connsiteY355" fmla="*/ 515080 h 2020169"/>
                <a:gd name="connsiteX356" fmla="*/ 1241449 w 4011346"/>
                <a:gd name="connsiteY356" fmla="*/ 511742 h 2020169"/>
                <a:gd name="connsiteX357" fmla="*/ 1241449 w 4011346"/>
                <a:gd name="connsiteY357" fmla="*/ 558463 h 2020169"/>
                <a:gd name="connsiteX358" fmla="*/ 1201402 w 4011346"/>
                <a:gd name="connsiteY358" fmla="*/ 538440 h 2020169"/>
                <a:gd name="connsiteX359" fmla="*/ 1228100 w 4011346"/>
                <a:gd name="connsiteY359" fmla="*/ 588498 h 2020169"/>
                <a:gd name="connsiteX360" fmla="*/ 1258135 w 4011346"/>
                <a:gd name="connsiteY360" fmla="*/ 598510 h 2020169"/>
                <a:gd name="connsiteX361" fmla="*/ 1258135 w 4011346"/>
                <a:gd name="connsiteY361" fmla="*/ 618534 h 2020169"/>
                <a:gd name="connsiteX362" fmla="*/ 1198065 w 4011346"/>
                <a:gd name="connsiteY362" fmla="*/ 595173 h 2020169"/>
                <a:gd name="connsiteX363" fmla="*/ 1181379 w 4011346"/>
                <a:gd name="connsiteY363" fmla="*/ 595173 h 2020169"/>
                <a:gd name="connsiteX364" fmla="*/ 1178041 w 4011346"/>
                <a:gd name="connsiteY364" fmla="*/ 551789 h 2020169"/>
                <a:gd name="connsiteX365" fmla="*/ 1171367 w 4011346"/>
                <a:gd name="connsiteY365" fmla="*/ 465021 h 2020169"/>
                <a:gd name="connsiteX366" fmla="*/ 1161355 w 4011346"/>
                <a:gd name="connsiteY366" fmla="*/ 535103 h 2020169"/>
                <a:gd name="connsiteX367" fmla="*/ 1137995 w 4011346"/>
                <a:gd name="connsiteY367" fmla="*/ 565138 h 2020169"/>
                <a:gd name="connsiteX368" fmla="*/ 1158018 w 4011346"/>
                <a:gd name="connsiteY368" fmla="*/ 611859 h 2020169"/>
                <a:gd name="connsiteX369" fmla="*/ 1158018 w 4011346"/>
                <a:gd name="connsiteY369" fmla="*/ 645231 h 2020169"/>
                <a:gd name="connsiteX370" fmla="*/ 1141332 w 4011346"/>
                <a:gd name="connsiteY370" fmla="*/ 695290 h 2020169"/>
                <a:gd name="connsiteX371" fmla="*/ 1154681 w 4011346"/>
                <a:gd name="connsiteY371" fmla="*/ 728662 h 2020169"/>
                <a:gd name="connsiteX372" fmla="*/ 1184716 w 4011346"/>
                <a:gd name="connsiteY372" fmla="*/ 735336 h 2020169"/>
                <a:gd name="connsiteX373" fmla="*/ 1221425 w 4011346"/>
                <a:gd name="connsiteY373" fmla="*/ 742011 h 2020169"/>
                <a:gd name="connsiteX374" fmla="*/ 1241449 w 4011346"/>
                <a:gd name="connsiteY374" fmla="*/ 765371 h 2020169"/>
                <a:gd name="connsiteX375" fmla="*/ 1258135 w 4011346"/>
                <a:gd name="connsiteY375" fmla="*/ 808755 h 2020169"/>
                <a:gd name="connsiteX376" fmla="*/ 1258135 w 4011346"/>
                <a:gd name="connsiteY376" fmla="*/ 808755 h 2020169"/>
                <a:gd name="connsiteX377" fmla="*/ 1254798 w 4011346"/>
                <a:gd name="connsiteY377" fmla="*/ 842128 h 2020169"/>
                <a:gd name="connsiteX378" fmla="*/ 1274821 w 4011346"/>
                <a:gd name="connsiteY378" fmla="*/ 862151 h 2020169"/>
                <a:gd name="connsiteX379" fmla="*/ 1244786 w 4011346"/>
                <a:gd name="connsiteY379" fmla="*/ 868826 h 2020169"/>
                <a:gd name="connsiteX380" fmla="*/ 1224763 w 4011346"/>
                <a:gd name="connsiteY380" fmla="*/ 828779 h 2020169"/>
                <a:gd name="connsiteX381" fmla="*/ 1224763 w 4011346"/>
                <a:gd name="connsiteY381" fmla="*/ 788732 h 2020169"/>
                <a:gd name="connsiteX382" fmla="*/ 1194727 w 4011346"/>
                <a:gd name="connsiteY382" fmla="*/ 752023 h 2020169"/>
                <a:gd name="connsiteX383" fmla="*/ 1164692 w 4011346"/>
                <a:gd name="connsiteY383" fmla="*/ 795407 h 2020169"/>
                <a:gd name="connsiteX384" fmla="*/ 1178041 w 4011346"/>
                <a:gd name="connsiteY384" fmla="*/ 838790 h 2020169"/>
                <a:gd name="connsiteX385" fmla="*/ 1137995 w 4011346"/>
                <a:gd name="connsiteY385" fmla="*/ 895523 h 2020169"/>
                <a:gd name="connsiteX386" fmla="*/ 1097948 w 4011346"/>
                <a:gd name="connsiteY386" fmla="*/ 952256 h 2020169"/>
                <a:gd name="connsiteX387" fmla="*/ 1007843 w 4011346"/>
                <a:gd name="connsiteY387" fmla="*/ 915547 h 2020169"/>
                <a:gd name="connsiteX388" fmla="*/ 1074587 w 4011346"/>
                <a:gd name="connsiteY388" fmla="*/ 912209 h 2020169"/>
                <a:gd name="connsiteX389" fmla="*/ 1107960 w 4011346"/>
                <a:gd name="connsiteY389" fmla="*/ 848802 h 2020169"/>
                <a:gd name="connsiteX390" fmla="*/ 1121309 w 4011346"/>
                <a:gd name="connsiteY390" fmla="*/ 805418 h 2020169"/>
                <a:gd name="connsiteX391" fmla="*/ 1127983 w 4011346"/>
                <a:gd name="connsiteY391" fmla="*/ 772046 h 2020169"/>
                <a:gd name="connsiteX392" fmla="*/ 1117971 w 4011346"/>
                <a:gd name="connsiteY392" fmla="*/ 755360 h 2020169"/>
                <a:gd name="connsiteX393" fmla="*/ 1114634 w 4011346"/>
                <a:gd name="connsiteY393" fmla="*/ 705301 h 2020169"/>
                <a:gd name="connsiteX394" fmla="*/ 1104622 w 4011346"/>
                <a:gd name="connsiteY394" fmla="*/ 625208 h 2020169"/>
                <a:gd name="connsiteX395" fmla="*/ 1101285 w 4011346"/>
                <a:gd name="connsiteY395" fmla="*/ 565138 h 2020169"/>
                <a:gd name="connsiteX396" fmla="*/ 1124646 w 4011346"/>
                <a:gd name="connsiteY396" fmla="*/ 471696 h 2020169"/>
                <a:gd name="connsiteX397" fmla="*/ 1031203 w 4011346"/>
                <a:gd name="connsiteY397" fmla="*/ 461684 h 2020169"/>
                <a:gd name="connsiteX398" fmla="*/ 1014517 w 4011346"/>
                <a:gd name="connsiteY398" fmla="*/ 518417 h 2020169"/>
                <a:gd name="connsiteX399" fmla="*/ 1024529 w 4011346"/>
                <a:gd name="connsiteY399" fmla="*/ 565138 h 2020169"/>
                <a:gd name="connsiteX400" fmla="*/ 981145 w 4011346"/>
                <a:gd name="connsiteY400" fmla="*/ 618534 h 2020169"/>
                <a:gd name="connsiteX401" fmla="*/ 991157 w 4011346"/>
                <a:gd name="connsiteY401" fmla="*/ 655243 h 2020169"/>
                <a:gd name="connsiteX402" fmla="*/ 981145 w 4011346"/>
                <a:gd name="connsiteY402" fmla="*/ 701964 h 2020169"/>
                <a:gd name="connsiteX403" fmla="*/ 1001168 w 4011346"/>
                <a:gd name="connsiteY403" fmla="*/ 725325 h 2020169"/>
                <a:gd name="connsiteX404" fmla="*/ 1017854 w 4011346"/>
                <a:gd name="connsiteY404" fmla="*/ 772046 h 2020169"/>
                <a:gd name="connsiteX405" fmla="*/ 1047890 w 4011346"/>
                <a:gd name="connsiteY405" fmla="*/ 758697 h 2020169"/>
                <a:gd name="connsiteX406" fmla="*/ 1014517 w 4011346"/>
                <a:gd name="connsiteY406" fmla="*/ 812093 h 2020169"/>
                <a:gd name="connsiteX407" fmla="*/ 957784 w 4011346"/>
                <a:gd name="connsiteY407" fmla="*/ 758697 h 2020169"/>
                <a:gd name="connsiteX408" fmla="*/ 884365 w 4011346"/>
                <a:gd name="connsiteY408" fmla="*/ 721988 h 2020169"/>
                <a:gd name="connsiteX409" fmla="*/ 824295 w 4011346"/>
                <a:gd name="connsiteY409" fmla="*/ 698627 h 2020169"/>
                <a:gd name="connsiteX410" fmla="*/ 810946 w 4011346"/>
                <a:gd name="connsiteY410" fmla="*/ 735336 h 2020169"/>
                <a:gd name="connsiteX411" fmla="*/ 827633 w 4011346"/>
                <a:gd name="connsiteY411" fmla="*/ 772046 h 2020169"/>
                <a:gd name="connsiteX412" fmla="*/ 814284 w 4011346"/>
                <a:gd name="connsiteY412" fmla="*/ 795407 h 2020169"/>
                <a:gd name="connsiteX413" fmla="*/ 800935 w 4011346"/>
                <a:gd name="connsiteY413" fmla="*/ 812093 h 2020169"/>
                <a:gd name="connsiteX414" fmla="*/ 770900 w 4011346"/>
                <a:gd name="connsiteY414" fmla="*/ 755360 h 2020169"/>
                <a:gd name="connsiteX415" fmla="*/ 744202 w 4011346"/>
                <a:gd name="connsiteY415" fmla="*/ 792069 h 2020169"/>
                <a:gd name="connsiteX416" fmla="*/ 707492 w 4011346"/>
                <a:gd name="connsiteY416" fmla="*/ 785395 h 2020169"/>
                <a:gd name="connsiteX417" fmla="*/ 654097 w 4011346"/>
                <a:gd name="connsiteY417" fmla="*/ 822104 h 2020169"/>
                <a:gd name="connsiteX418" fmla="*/ 644085 w 4011346"/>
                <a:gd name="connsiteY418" fmla="*/ 798744 h 2020169"/>
                <a:gd name="connsiteX419" fmla="*/ 654097 w 4011346"/>
                <a:gd name="connsiteY419" fmla="*/ 762034 h 2020169"/>
                <a:gd name="connsiteX420" fmla="*/ 614050 w 4011346"/>
                <a:gd name="connsiteY420" fmla="*/ 798744 h 2020169"/>
                <a:gd name="connsiteX421" fmla="*/ 594027 w 4011346"/>
                <a:gd name="connsiteY421" fmla="*/ 798744 h 2020169"/>
                <a:gd name="connsiteX422" fmla="*/ 533957 w 4011346"/>
                <a:gd name="connsiteY422" fmla="*/ 832116 h 2020169"/>
                <a:gd name="connsiteX423" fmla="*/ 510596 w 4011346"/>
                <a:gd name="connsiteY423" fmla="*/ 855477 h 2020169"/>
                <a:gd name="connsiteX424" fmla="*/ 500584 w 4011346"/>
                <a:gd name="connsiteY424" fmla="*/ 902198 h 2020169"/>
                <a:gd name="connsiteX425" fmla="*/ 450526 w 4011346"/>
                <a:gd name="connsiteY425" fmla="*/ 888849 h 2020169"/>
                <a:gd name="connsiteX426" fmla="*/ 433840 w 4011346"/>
                <a:gd name="connsiteY426" fmla="*/ 852139 h 2020169"/>
                <a:gd name="connsiteX427" fmla="*/ 467212 w 4011346"/>
                <a:gd name="connsiteY427" fmla="*/ 822104 h 2020169"/>
                <a:gd name="connsiteX428" fmla="*/ 453863 w 4011346"/>
                <a:gd name="connsiteY428" fmla="*/ 798744 h 2020169"/>
                <a:gd name="connsiteX429" fmla="*/ 390456 w 4011346"/>
                <a:gd name="connsiteY429" fmla="*/ 768709 h 2020169"/>
                <a:gd name="connsiteX430" fmla="*/ 417154 w 4011346"/>
                <a:gd name="connsiteY430" fmla="*/ 818767 h 2020169"/>
                <a:gd name="connsiteX431" fmla="*/ 407142 w 4011346"/>
                <a:gd name="connsiteY431" fmla="*/ 862151 h 2020169"/>
                <a:gd name="connsiteX432" fmla="*/ 413817 w 4011346"/>
                <a:gd name="connsiteY432" fmla="*/ 898861 h 2020169"/>
                <a:gd name="connsiteX433" fmla="*/ 427165 w 4011346"/>
                <a:gd name="connsiteY433" fmla="*/ 922221 h 2020169"/>
                <a:gd name="connsiteX434" fmla="*/ 413817 w 4011346"/>
                <a:gd name="connsiteY434" fmla="*/ 952256 h 2020169"/>
                <a:gd name="connsiteX435" fmla="*/ 390456 w 4011346"/>
                <a:gd name="connsiteY435" fmla="*/ 928896 h 2020169"/>
                <a:gd name="connsiteX436" fmla="*/ 360421 w 4011346"/>
                <a:gd name="connsiteY436" fmla="*/ 925558 h 2020169"/>
                <a:gd name="connsiteX437" fmla="*/ 333723 w 4011346"/>
                <a:gd name="connsiteY437" fmla="*/ 965605 h 2020169"/>
                <a:gd name="connsiteX438" fmla="*/ 307025 w 4011346"/>
                <a:gd name="connsiteY438" fmla="*/ 985628 h 2020169"/>
                <a:gd name="connsiteX439" fmla="*/ 320374 w 4011346"/>
                <a:gd name="connsiteY439" fmla="*/ 1012326 h 2020169"/>
                <a:gd name="connsiteX440" fmla="*/ 303688 w 4011346"/>
                <a:gd name="connsiteY440" fmla="*/ 1035687 h 2020169"/>
                <a:gd name="connsiteX441" fmla="*/ 233606 w 4011346"/>
                <a:gd name="connsiteY441" fmla="*/ 998977 h 2020169"/>
                <a:gd name="connsiteX442" fmla="*/ 243618 w 4011346"/>
                <a:gd name="connsiteY442" fmla="*/ 1049036 h 2020169"/>
                <a:gd name="connsiteX443" fmla="*/ 263641 w 4011346"/>
                <a:gd name="connsiteY443" fmla="*/ 1069059 h 2020169"/>
                <a:gd name="connsiteX444" fmla="*/ 250292 w 4011346"/>
                <a:gd name="connsiteY444" fmla="*/ 1082408 h 2020169"/>
                <a:gd name="connsiteX445" fmla="*/ 193560 w 4011346"/>
                <a:gd name="connsiteY445" fmla="*/ 1045698 h 2020169"/>
                <a:gd name="connsiteX446" fmla="*/ 170199 w 4011346"/>
                <a:gd name="connsiteY446" fmla="*/ 1005652 h 2020169"/>
                <a:gd name="connsiteX447" fmla="*/ 170199 w 4011346"/>
                <a:gd name="connsiteY447" fmla="*/ 958931 h 2020169"/>
                <a:gd name="connsiteX448" fmla="*/ 133490 w 4011346"/>
                <a:gd name="connsiteY448" fmla="*/ 882174 h 2020169"/>
                <a:gd name="connsiteX449" fmla="*/ 196897 w 4011346"/>
                <a:gd name="connsiteY449" fmla="*/ 912209 h 2020169"/>
                <a:gd name="connsiteX450" fmla="*/ 256967 w 4011346"/>
                <a:gd name="connsiteY450" fmla="*/ 942244 h 2020169"/>
                <a:gd name="connsiteX451" fmla="*/ 293676 w 4011346"/>
                <a:gd name="connsiteY451" fmla="*/ 945582 h 2020169"/>
                <a:gd name="connsiteX452" fmla="*/ 327049 w 4011346"/>
                <a:gd name="connsiteY452" fmla="*/ 915547 h 2020169"/>
                <a:gd name="connsiteX453" fmla="*/ 343735 w 4011346"/>
                <a:gd name="connsiteY453" fmla="*/ 878837 h 2020169"/>
                <a:gd name="connsiteX454" fmla="*/ 333723 w 4011346"/>
                <a:gd name="connsiteY454" fmla="*/ 828779 h 2020169"/>
                <a:gd name="connsiteX455" fmla="*/ 290339 w 4011346"/>
                <a:gd name="connsiteY455" fmla="*/ 808755 h 2020169"/>
                <a:gd name="connsiteX456" fmla="*/ 236944 w 4011346"/>
                <a:gd name="connsiteY456" fmla="*/ 762034 h 2020169"/>
                <a:gd name="connsiteX457" fmla="*/ 133490 w 4011346"/>
                <a:gd name="connsiteY457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32693 w 4011346"/>
                <a:gd name="connsiteY324" fmla="*/ 77154 h 2020169"/>
                <a:gd name="connsiteX325" fmla="*/ 1909833 w 4011346"/>
                <a:gd name="connsiteY325" fmla="*/ 0 h 2020169"/>
                <a:gd name="connsiteX326" fmla="*/ 1877440 w 4011346"/>
                <a:gd name="connsiteY326" fmla="*/ 3067 h 2020169"/>
                <a:gd name="connsiteX327" fmla="*/ 1835474 w 4011346"/>
                <a:gd name="connsiteY327" fmla="*/ 41195 h 2020169"/>
                <a:gd name="connsiteX328" fmla="*/ 1818788 w 4011346"/>
                <a:gd name="connsiteY328" fmla="*/ 81242 h 2020169"/>
                <a:gd name="connsiteX329" fmla="*/ 1838813 w 4011346"/>
                <a:gd name="connsiteY329" fmla="*/ 134636 h 2020169"/>
                <a:gd name="connsiteX330" fmla="*/ 1782079 w 4011346"/>
                <a:gd name="connsiteY330" fmla="*/ 121287 h 2020169"/>
                <a:gd name="connsiteX331" fmla="*/ 1768731 w 4011346"/>
                <a:gd name="connsiteY331" fmla="*/ 168009 h 2020169"/>
                <a:gd name="connsiteX332" fmla="*/ 1705322 w 4011346"/>
                <a:gd name="connsiteY332" fmla="*/ 191369 h 2020169"/>
                <a:gd name="connsiteX333" fmla="*/ 1685300 w 4011346"/>
                <a:gd name="connsiteY333" fmla="*/ 164671 h 2020169"/>
                <a:gd name="connsiteX334" fmla="*/ 1615218 w 4011346"/>
                <a:gd name="connsiteY334" fmla="*/ 168009 h 2020169"/>
                <a:gd name="connsiteX335" fmla="*/ 1638579 w 4011346"/>
                <a:gd name="connsiteY335" fmla="*/ 198044 h 2020169"/>
                <a:gd name="connsiteX336" fmla="*/ 1528449 w 4011346"/>
                <a:gd name="connsiteY336" fmla="*/ 224740 h 2020169"/>
                <a:gd name="connsiteX337" fmla="*/ 1465043 w 4011346"/>
                <a:gd name="connsiteY337" fmla="*/ 308171 h 2020169"/>
                <a:gd name="connsiteX338" fmla="*/ 1448357 w 4011346"/>
                <a:gd name="connsiteY338" fmla="*/ 334869 h 2020169"/>
                <a:gd name="connsiteX339" fmla="*/ 1481729 w 4011346"/>
                <a:gd name="connsiteY339" fmla="*/ 368242 h 2020169"/>
                <a:gd name="connsiteX340" fmla="*/ 1481729 w 4011346"/>
                <a:gd name="connsiteY340" fmla="*/ 398277 h 2020169"/>
                <a:gd name="connsiteX341" fmla="*/ 1458368 w 4011346"/>
                <a:gd name="connsiteY341" fmla="*/ 401614 h 2020169"/>
                <a:gd name="connsiteX342" fmla="*/ 1458368 w 4011346"/>
                <a:gd name="connsiteY342" fmla="*/ 381590 h 2020169"/>
                <a:gd name="connsiteX343" fmla="*/ 1418322 w 4011346"/>
                <a:gd name="connsiteY343" fmla="*/ 391602 h 2020169"/>
                <a:gd name="connsiteX344" fmla="*/ 1368263 w 4011346"/>
                <a:gd name="connsiteY344" fmla="*/ 398277 h 2020169"/>
                <a:gd name="connsiteX345" fmla="*/ 1321542 w 4011346"/>
                <a:gd name="connsiteY345" fmla="*/ 404951 h 2020169"/>
                <a:gd name="connsiteX346" fmla="*/ 1318205 w 4011346"/>
                <a:gd name="connsiteY346" fmla="*/ 491719 h 2020169"/>
                <a:gd name="connsiteX347" fmla="*/ 1358252 w 4011346"/>
                <a:gd name="connsiteY347" fmla="*/ 515080 h 2020169"/>
                <a:gd name="connsiteX348" fmla="*/ 1374938 w 4011346"/>
                <a:gd name="connsiteY348" fmla="*/ 545115 h 2020169"/>
                <a:gd name="connsiteX349" fmla="*/ 1384949 w 4011346"/>
                <a:gd name="connsiteY349" fmla="*/ 568475 h 2020169"/>
                <a:gd name="connsiteX350" fmla="*/ 1394961 w 4011346"/>
                <a:gd name="connsiteY350" fmla="*/ 618534 h 2020169"/>
                <a:gd name="connsiteX351" fmla="*/ 1384949 w 4011346"/>
                <a:gd name="connsiteY351" fmla="*/ 648569 h 2020169"/>
                <a:gd name="connsiteX352" fmla="*/ 1358252 w 4011346"/>
                <a:gd name="connsiteY352" fmla="*/ 615196 h 2020169"/>
                <a:gd name="connsiteX353" fmla="*/ 1361589 w 4011346"/>
                <a:gd name="connsiteY353" fmla="*/ 585161 h 2020169"/>
                <a:gd name="connsiteX354" fmla="*/ 1351577 w 4011346"/>
                <a:gd name="connsiteY354" fmla="*/ 545115 h 2020169"/>
                <a:gd name="connsiteX355" fmla="*/ 1328217 w 4011346"/>
                <a:gd name="connsiteY355" fmla="*/ 551789 h 2020169"/>
                <a:gd name="connsiteX356" fmla="*/ 1281495 w 4011346"/>
                <a:gd name="connsiteY356" fmla="*/ 515080 h 2020169"/>
                <a:gd name="connsiteX357" fmla="*/ 1241449 w 4011346"/>
                <a:gd name="connsiteY357" fmla="*/ 511742 h 2020169"/>
                <a:gd name="connsiteX358" fmla="*/ 1241449 w 4011346"/>
                <a:gd name="connsiteY358" fmla="*/ 558463 h 2020169"/>
                <a:gd name="connsiteX359" fmla="*/ 1201402 w 4011346"/>
                <a:gd name="connsiteY359" fmla="*/ 538440 h 2020169"/>
                <a:gd name="connsiteX360" fmla="*/ 1228100 w 4011346"/>
                <a:gd name="connsiteY360" fmla="*/ 588498 h 2020169"/>
                <a:gd name="connsiteX361" fmla="*/ 1258135 w 4011346"/>
                <a:gd name="connsiteY361" fmla="*/ 598510 h 2020169"/>
                <a:gd name="connsiteX362" fmla="*/ 1258135 w 4011346"/>
                <a:gd name="connsiteY362" fmla="*/ 618534 h 2020169"/>
                <a:gd name="connsiteX363" fmla="*/ 1198065 w 4011346"/>
                <a:gd name="connsiteY363" fmla="*/ 595173 h 2020169"/>
                <a:gd name="connsiteX364" fmla="*/ 1181379 w 4011346"/>
                <a:gd name="connsiteY364" fmla="*/ 595173 h 2020169"/>
                <a:gd name="connsiteX365" fmla="*/ 1178041 w 4011346"/>
                <a:gd name="connsiteY365" fmla="*/ 551789 h 2020169"/>
                <a:gd name="connsiteX366" fmla="*/ 1171367 w 4011346"/>
                <a:gd name="connsiteY366" fmla="*/ 465021 h 2020169"/>
                <a:gd name="connsiteX367" fmla="*/ 1161355 w 4011346"/>
                <a:gd name="connsiteY367" fmla="*/ 535103 h 2020169"/>
                <a:gd name="connsiteX368" fmla="*/ 1137995 w 4011346"/>
                <a:gd name="connsiteY368" fmla="*/ 565138 h 2020169"/>
                <a:gd name="connsiteX369" fmla="*/ 1158018 w 4011346"/>
                <a:gd name="connsiteY369" fmla="*/ 611859 h 2020169"/>
                <a:gd name="connsiteX370" fmla="*/ 1158018 w 4011346"/>
                <a:gd name="connsiteY370" fmla="*/ 645231 h 2020169"/>
                <a:gd name="connsiteX371" fmla="*/ 1141332 w 4011346"/>
                <a:gd name="connsiteY371" fmla="*/ 695290 h 2020169"/>
                <a:gd name="connsiteX372" fmla="*/ 1154681 w 4011346"/>
                <a:gd name="connsiteY372" fmla="*/ 728662 h 2020169"/>
                <a:gd name="connsiteX373" fmla="*/ 1184716 w 4011346"/>
                <a:gd name="connsiteY373" fmla="*/ 735336 h 2020169"/>
                <a:gd name="connsiteX374" fmla="*/ 1221425 w 4011346"/>
                <a:gd name="connsiteY374" fmla="*/ 742011 h 2020169"/>
                <a:gd name="connsiteX375" fmla="*/ 1241449 w 4011346"/>
                <a:gd name="connsiteY375" fmla="*/ 765371 h 2020169"/>
                <a:gd name="connsiteX376" fmla="*/ 1258135 w 4011346"/>
                <a:gd name="connsiteY376" fmla="*/ 808755 h 2020169"/>
                <a:gd name="connsiteX377" fmla="*/ 1258135 w 4011346"/>
                <a:gd name="connsiteY377" fmla="*/ 808755 h 2020169"/>
                <a:gd name="connsiteX378" fmla="*/ 1254798 w 4011346"/>
                <a:gd name="connsiteY378" fmla="*/ 842128 h 2020169"/>
                <a:gd name="connsiteX379" fmla="*/ 1274821 w 4011346"/>
                <a:gd name="connsiteY379" fmla="*/ 862151 h 2020169"/>
                <a:gd name="connsiteX380" fmla="*/ 1244786 w 4011346"/>
                <a:gd name="connsiteY380" fmla="*/ 868826 h 2020169"/>
                <a:gd name="connsiteX381" fmla="*/ 1224763 w 4011346"/>
                <a:gd name="connsiteY381" fmla="*/ 828779 h 2020169"/>
                <a:gd name="connsiteX382" fmla="*/ 1224763 w 4011346"/>
                <a:gd name="connsiteY382" fmla="*/ 788732 h 2020169"/>
                <a:gd name="connsiteX383" fmla="*/ 1194727 w 4011346"/>
                <a:gd name="connsiteY383" fmla="*/ 752023 h 2020169"/>
                <a:gd name="connsiteX384" fmla="*/ 1164692 w 4011346"/>
                <a:gd name="connsiteY384" fmla="*/ 795407 h 2020169"/>
                <a:gd name="connsiteX385" fmla="*/ 1178041 w 4011346"/>
                <a:gd name="connsiteY385" fmla="*/ 838790 h 2020169"/>
                <a:gd name="connsiteX386" fmla="*/ 1137995 w 4011346"/>
                <a:gd name="connsiteY386" fmla="*/ 895523 h 2020169"/>
                <a:gd name="connsiteX387" fmla="*/ 1097948 w 4011346"/>
                <a:gd name="connsiteY387" fmla="*/ 952256 h 2020169"/>
                <a:gd name="connsiteX388" fmla="*/ 1007843 w 4011346"/>
                <a:gd name="connsiteY388" fmla="*/ 915547 h 2020169"/>
                <a:gd name="connsiteX389" fmla="*/ 1074587 w 4011346"/>
                <a:gd name="connsiteY389" fmla="*/ 912209 h 2020169"/>
                <a:gd name="connsiteX390" fmla="*/ 1107960 w 4011346"/>
                <a:gd name="connsiteY390" fmla="*/ 848802 h 2020169"/>
                <a:gd name="connsiteX391" fmla="*/ 1121309 w 4011346"/>
                <a:gd name="connsiteY391" fmla="*/ 805418 h 2020169"/>
                <a:gd name="connsiteX392" fmla="*/ 1127983 w 4011346"/>
                <a:gd name="connsiteY392" fmla="*/ 772046 h 2020169"/>
                <a:gd name="connsiteX393" fmla="*/ 1117971 w 4011346"/>
                <a:gd name="connsiteY393" fmla="*/ 755360 h 2020169"/>
                <a:gd name="connsiteX394" fmla="*/ 1114634 w 4011346"/>
                <a:gd name="connsiteY394" fmla="*/ 705301 h 2020169"/>
                <a:gd name="connsiteX395" fmla="*/ 1104622 w 4011346"/>
                <a:gd name="connsiteY395" fmla="*/ 625208 h 2020169"/>
                <a:gd name="connsiteX396" fmla="*/ 1101285 w 4011346"/>
                <a:gd name="connsiteY396" fmla="*/ 565138 h 2020169"/>
                <a:gd name="connsiteX397" fmla="*/ 1124646 w 4011346"/>
                <a:gd name="connsiteY397" fmla="*/ 471696 h 2020169"/>
                <a:gd name="connsiteX398" fmla="*/ 1031203 w 4011346"/>
                <a:gd name="connsiteY398" fmla="*/ 461684 h 2020169"/>
                <a:gd name="connsiteX399" fmla="*/ 1014517 w 4011346"/>
                <a:gd name="connsiteY399" fmla="*/ 518417 h 2020169"/>
                <a:gd name="connsiteX400" fmla="*/ 1024529 w 4011346"/>
                <a:gd name="connsiteY400" fmla="*/ 565138 h 2020169"/>
                <a:gd name="connsiteX401" fmla="*/ 981145 w 4011346"/>
                <a:gd name="connsiteY401" fmla="*/ 618534 h 2020169"/>
                <a:gd name="connsiteX402" fmla="*/ 991157 w 4011346"/>
                <a:gd name="connsiteY402" fmla="*/ 655243 h 2020169"/>
                <a:gd name="connsiteX403" fmla="*/ 981145 w 4011346"/>
                <a:gd name="connsiteY403" fmla="*/ 701964 h 2020169"/>
                <a:gd name="connsiteX404" fmla="*/ 1001168 w 4011346"/>
                <a:gd name="connsiteY404" fmla="*/ 725325 h 2020169"/>
                <a:gd name="connsiteX405" fmla="*/ 1017854 w 4011346"/>
                <a:gd name="connsiteY405" fmla="*/ 772046 h 2020169"/>
                <a:gd name="connsiteX406" fmla="*/ 1047890 w 4011346"/>
                <a:gd name="connsiteY406" fmla="*/ 758697 h 2020169"/>
                <a:gd name="connsiteX407" fmla="*/ 1014517 w 4011346"/>
                <a:gd name="connsiteY407" fmla="*/ 812093 h 2020169"/>
                <a:gd name="connsiteX408" fmla="*/ 957784 w 4011346"/>
                <a:gd name="connsiteY408" fmla="*/ 758697 h 2020169"/>
                <a:gd name="connsiteX409" fmla="*/ 884365 w 4011346"/>
                <a:gd name="connsiteY409" fmla="*/ 721988 h 2020169"/>
                <a:gd name="connsiteX410" fmla="*/ 824295 w 4011346"/>
                <a:gd name="connsiteY410" fmla="*/ 698627 h 2020169"/>
                <a:gd name="connsiteX411" fmla="*/ 810946 w 4011346"/>
                <a:gd name="connsiteY411" fmla="*/ 735336 h 2020169"/>
                <a:gd name="connsiteX412" fmla="*/ 827633 w 4011346"/>
                <a:gd name="connsiteY412" fmla="*/ 772046 h 2020169"/>
                <a:gd name="connsiteX413" fmla="*/ 814284 w 4011346"/>
                <a:gd name="connsiteY413" fmla="*/ 795407 h 2020169"/>
                <a:gd name="connsiteX414" fmla="*/ 800935 w 4011346"/>
                <a:gd name="connsiteY414" fmla="*/ 812093 h 2020169"/>
                <a:gd name="connsiteX415" fmla="*/ 770900 w 4011346"/>
                <a:gd name="connsiteY415" fmla="*/ 755360 h 2020169"/>
                <a:gd name="connsiteX416" fmla="*/ 744202 w 4011346"/>
                <a:gd name="connsiteY416" fmla="*/ 792069 h 2020169"/>
                <a:gd name="connsiteX417" fmla="*/ 707492 w 4011346"/>
                <a:gd name="connsiteY417" fmla="*/ 785395 h 2020169"/>
                <a:gd name="connsiteX418" fmla="*/ 654097 w 4011346"/>
                <a:gd name="connsiteY418" fmla="*/ 822104 h 2020169"/>
                <a:gd name="connsiteX419" fmla="*/ 644085 w 4011346"/>
                <a:gd name="connsiteY419" fmla="*/ 798744 h 2020169"/>
                <a:gd name="connsiteX420" fmla="*/ 654097 w 4011346"/>
                <a:gd name="connsiteY420" fmla="*/ 762034 h 2020169"/>
                <a:gd name="connsiteX421" fmla="*/ 614050 w 4011346"/>
                <a:gd name="connsiteY421" fmla="*/ 798744 h 2020169"/>
                <a:gd name="connsiteX422" fmla="*/ 594027 w 4011346"/>
                <a:gd name="connsiteY422" fmla="*/ 798744 h 2020169"/>
                <a:gd name="connsiteX423" fmla="*/ 533957 w 4011346"/>
                <a:gd name="connsiteY423" fmla="*/ 832116 h 2020169"/>
                <a:gd name="connsiteX424" fmla="*/ 510596 w 4011346"/>
                <a:gd name="connsiteY424" fmla="*/ 855477 h 2020169"/>
                <a:gd name="connsiteX425" fmla="*/ 500584 w 4011346"/>
                <a:gd name="connsiteY425" fmla="*/ 902198 h 2020169"/>
                <a:gd name="connsiteX426" fmla="*/ 450526 w 4011346"/>
                <a:gd name="connsiteY426" fmla="*/ 888849 h 2020169"/>
                <a:gd name="connsiteX427" fmla="*/ 433840 w 4011346"/>
                <a:gd name="connsiteY427" fmla="*/ 852139 h 2020169"/>
                <a:gd name="connsiteX428" fmla="*/ 467212 w 4011346"/>
                <a:gd name="connsiteY428" fmla="*/ 822104 h 2020169"/>
                <a:gd name="connsiteX429" fmla="*/ 453863 w 4011346"/>
                <a:gd name="connsiteY429" fmla="*/ 798744 h 2020169"/>
                <a:gd name="connsiteX430" fmla="*/ 390456 w 4011346"/>
                <a:gd name="connsiteY430" fmla="*/ 768709 h 2020169"/>
                <a:gd name="connsiteX431" fmla="*/ 417154 w 4011346"/>
                <a:gd name="connsiteY431" fmla="*/ 818767 h 2020169"/>
                <a:gd name="connsiteX432" fmla="*/ 407142 w 4011346"/>
                <a:gd name="connsiteY432" fmla="*/ 862151 h 2020169"/>
                <a:gd name="connsiteX433" fmla="*/ 413817 w 4011346"/>
                <a:gd name="connsiteY433" fmla="*/ 898861 h 2020169"/>
                <a:gd name="connsiteX434" fmla="*/ 427165 w 4011346"/>
                <a:gd name="connsiteY434" fmla="*/ 922221 h 2020169"/>
                <a:gd name="connsiteX435" fmla="*/ 413817 w 4011346"/>
                <a:gd name="connsiteY435" fmla="*/ 952256 h 2020169"/>
                <a:gd name="connsiteX436" fmla="*/ 390456 w 4011346"/>
                <a:gd name="connsiteY436" fmla="*/ 928896 h 2020169"/>
                <a:gd name="connsiteX437" fmla="*/ 360421 w 4011346"/>
                <a:gd name="connsiteY437" fmla="*/ 925558 h 2020169"/>
                <a:gd name="connsiteX438" fmla="*/ 333723 w 4011346"/>
                <a:gd name="connsiteY438" fmla="*/ 965605 h 2020169"/>
                <a:gd name="connsiteX439" fmla="*/ 307025 w 4011346"/>
                <a:gd name="connsiteY439" fmla="*/ 985628 h 2020169"/>
                <a:gd name="connsiteX440" fmla="*/ 320374 w 4011346"/>
                <a:gd name="connsiteY440" fmla="*/ 1012326 h 2020169"/>
                <a:gd name="connsiteX441" fmla="*/ 303688 w 4011346"/>
                <a:gd name="connsiteY441" fmla="*/ 1035687 h 2020169"/>
                <a:gd name="connsiteX442" fmla="*/ 233606 w 4011346"/>
                <a:gd name="connsiteY442" fmla="*/ 998977 h 2020169"/>
                <a:gd name="connsiteX443" fmla="*/ 243618 w 4011346"/>
                <a:gd name="connsiteY443" fmla="*/ 1049036 h 2020169"/>
                <a:gd name="connsiteX444" fmla="*/ 263641 w 4011346"/>
                <a:gd name="connsiteY444" fmla="*/ 1069059 h 2020169"/>
                <a:gd name="connsiteX445" fmla="*/ 250292 w 4011346"/>
                <a:gd name="connsiteY445" fmla="*/ 1082408 h 2020169"/>
                <a:gd name="connsiteX446" fmla="*/ 193560 w 4011346"/>
                <a:gd name="connsiteY446" fmla="*/ 1045698 h 2020169"/>
                <a:gd name="connsiteX447" fmla="*/ 170199 w 4011346"/>
                <a:gd name="connsiteY447" fmla="*/ 1005652 h 2020169"/>
                <a:gd name="connsiteX448" fmla="*/ 170199 w 4011346"/>
                <a:gd name="connsiteY448" fmla="*/ 958931 h 2020169"/>
                <a:gd name="connsiteX449" fmla="*/ 133490 w 4011346"/>
                <a:gd name="connsiteY449" fmla="*/ 882174 h 2020169"/>
                <a:gd name="connsiteX450" fmla="*/ 196897 w 4011346"/>
                <a:gd name="connsiteY450" fmla="*/ 912209 h 2020169"/>
                <a:gd name="connsiteX451" fmla="*/ 256967 w 4011346"/>
                <a:gd name="connsiteY451" fmla="*/ 942244 h 2020169"/>
                <a:gd name="connsiteX452" fmla="*/ 293676 w 4011346"/>
                <a:gd name="connsiteY452" fmla="*/ 945582 h 2020169"/>
                <a:gd name="connsiteX453" fmla="*/ 327049 w 4011346"/>
                <a:gd name="connsiteY453" fmla="*/ 915547 h 2020169"/>
                <a:gd name="connsiteX454" fmla="*/ 343735 w 4011346"/>
                <a:gd name="connsiteY454" fmla="*/ 878837 h 2020169"/>
                <a:gd name="connsiteX455" fmla="*/ 333723 w 4011346"/>
                <a:gd name="connsiteY455" fmla="*/ 828779 h 2020169"/>
                <a:gd name="connsiteX456" fmla="*/ 290339 w 4011346"/>
                <a:gd name="connsiteY456" fmla="*/ 808755 h 2020169"/>
                <a:gd name="connsiteX457" fmla="*/ 236944 w 4011346"/>
                <a:gd name="connsiteY457" fmla="*/ 762034 h 2020169"/>
                <a:gd name="connsiteX458" fmla="*/ 133490 w 4011346"/>
                <a:gd name="connsiteY458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38408 w 4011346"/>
                <a:gd name="connsiteY324" fmla="*/ 28576 h 2020169"/>
                <a:gd name="connsiteX325" fmla="*/ 1909833 w 4011346"/>
                <a:gd name="connsiteY325" fmla="*/ 0 h 2020169"/>
                <a:gd name="connsiteX326" fmla="*/ 1877440 w 4011346"/>
                <a:gd name="connsiteY326" fmla="*/ 3067 h 2020169"/>
                <a:gd name="connsiteX327" fmla="*/ 1835474 w 4011346"/>
                <a:gd name="connsiteY327" fmla="*/ 41195 h 2020169"/>
                <a:gd name="connsiteX328" fmla="*/ 1818788 w 4011346"/>
                <a:gd name="connsiteY328" fmla="*/ 81242 h 2020169"/>
                <a:gd name="connsiteX329" fmla="*/ 1838813 w 4011346"/>
                <a:gd name="connsiteY329" fmla="*/ 134636 h 2020169"/>
                <a:gd name="connsiteX330" fmla="*/ 1782079 w 4011346"/>
                <a:gd name="connsiteY330" fmla="*/ 121287 h 2020169"/>
                <a:gd name="connsiteX331" fmla="*/ 1768731 w 4011346"/>
                <a:gd name="connsiteY331" fmla="*/ 168009 h 2020169"/>
                <a:gd name="connsiteX332" fmla="*/ 1705322 w 4011346"/>
                <a:gd name="connsiteY332" fmla="*/ 191369 h 2020169"/>
                <a:gd name="connsiteX333" fmla="*/ 1685300 w 4011346"/>
                <a:gd name="connsiteY333" fmla="*/ 164671 h 2020169"/>
                <a:gd name="connsiteX334" fmla="*/ 1615218 w 4011346"/>
                <a:gd name="connsiteY334" fmla="*/ 168009 h 2020169"/>
                <a:gd name="connsiteX335" fmla="*/ 1638579 w 4011346"/>
                <a:gd name="connsiteY335" fmla="*/ 198044 h 2020169"/>
                <a:gd name="connsiteX336" fmla="*/ 1528449 w 4011346"/>
                <a:gd name="connsiteY336" fmla="*/ 224740 h 2020169"/>
                <a:gd name="connsiteX337" fmla="*/ 1465043 w 4011346"/>
                <a:gd name="connsiteY337" fmla="*/ 308171 h 2020169"/>
                <a:gd name="connsiteX338" fmla="*/ 1448357 w 4011346"/>
                <a:gd name="connsiteY338" fmla="*/ 334869 h 2020169"/>
                <a:gd name="connsiteX339" fmla="*/ 1481729 w 4011346"/>
                <a:gd name="connsiteY339" fmla="*/ 368242 h 2020169"/>
                <a:gd name="connsiteX340" fmla="*/ 1481729 w 4011346"/>
                <a:gd name="connsiteY340" fmla="*/ 398277 h 2020169"/>
                <a:gd name="connsiteX341" fmla="*/ 1458368 w 4011346"/>
                <a:gd name="connsiteY341" fmla="*/ 401614 h 2020169"/>
                <a:gd name="connsiteX342" fmla="*/ 1458368 w 4011346"/>
                <a:gd name="connsiteY342" fmla="*/ 381590 h 2020169"/>
                <a:gd name="connsiteX343" fmla="*/ 1418322 w 4011346"/>
                <a:gd name="connsiteY343" fmla="*/ 391602 h 2020169"/>
                <a:gd name="connsiteX344" fmla="*/ 1368263 w 4011346"/>
                <a:gd name="connsiteY344" fmla="*/ 398277 h 2020169"/>
                <a:gd name="connsiteX345" fmla="*/ 1321542 w 4011346"/>
                <a:gd name="connsiteY345" fmla="*/ 404951 h 2020169"/>
                <a:gd name="connsiteX346" fmla="*/ 1318205 w 4011346"/>
                <a:gd name="connsiteY346" fmla="*/ 491719 h 2020169"/>
                <a:gd name="connsiteX347" fmla="*/ 1358252 w 4011346"/>
                <a:gd name="connsiteY347" fmla="*/ 515080 h 2020169"/>
                <a:gd name="connsiteX348" fmla="*/ 1374938 w 4011346"/>
                <a:gd name="connsiteY348" fmla="*/ 545115 h 2020169"/>
                <a:gd name="connsiteX349" fmla="*/ 1384949 w 4011346"/>
                <a:gd name="connsiteY349" fmla="*/ 568475 h 2020169"/>
                <a:gd name="connsiteX350" fmla="*/ 1394961 w 4011346"/>
                <a:gd name="connsiteY350" fmla="*/ 618534 h 2020169"/>
                <a:gd name="connsiteX351" fmla="*/ 1384949 w 4011346"/>
                <a:gd name="connsiteY351" fmla="*/ 648569 h 2020169"/>
                <a:gd name="connsiteX352" fmla="*/ 1358252 w 4011346"/>
                <a:gd name="connsiteY352" fmla="*/ 615196 h 2020169"/>
                <a:gd name="connsiteX353" fmla="*/ 1361589 w 4011346"/>
                <a:gd name="connsiteY353" fmla="*/ 585161 h 2020169"/>
                <a:gd name="connsiteX354" fmla="*/ 1351577 w 4011346"/>
                <a:gd name="connsiteY354" fmla="*/ 545115 h 2020169"/>
                <a:gd name="connsiteX355" fmla="*/ 1328217 w 4011346"/>
                <a:gd name="connsiteY355" fmla="*/ 551789 h 2020169"/>
                <a:gd name="connsiteX356" fmla="*/ 1281495 w 4011346"/>
                <a:gd name="connsiteY356" fmla="*/ 515080 h 2020169"/>
                <a:gd name="connsiteX357" fmla="*/ 1241449 w 4011346"/>
                <a:gd name="connsiteY357" fmla="*/ 511742 h 2020169"/>
                <a:gd name="connsiteX358" fmla="*/ 1241449 w 4011346"/>
                <a:gd name="connsiteY358" fmla="*/ 558463 h 2020169"/>
                <a:gd name="connsiteX359" fmla="*/ 1201402 w 4011346"/>
                <a:gd name="connsiteY359" fmla="*/ 538440 h 2020169"/>
                <a:gd name="connsiteX360" fmla="*/ 1228100 w 4011346"/>
                <a:gd name="connsiteY360" fmla="*/ 588498 h 2020169"/>
                <a:gd name="connsiteX361" fmla="*/ 1258135 w 4011346"/>
                <a:gd name="connsiteY361" fmla="*/ 598510 h 2020169"/>
                <a:gd name="connsiteX362" fmla="*/ 1258135 w 4011346"/>
                <a:gd name="connsiteY362" fmla="*/ 618534 h 2020169"/>
                <a:gd name="connsiteX363" fmla="*/ 1198065 w 4011346"/>
                <a:gd name="connsiteY363" fmla="*/ 595173 h 2020169"/>
                <a:gd name="connsiteX364" fmla="*/ 1181379 w 4011346"/>
                <a:gd name="connsiteY364" fmla="*/ 595173 h 2020169"/>
                <a:gd name="connsiteX365" fmla="*/ 1178041 w 4011346"/>
                <a:gd name="connsiteY365" fmla="*/ 551789 h 2020169"/>
                <a:gd name="connsiteX366" fmla="*/ 1171367 w 4011346"/>
                <a:gd name="connsiteY366" fmla="*/ 465021 h 2020169"/>
                <a:gd name="connsiteX367" fmla="*/ 1161355 w 4011346"/>
                <a:gd name="connsiteY367" fmla="*/ 535103 h 2020169"/>
                <a:gd name="connsiteX368" fmla="*/ 1137995 w 4011346"/>
                <a:gd name="connsiteY368" fmla="*/ 565138 h 2020169"/>
                <a:gd name="connsiteX369" fmla="*/ 1158018 w 4011346"/>
                <a:gd name="connsiteY369" fmla="*/ 611859 h 2020169"/>
                <a:gd name="connsiteX370" fmla="*/ 1158018 w 4011346"/>
                <a:gd name="connsiteY370" fmla="*/ 645231 h 2020169"/>
                <a:gd name="connsiteX371" fmla="*/ 1141332 w 4011346"/>
                <a:gd name="connsiteY371" fmla="*/ 695290 h 2020169"/>
                <a:gd name="connsiteX372" fmla="*/ 1154681 w 4011346"/>
                <a:gd name="connsiteY372" fmla="*/ 728662 h 2020169"/>
                <a:gd name="connsiteX373" fmla="*/ 1184716 w 4011346"/>
                <a:gd name="connsiteY373" fmla="*/ 735336 h 2020169"/>
                <a:gd name="connsiteX374" fmla="*/ 1221425 w 4011346"/>
                <a:gd name="connsiteY374" fmla="*/ 742011 h 2020169"/>
                <a:gd name="connsiteX375" fmla="*/ 1241449 w 4011346"/>
                <a:gd name="connsiteY375" fmla="*/ 765371 h 2020169"/>
                <a:gd name="connsiteX376" fmla="*/ 1258135 w 4011346"/>
                <a:gd name="connsiteY376" fmla="*/ 808755 h 2020169"/>
                <a:gd name="connsiteX377" fmla="*/ 1258135 w 4011346"/>
                <a:gd name="connsiteY377" fmla="*/ 808755 h 2020169"/>
                <a:gd name="connsiteX378" fmla="*/ 1254798 w 4011346"/>
                <a:gd name="connsiteY378" fmla="*/ 842128 h 2020169"/>
                <a:gd name="connsiteX379" fmla="*/ 1274821 w 4011346"/>
                <a:gd name="connsiteY379" fmla="*/ 862151 h 2020169"/>
                <a:gd name="connsiteX380" fmla="*/ 1244786 w 4011346"/>
                <a:gd name="connsiteY380" fmla="*/ 868826 h 2020169"/>
                <a:gd name="connsiteX381" fmla="*/ 1224763 w 4011346"/>
                <a:gd name="connsiteY381" fmla="*/ 828779 h 2020169"/>
                <a:gd name="connsiteX382" fmla="*/ 1224763 w 4011346"/>
                <a:gd name="connsiteY382" fmla="*/ 788732 h 2020169"/>
                <a:gd name="connsiteX383" fmla="*/ 1194727 w 4011346"/>
                <a:gd name="connsiteY383" fmla="*/ 752023 h 2020169"/>
                <a:gd name="connsiteX384" fmla="*/ 1164692 w 4011346"/>
                <a:gd name="connsiteY384" fmla="*/ 795407 h 2020169"/>
                <a:gd name="connsiteX385" fmla="*/ 1178041 w 4011346"/>
                <a:gd name="connsiteY385" fmla="*/ 838790 h 2020169"/>
                <a:gd name="connsiteX386" fmla="*/ 1137995 w 4011346"/>
                <a:gd name="connsiteY386" fmla="*/ 895523 h 2020169"/>
                <a:gd name="connsiteX387" fmla="*/ 1097948 w 4011346"/>
                <a:gd name="connsiteY387" fmla="*/ 952256 h 2020169"/>
                <a:gd name="connsiteX388" fmla="*/ 1007843 w 4011346"/>
                <a:gd name="connsiteY388" fmla="*/ 915547 h 2020169"/>
                <a:gd name="connsiteX389" fmla="*/ 1074587 w 4011346"/>
                <a:gd name="connsiteY389" fmla="*/ 912209 h 2020169"/>
                <a:gd name="connsiteX390" fmla="*/ 1107960 w 4011346"/>
                <a:gd name="connsiteY390" fmla="*/ 848802 h 2020169"/>
                <a:gd name="connsiteX391" fmla="*/ 1121309 w 4011346"/>
                <a:gd name="connsiteY391" fmla="*/ 805418 h 2020169"/>
                <a:gd name="connsiteX392" fmla="*/ 1127983 w 4011346"/>
                <a:gd name="connsiteY392" fmla="*/ 772046 h 2020169"/>
                <a:gd name="connsiteX393" fmla="*/ 1117971 w 4011346"/>
                <a:gd name="connsiteY393" fmla="*/ 755360 h 2020169"/>
                <a:gd name="connsiteX394" fmla="*/ 1114634 w 4011346"/>
                <a:gd name="connsiteY394" fmla="*/ 705301 h 2020169"/>
                <a:gd name="connsiteX395" fmla="*/ 1104622 w 4011346"/>
                <a:gd name="connsiteY395" fmla="*/ 625208 h 2020169"/>
                <a:gd name="connsiteX396" fmla="*/ 1101285 w 4011346"/>
                <a:gd name="connsiteY396" fmla="*/ 565138 h 2020169"/>
                <a:gd name="connsiteX397" fmla="*/ 1124646 w 4011346"/>
                <a:gd name="connsiteY397" fmla="*/ 471696 h 2020169"/>
                <a:gd name="connsiteX398" fmla="*/ 1031203 w 4011346"/>
                <a:gd name="connsiteY398" fmla="*/ 461684 h 2020169"/>
                <a:gd name="connsiteX399" fmla="*/ 1014517 w 4011346"/>
                <a:gd name="connsiteY399" fmla="*/ 518417 h 2020169"/>
                <a:gd name="connsiteX400" fmla="*/ 1024529 w 4011346"/>
                <a:gd name="connsiteY400" fmla="*/ 565138 h 2020169"/>
                <a:gd name="connsiteX401" fmla="*/ 981145 w 4011346"/>
                <a:gd name="connsiteY401" fmla="*/ 618534 h 2020169"/>
                <a:gd name="connsiteX402" fmla="*/ 991157 w 4011346"/>
                <a:gd name="connsiteY402" fmla="*/ 655243 h 2020169"/>
                <a:gd name="connsiteX403" fmla="*/ 981145 w 4011346"/>
                <a:gd name="connsiteY403" fmla="*/ 701964 h 2020169"/>
                <a:gd name="connsiteX404" fmla="*/ 1001168 w 4011346"/>
                <a:gd name="connsiteY404" fmla="*/ 725325 h 2020169"/>
                <a:gd name="connsiteX405" fmla="*/ 1017854 w 4011346"/>
                <a:gd name="connsiteY405" fmla="*/ 772046 h 2020169"/>
                <a:gd name="connsiteX406" fmla="*/ 1047890 w 4011346"/>
                <a:gd name="connsiteY406" fmla="*/ 758697 h 2020169"/>
                <a:gd name="connsiteX407" fmla="*/ 1014517 w 4011346"/>
                <a:gd name="connsiteY407" fmla="*/ 812093 h 2020169"/>
                <a:gd name="connsiteX408" fmla="*/ 957784 w 4011346"/>
                <a:gd name="connsiteY408" fmla="*/ 758697 h 2020169"/>
                <a:gd name="connsiteX409" fmla="*/ 884365 w 4011346"/>
                <a:gd name="connsiteY409" fmla="*/ 721988 h 2020169"/>
                <a:gd name="connsiteX410" fmla="*/ 824295 w 4011346"/>
                <a:gd name="connsiteY410" fmla="*/ 698627 h 2020169"/>
                <a:gd name="connsiteX411" fmla="*/ 810946 w 4011346"/>
                <a:gd name="connsiteY411" fmla="*/ 735336 h 2020169"/>
                <a:gd name="connsiteX412" fmla="*/ 827633 w 4011346"/>
                <a:gd name="connsiteY412" fmla="*/ 772046 h 2020169"/>
                <a:gd name="connsiteX413" fmla="*/ 814284 w 4011346"/>
                <a:gd name="connsiteY413" fmla="*/ 795407 h 2020169"/>
                <a:gd name="connsiteX414" fmla="*/ 800935 w 4011346"/>
                <a:gd name="connsiteY414" fmla="*/ 812093 h 2020169"/>
                <a:gd name="connsiteX415" fmla="*/ 770900 w 4011346"/>
                <a:gd name="connsiteY415" fmla="*/ 755360 h 2020169"/>
                <a:gd name="connsiteX416" fmla="*/ 744202 w 4011346"/>
                <a:gd name="connsiteY416" fmla="*/ 792069 h 2020169"/>
                <a:gd name="connsiteX417" fmla="*/ 707492 w 4011346"/>
                <a:gd name="connsiteY417" fmla="*/ 785395 h 2020169"/>
                <a:gd name="connsiteX418" fmla="*/ 654097 w 4011346"/>
                <a:gd name="connsiteY418" fmla="*/ 822104 h 2020169"/>
                <a:gd name="connsiteX419" fmla="*/ 644085 w 4011346"/>
                <a:gd name="connsiteY419" fmla="*/ 798744 h 2020169"/>
                <a:gd name="connsiteX420" fmla="*/ 654097 w 4011346"/>
                <a:gd name="connsiteY420" fmla="*/ 762034 h 2020169"/>
                <a:gd name="connsiteX421" fmla="*/ 614050 w 4011346"/>
                <a:gd name="connsiteY421" fmla="*/ 798744 h 2020169"/>
                <a:gd name="connsiteX422" fmla="*/ 594027 w 4011346"/>
                <a:gd name="connsiteY422" fmla="*/ 798744 h 2020169"/>
                <a:gd name="connsiteX423" fmla="*/ 533957 w 4011346"/>
                <a:gd name="connsiteY423" fmla="*/ 832116 h 2020169"/>
                <a:gd name="connsiteX424" fmla="*/ 510596 w 4011346"/>
                <a:gd name="connsiteY424" fmla="*/ 855477 h 2020169"/>
                <a:gd name="connsiteX425" fmla="*/ 500584 w 4011346"/>
                <a:gd name="connsiteY425" fmla="*/ 902198 h 2020169"/>
                <a:gd name="connsiteX426" fmla="*/ 450526 w 4011346"/>
                <a:gd name="connsiteY426" fmla="*/ 888849 h 2020169"/>
                <a:gd name="connsiteX427" fmla="*/ 433840 w 4011346"/>
                <a:gd name="connsiteY427" fmla="*/ 852139 h 2020169"/>
                <a:gd name="connsiteX428" fmla="*/ 467212 w 4011346"/>
                <a:gd name="connsiteY428" fmla="*/ 822104 h 2020169"/>
                <a:gd name="connsiteX429" fmla="*/ 453863 w 4011346"/>
                <a:gd name="connsiteY429" fmla="*/ 798744 h 2020169"/>
                <a:gd name="connsiteX430" fmla="*/ 390456 w 4011346"/>
                <a:gd name="connsiteY430" fmla="*/ 768709 h 2020169"/>
                <a:gd name="connsiteX431" fmla="*/ 417154 w 4011346"/>
                <a:gd name="connsiteY431" fmla="*/ 818767 h 2020169"/>
                <a:gd name="connsiteX432" fmla="*/ 407142 w 4011346"/>
                <a:gd name="connsiteY432" fmla="*/ 862151 h 2020169"/>
                <a:gd name="connsiteX433" fmla="*/ 413817 w 4011346"/>
                <a:gd name="connsiteY433" fmla="*/ 898861 h 2020169"/>
                <a:gd name="connsiteX434" fmla="*/ 427165 w 4011346"/>
                <a:gd name="connsiteY434" fmla="*/ 922221 h 2020169"/>
                <a:gd name="connsiteX435" fmla="*/ 413817 w 4011346"/>
                <a:gd name="connsiteY435" fmla="*/ 952256 h 2020169"/>
                <a:gd name="connsiteX436" fmla="*/ 390456 w 4011346"/>
                <a:gd name="connsiteY436" fmla="*/ 928896 h 2020169"/>
                <a:gd name="connsiteX437" fmla="*/ 360421 w 4011346"/>
                <a:gd name="connsiteY437" fmla="*/ 925558 h 2020169"/>
                <a:gd name="connsiteX438" fmla="*/ 333723 w 4011346"/>
                <a:gd name="connsiteY438" fmla="*/ 965605 h 2020169"/>
                <a:gd name="connsiteX439" fmla="*/ 307025 w 4011346"/>
                <a:gd name="connsiteY439" fmla="*/ 985628 h 2020169"/>
                <a:gd name="connsiteX440" fmla="*/ 320374 w 4011346"/>
                <a:gd name="connsiteY440" fmla="*/ 1012326 h 2020169"/>
                <a:gd name="connsiteX441" fmla="*/ 303688 w 4011346"/>
                <a:gd name="connsiteY441" fmla="*/ 1035687 h 2020169"/>
                <a:gd name="connsiteX442" fmla="*/ 233606 w 4011346"/>
                <a:gd name="connsiteY442" fmla="*/ 998977 h 2020169"/>
                <a:gd name="connsiteX443" fmla="*/ 243618 w 4011346"/>
                <a:gd name="connsiteY443" fmla="*/ 1049036 h 2020169"/>
                <a:gd name="connsiteX444" fmla="*/ 263641 w 4011346"/>
                <a:gd name="connsiteY444" fmla="*/ 1069059 h 2020169"/>
                <a:gd name="connsiteX445" fmla="*/ 250292 w 4011346"/>
                <a:gd name="connsiteY445" fmla="*/ 1082408 h 2020169"/>
                <a:gd name="connsiteX446" fmla="*/ 193560 w 4011346"/>
                <a:gd name="connsiteY446" fmla="*/ 1045698 h 2020169"/>
                <a:gd name="connsiteX447" fmla="*/ 170199 w 4011346"/>
                <a:gd name="connsiteY447" fmla="*/ 1005652 h 2020169"/>
                <a:gd name="connsiteX448" fmla="*/ 170199 w 4011346"/>
                <a:gd name="connsiteY448" fmla="*/ 958931 h 2020169"/>
                <a:gd name="connsiteX449" fmla="*/ 133490 w 4011346"/>
                <a:gd name="connsiteY449" fmla="*/ 882174 h 2020169"/>
                <a:gd name="connsiteX450" fmla="*/ 196897 w 4011346"/>
                <a:gd name="connsiteY450" fmla="*/ 912209 h 2020169"/>
                <a:gd name="connsiteX451" fmla="*/ 256967 w 4011346"/>
                <a:gd name="connsiteY451" fmla="*/ 942244 h 2020169"/>
                <a:gd name="connsiteX452" fmla="*/ 293676 w 4011346"/>
                <a:gd name="connsiteY452" fmla="*/ 945582 h 2020169"/>
                <a:gd name="connsiteX453" fmla="*/ 327049 w 4011346"/>
                <a:gd name="connsiteY453" fmla="*/ 915547 h 2020169"/>
                <a:gd name="connsiteX454" fmla="*/ 343735 w 4011346"/>
                <a:gd name="connsiteY454" fmla="*/ 878837 h 2020169"/>
                <a:gd name="connsiteX455" fmla="*/ 333723 w 4011346"/>
                <a:gd name="connsiteY455" fmla="*/ 828779 h 2020169"/>
                <a:gd name="connsiteX456" fmla="*/ 290339 w 4011346"/>
                <a:gd name="connsiteY456" fmla="*/ 808755 h 2020169"/>
                <a:gd name="connsiteX457" fmla="*/ 236944 w 4011346"/>
                <a:gd name="connsiteY457" fmla="*/ 762034 h 2020169"/>
                <a:gd name="connsiteX458" fmla="*/ 133490 w 4011346"/>
                <a:gd name="connsiteY458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38408 w 4011346"/>
                <a:gd name="connsiteY324" fmla="*/ 28576 h 2020169"/>
                <a:gd name="connsiteX325" fmla="*/ 1938408 w 4011346"/>
                <a:gd name="connsiteY325" fmla="*/ 54294 h 2020169"/>
                <a:gd name="connsiteX326" fmla="*/ 1909833 w 4011346"/>
                <a:gd name="connsiteY326" fmla="*/ 0 h 2020169"/>
                <a:gd name="connsiteX327" fmla="*/ 1877440 w 4011346"/>
                <a:gd name="connsiteY327" fmla="*/ 3067 h 2020169"/>
                <a:gd name="connsiteX328" fmla="*/ 1835474 w 4011346"/>
                <a:gd name="connsiteY328" fmla="*/ 41195 h 2020169"/>
                <a:gd name="connsiteX329" fmla="*/ 1818788 w 4011346"/>
                <a:gd name="connsiteY329" fmla="*/ 81242 h 2020169"/>
                <a:gd name="connsiteX330" fmla="*/ 1838813 w 4011346"/>
                <a:gd name="connsiteY330" fmla="*/ 134636 h 2020169"/>
                <a:gd name="connsiteX331" fmla="*/ 1782079 w 4011346"/>
                <a:gd name="connsiteY331" fmla="*/ 121287 h 2020169"/>
                <a:gd name="connsiteX332" fmla="*/ 1768731 w 4011346"/>
                <a:gd name="connsiteY332" fmla="*/ 168009 h 2020169"/>
                <a:gd name="connsiteX333" fmla="*/ 1705322 w 4011346"/>
                <a:gd name="connsiteY333" fmla="*/ 191369 h 2020169"/>
                <a:gd name="connsiteX334" fmla="*/ 1685300 w 4011346"/>
                <a:gd name="connsiteY334" fmla="*/ 164671 h 2020169"/>
                <a:gd name="connsiteX335" fmla="*/ 1615218 w 4011346"/>
                <a:gd name="connsiteY335" fmla="*/ 168009 h 2020169"/>
                <a:gd name="connsiteX336" fmla="*/ 1638579 w 4011346"/>
                <a:gd name="connsiteY336" fmla="*/ 198044 h 2020169"/>
                <a:gd name="connsiteX337" fmla="*/ 1528449 w 4011346"/>
                <a:gd name="connsiteY337" fmla="*/ 224740 h 2020169"/>
                <a:gd name="connsiteX338" fmla="*/ 1465043 w 4011346"/>
                <a:gd name="connsiteY338" fmla="*/ 308171 h 2020169"/>
                <a:gd name="connsiteX339" fmla="*/ 1448357 w 4011346"/>
                <a:gd name="connsiteY339" fmla="*/ 334869 h 2020169"/>
                <a:gd name="connsiteX340" fmla="*/ 1481729 w 4011346"/>
                <a:gd name="connsiteY340" fmla="*/ 368242 h 2020169"/>
                <a:gd name="connsiteX341" fmla="*/ 1481729 w 4011346"/>
                <a:gd name="connsiteY341" fmla="*/ 398277 h 2020169"/>
                <a:gd name="connsiteX342" fmla="*/ 1458368 w 4011346"/>
                <a:gd name="connsiteY342" fmla="*/ 401614 h 2020169"/>
                <a:gd name="connsiteX343" fmla="*/ 1458368 w 4011346"/>
                <a:gd name="connsiteY343" fmla="*/ 381590 h 2020169"/>
                <a:gd name="connsiteX344" fmla="*/ 1418322 w 4011346"/>
                <a:gd name="connsiteY344" fmla="*/ 391602 h 2020169"/>
                <a:gd name="connsiteX345" fmla="*/ 1368263 w 4011346"/>
                <a:gd name="connsiteY345" fmla="*/ 398277 h 2020169"/>
                <a:gd name="connsiteX346" fmla="*/ 1321542 w 4011346"/>
                <a:gd name="connsiteY346" fmla="*/ 404951 h 2020169"/>
                <a:gd name="connsiteX347" fmla="*/ 1318205 w 4011346"/>
                <a:gd name="connsiteY347" fmla="*/ 491719 h 2020169"/>
                <a:gd name="connsiteX348" fmla="*/ 1358252 w 4011346"/>
                <a:gd name="connsiteY348" fmla="*/ 515080 h 2020169"/>
                <a:gd name="connsiteX349" fmla="*/ 1374938 w 4011346"/>
                <a:gd name="connsiteY349" fmla="*/ 545115 h 2020169"/>
                <a:gd name="connsiteX350" fmla="*/ 1384949 w 4011346"/>
                <a:gd name="connsiteY350" fmla="*/ 568475 h 2020169"/>
                <a:gd name="connsiteX351" fmla="*/ 1394961 w 4011346"/>
                <a:gd name="connsiteY351" fmla="*/ 618534 h 2020169"/>
                <a:gd name="connsiteX352" fmla="*/ 1384949 w 4011346"/>
                <a:gd name="connsiteY352" fmla="*/ 648569 h 2020169"/>
                <a:gd name="connsiteX353" fmla="*/ 1358252 w 4011346"/>
                <a:gd name="connsiteY353" fmla="*/ 615196 h 2020169"/>
                <a:gd name="connsiteX354" fmla="*/ 1361589 w 4011346"/>
                <a:gd name="connsiteY354" fmla="*/ 585161 h 2020169"/>
                <a:gd name="connsiteX355" fmla="*/ 1351577 w 4011346"/>
                <a:gd name="connsiteY355" fmla="*/ 545115 h 2020169"/>
                <a:gd name="connsiteX356" fmla="*/ 1328217 w 4011346"/>
                <a:gd name="connsiteY356" fmla="*/ 551789 h 2020169"/>
                <a:gd name="connsiteX357" fmla="*/ 1281495 w 4011346"/>
                <a:gd name="connsiteY357" fmla="*/ 515080 h 2020169"/>
                <a:gd name="connsiteX358" fmla="*/ 1241449 w 4011346"/>
                <a:gd name="connsiteY358" fmla="*/ 511742 h 2020169"/>
                <a:gd name="connsiteX359" fmla="*/ 1241449 w 4011346"/>
                <a:gd name="connsiteY359" fmla="*/ 558463 h 2020169"/>
                <a:gd name="connsiteX360" fmla="*/ 1201402 w 4011346"/>
                <a:gd name="connsiteY360" fmla="*/ 538440 h 2020169"/>
                <a:gd name="connsiteX361" fmla="*/ 1228100 w 4011346"/>
                <a:gd name="connsiteY361" fmla="*/ 588498 h 2020169"/>
                <a:gd name="connsiteX362" fmla="*/ 1258135 w 4011346"/>
                <a:gd name="connsiteY362" fmla="*/ 598510 h 2020169"/>
                <a:gd name="connsiteX363" fmla="*/ 1258135 w 4011346"/>
                <a:gd name="connsiteY363" fmla="*/ 618534 h 2020169"/>
                <a:gd name="connsiteX364" fmla="*/ 1198065 w 4011346"/>
                <a:gd name="connsiteY364" fmla="*/ 595173 h 2020169"/>
                <a:gd name="connsiteX365" fmla="*/ 1181379 w 4011346"/>
                <a:gd name="connsiteY365" fmla="*/ 595173 h 2020169"/>
                <a:gd name="connsiteX366" fmla="*/ 1178041 w 4011346"/>
                <a:gd name="connsiteY366" fmla="*/ 551789 h 2020169"/>
                <a:gd name="connsiteX367" fmla="*/ 1171367 w 4011346"/>
                <a:gd name="connsiteY367" fmla="*/ 465021 h 2020169"/>
                <a:gd name="connsiteX368" fmla="*/ 1161355 w 4011346"/>
                <a:gd name="connsiteY368" fmla="*/ 535103 h 2020169"/>
                <a:gd name="connsiteX369" fmla="*/ 1137995 w 4011346"/>
                <a:gd name="connsiteY369" fmla="*/ 565138 h 2020169"/>
                <a:gd name="connsiteX370" fmla="*/ 1158018 w 4011346"/>
                <a:gd name="connsiteY370" fmla="*/ 611859 h 2020169"/>
                <a:gd name="connsiteX371" fmla="*/ 1158018 w 4011346"/>
                <a:gd name="connsiteY371" fmla="*/ 645231 h 2020169"/>
                <a:gd name="connsiteX372" fmla="*/ 1141332 w 4011346"/>
                <a:gd name="connsiteY372" fmla="*/ 695290 h 2020169"/>
                <a:gd name="connsiteX373" fmla="*/ 1154681 w 4011346"/>
                <a:gd name="connsiteY373" fmla="*/ 728662 h 2020169"/>
                <a:gd name="connsiteX374" fmla="*/ 1184716 w 4011346"/>
                <a:gd name="connsiteY374" fmla="*/ 735336 h 2020169"/>
                <a:gd name="connsiteX375" fmla="*/ 1221425 w 4011346"/>
                <a:gd name="connsiteY375" fmla="*/ 742011 h 2020169"/>
                <a:gd name="connsiteX376" fmla="*/ 1241449 w 4011346"/>
                <a:gd name="connsiteY376" fmla="*/ 765371 h 2020169"/>
                <a:gd name="connsiteX377" fmla="*/ 1258135 w 4011346"/>
                <a:gd name="connsiteY377" fmla="*/ 808755 h 2020169"/>
                <a:gd name="connsiteX378" fmla="*/ 1258135 w 4011346"/>
                <a:gd name="connsiteY378" fmla="*/ 808755 h 2020169"/>
                <a:gd name="connsiteX379" fmla="*/ 1254798 w 4011346"/>
                <a:gd name="connsiteY379" fmla="*/ 842128 h 2020169"/>
                <a:gd name="connsiteX380" fmla="*/ 1274821 w 4011346"/>
                <a:gd name="connsiteY380" fmla="*/ 862151 h 2020169"/>
                <a:gd name="connsiteX381" fmla="*/ 1244786 w 4011346"/>
                <a:gd name="connsiteY381" fmla="*/ 868826 h 2020169"/>
                <a:gd name="connsiteX382" fmla="*/ 1224763 w 4011346"/>
                <a:gd name="connsiteY382" fmla="*/ 828779 h 2020169"/>
                <a:gd name="connsiteX383" fmla="*/ 1224763 w 4011346"/>
                <a:gd name="connsiteY383" fmla="*/ 788732 h 2020169"/>
                <a:gd name="connsiteX384" fmla="*/ 1194727 w 4011346"/>
                <a:gd name="connsiteY384" fmla="*/ 752023 h 2020169"/>
                <a:gd name="connsiteX385" fmla="*/ 1164692 w 4011346"/>
                <a:gd name="connsiteY385" fmla="*/ 795407 h 2020169"/>
                <a:gd name="connsiteX386" fmla="*/ 1178041 w 4011346"/>
                <a:gd name="connsiteY386" fmla="*/ 838790 h 2020169"/>
                <a:gd name="connsiteX387" fmla="*/ 1137995 w 4011346"/>
                <a:gd name="connsiteY387" fmla="*/ 895523 h 2020169"/>
                <a:gd name="connsiteX388" fmla="*/ 1097948 w 4011346"/>
                <a:gd name="connsiteY388" fmla="*/ 952256 h 2020169"/>
                <a:gd name="connsiteX389" fmla="*/ 1007843 w 4011346"/>
                <a:gd name="connsiteY389" fmla="*/ 915547 h 2020169"/>
                <a:gd name="connsiteX390" fmla="*/ 1074587 w 4011346"/>
                <a:gd name="connsiteY390" fmla="*/ 912209 h 2020169"/>
                <a:gd name="connsiteX391" fmla="*/ 1107960 w 4011346"/>
                <a:gd name="connsiteY391" fmla="*/ 848802 h 2020169"/>
                <a:gd name="connsiteX392" fmla="*/ 1121309 w 4011346"/>
                <a:gd name="connsiteY392" fmla="*/ 805418 h 2020169"/>
                <a:gd name="connsiteX393" fmla="*/ 1127983 w 4011346"/>
                <a:gd name="connsiteY393" fmla="*/ 772046 h 2020169"/>
                <a:gd name="connsiteX394" fmla="*/ 1117971 w 4011346"/>
                <a:gd name="connsiteY394" fmla="*/ 755360 h 2020169"/>
                <a:gd name="connsiteX395" fmla="*/ 1114634 w 4011346"/>
                <a:gd name="connsiteY395" fmla="*/ 705301 h 2020169"/>
                <a:gd name="connsiteX396" fmla="*/ 1104622 w 4011346"/>
                <a:gd name="connsiteY396" fmla="*/ 625208 h 2020169"/>
                <a:gd name="connsiteX397" fmla="*/ 1101285 w 4011346"/>
                <a:gd name="connsiteY397" fmla="*/ 565138 h 2020169"/>
                <a:gd name="connsiteX398" fmla="*/ 1124646 w 4011346"/>
                <a:gd name="connsiteY398" fmla="*/ 471696 h 2020169"/>
                <a:gd name="connsiteX399" fmla="*/ 1031203 w 4011346"/>
                <a:gd name="connsiteY399" fmla="*/ 461684 h 2020169"/>
                <a:gd name="connsiteX400" fmla="*/ 1014517 w 4011346"/>
                <a:gd name="connsiteY400" fmla="*/ 518417 h 2020169"/>
                <a:gd name="connsiteX401" fmla="*/ 1024529 w 4011346"/>
                <a:gd name="connsiteY401" fmla="*/ 565138 h 2020169"/>
                <a:gd name="connsiteX402" fmla="*/ 981145 w 4011346"/>
                <a:gd name="connsiteY402" fmla="*/ 618534 h 2020169"/>
                <a:gd name="connsiteX403" fmla="*/ 991157 w 4011346"/>
                <a:gd name="connsiteY403" fmla="*/ 655243 h 2020169"/>
                <a:gd name="connsiteX404" fmla="*/ 981145 w 4011346"/>
                <a:gd name="connsiteY404" fmla="*/ 701964 h 2020169"/>
                <a:gd name="connsiteX405" fmla="*/ 1001168 w 4011346"/>
                <a:gd name="connsiteY405" fmla="*/ 725325 h 2020169"/>
                <a:gd name="connsiteX406" fmla="*/ 1017854 w 4011346"/>
                <a:gd name="connsiteY406" fmla="*/ 772046 h 2020169"/>
                <a:gd name="connsiteX407" fmla="*/ 1047890 w 4011346"/>
                <a:gd name="connsiteY407" fmla="*/ 758697 h 2020169"/>
                <a:gd name="connsiteX408" fmla="*/ 1014517 w 4011346"/>
                <a:gd name="connsiteY408" fmla="*/ 812093 h 2020169"/>
                <a:gd name="connsiteX409" fmla="*/ 957784 w 4011346"/>
                <a:gd name="connsiteY409" fmla="*/ 758697 h 2020169"/>
                <a:gd name="connsiteX410" fmla="*/ 884365 w 4011346"/>
                <a:gd name="connsiteY410" fmla="*/ 721988 h 2020169"/>
                <a:gd name="connsiteX411" fmla="*/ 824295 w 4011346"/>
                <a:gd name="connsiteY411" fmla="*/ 698627 h 2020169"/>
                <a:gd name="connsiteX412" fmla="*/ 810946 w 4011346"/>
                <a:gd name="connsiteY412" fmla="*/ 735336 h 2020169"/>
                <a:gd name="connsiteX413" fmla="*/ 827633 w 4011346"/>
                <a:gd name="connsiteY413" fmla="*/ 772046 h 2020169"/>
                <a:gd name="connsiteX414" fmla="*/ 814284 w 4011346"/>
                <a:gd name="connsiteY414" fmla="*/ 795407 h 2020169"/>
                <a:gd name="connsiteX415" fmla="*/ 800935 w 4011346"/>
                <a:gd name="connsiteY415" fmla="*/ 812093 h 2020169"/>
                <a:gd name="connsiteX416" fmla="*/ 770900 w 4011346"/>
                <a:gd name="connsiteY416" fmla="*/ 755360 h 2020169"/>
                <a:gd name="connsiteX417" fmla="*/ 744202 w 4011346"/>
                <a:gd name="connsiteY417" fmla="*/ 792069 h 2020169"/>
                <a:gd name="connsiteX418" fmla="*/ 707492 w 4011346"/>
                <a:gd name="connsiteY418" fmla="*/ 785395 h 2020169"/>
                <a:gd name="connsiteX419" fmla="*/ 654097 w 4011346"/>
                <a:gd name="connsiteY419" fmla="*/ 822104 h 2020169"/>
                <a:gd name="connsiteX420" fmla="*/ 644085 w 4011346"/>
                <a:gd name="connsiteY420" fmla="*/ 798744 h 2020169"/>
                <a:gd name="connsiteX421" fmla="*/ 654097 w 4011346"/>
                <a:gd name="connsiteY421" fmla="*/ 762034 h 2020169"/>
                <a:gd name="connsiteX422" fmla="*/ 614050 w 4011346"/>
                <a:gd name="connsiteY422" fmla="*/ 798744 h 2020169"/>
                <a:gd name="connsiteX423" fmla="*/ 594027 w 4011346"/>
                <a:gd name="connsiteY423" fmla="*/ 798744 h 2020169"/>
                <a:gd name="connsiteX424" fmla="*/ 533957 w 4011346"/>
                <a:gd name="connsiteY424" fmla="*/ 832116 h 2020169"/>
                <a:gd name="connsiteX425" fmla="*/ 510596 w 4011346"/>
                <a:gd name="connsiteY425" fmla="*/ 855477 h 2020169"/>
                <a:gd name="connsiteX426" fmla="*/ 500584 w 4011346"/>
                <a:gd name="connsiteY426" fmla="*/ 902198 h 2020169"/>
                <a:gd name="connsiteX427" fmla="*/ 450526 w 4011346"/>
                <a:gd name="connsiteY427" fmla="*/ 888849 h 2020169"/>
                <a:gd name="connsiteX428" fmla="*/ 433840 w 4011346"/>
                <a:gd name="connsiteY428" fmla="*/ 852139 h 2020169"/>
                <a:gd name="connsiteX429" fmla="*/ 467212 w 4011346"/>
                <a:gd name="connsiteY429" fmla="*/ 822104 h 2020169"/>
                <a:gd name="connsiteX430" fmla="*/ 453863 w 4011346"/>
                <a:gd name="connsiteY430" fmla="*/ 798744 h 2020169"/>
                <a:gd name="connsiteX431" fmla="*/ 390456 w 4011346"/>
                <a:gd name="connsiteY431" fmla="*/ 768709 h 2020169"/>
                <a:gd name="connsiteX432" fmla="*/ 417154 w 4011346"/>
                <a:gd name="connsiteY432" fmla="*/ 818767 h 2020169"/>
                <a:gd name="connsiteX433" fmla="*/ 407142 w 4011346"/>
                <a:gd name="connsiteY433" fmla="*/ 862151 h 2020169"/>
                <a:gd name="connsiteX434" fmla="*/ 413817 w 4011346"/>
                <a:gd name="connsiteY434" fmla="*/ 898861 h 2020169"/>
                <a:gd name="connsiteX435" fmla="*/ 427165 w 4011346"/>
                <a:gd name="connsiteY435" fmla="*/ 922221 h 2020169"/>
                <a:gd name="connsiteX436" fmla="*/ 413817 w 4011346"/>
                <a:gd name="connsiteY436" fmla="*/ 952256 h 2020169"/>
                <a:gd name="connsiteX437" fmla="*/ 390456 w 4011346"/>
                <a:gd name="connsiteY437" fmla="*/ 928896 h 2020169"/>
                <a:gd name="connsiteX438" fmla="*/ 360421 w 4011346"/>
                <a:gd name="connsiteY438" fmla="*/ 925558 h 2020169"/>
                <a:gd name="connsiteX439" fmla="*/ 333723 w 4011346"/>
                <a:gd name="connsiteY439" fmla="*/ 965605 h 2020169"/>
                <a:gd name="connsiteX440" fmla="*/ 307025 w 4011346"/>
                <a:gd name="connsiteY440" fmla="*/ 985628 h 2020169"/>
                <a:gd name="connsiteX441" fmla="*/ 320374 w 4011346"/>
                <a:gd name="connsiteY441" fmla="*/ 1012326 h 2020169"/>
                <a:gd name="connsiteX442" fmla="*/ 303688 w 4011346"/>
                <a:gd name="connsiteY442" fmla="*/ 1035687 h 2020169"/>
                <a:gd name="connsiteX443" fmla="*/ 233606 w 4011346"/>
                <a:gd name="connsiteY443" fmla="*/ 998977 h 2020169"/>
                <a:gd name="connsiteX444" fmla="*/ 243618 w 4011346"/>
                <a:gd name="connsiteY444" fmla="*/ 1049036 h 2020169"/>
                <a:gd name="connsiteX445" fmla="*/ 263641 w 4011346"/>
                <a:gd name="connsiteY445" fmla="*/ 1069059 h 2020169"/>
                <a:gd name="connsiteX446" fmla="*/ 250292 w 4011346"/>
                <a:gd name="connsiteY446" fmla="*/ 1082408 h 2020169"/>
                <a:gd name="connsiteX447" fmla="*/ 193560 w 4011346"/>
                <a:gd name="connsiteY447" fmla="*/ 1045698 h 2020169"/>
                <a:gd name="connsiteX448" fmla="*/ 170199 w 4011346"/>
                <a:gd name="connsiteY448" fmla="*/ 1005652 h 2020169"/>
                <a:gd name="connsiteX449" fmla="*/ 170199 w 4011346"/>
                <a:gd name="connsiteY449" fmla="*/ 958931 h 2020169"/>
                <a:gd name="connsiteX450" fmla="*/ 133490 w 4011346"/>
                <a:gd name="connsiteY450" fmla="*/ 882174 h 2020169"/>
                <a:gd name="connsiteX451" fmla="*/ 196897 w 4011346"/>
                <a:gd name="connsiteY451" fmla="*/ 912209 h 2020169"/>
                <a:gd name="connsiteX452" fmla="*/ 256967 w 4011346"/>
                <a:gd name="connsiteY452" fmla="*/ 942244 h 2020169"/>
                <a:gd name="connsiteX453" fmla="*/ 293676 w 4011346"/>
                <a:gd name="connsiteY453" fmla="*/ 945582 h 2020169"/>
                <a:gd name="connsiteX454" fmla="*/ 327049 w 4011346"/>
                <a:gd name="connsiteY454" fmla="*/ 915547 h 2020169"/>
                <a:gd name="connsiteX455" fmla="*/ 343735 w 4011346"/>
                <a:gd name="connsiteY455" fmla="*/ 878837 h 2020169"/>
                <a:gd name="connsiteX456" fmla="*/ 333723 w 4011346"/>
                <a:gd name="connsiteY456" fmla="*/ 828779 h 2020169"/>
                <a:gd name="connsiteX457" fmla="*/ 290339 w 4011346"/>
                <a:gd name="connsiteY457" fmla="*/ 808755 h 2020169"/>
                <a:gd name="connsiteX458" fmla="*/ 236944 w 4011346"/>
                <a:gd name="connsiteY458" fmla="*/ 762034 h 2020169"/>
                <a:gd name="connsiteX459" fmla="*/ 133490 w 4011346"/>
                <a:gd name="connsiteY459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38408 w 4011346"/>
                <a:gd name="connsiteY324" fmla="*/ 28576 h 2020169"/>
                <a:gd name="connsiteX325" fmla="*/ 1906976 w 4011346"/>
                <a:gd name="connsiteY325" fmla="*/ 97157 h 2020169"/>
                <a:gd name="connsiteX326" fmla="*/ 1909833 w 4011346"/>
                <a:gd name="connsiteY326" fmla="*/ 0 h 2020169"/>
                <a:gd name="connsiteX327" fmla="*/ 1877440 w 4011346"/>
                <a:gd name="connsiteY327" fmla="*/ 3067 h 2020169"/>
                <a:gd name="connsiteX328" fmla="*/ 1835474 w 4011346"/>
                <a:gd name="connsiteY328" fmla="*/ 41195 h 2020169"/>
                <a:gd name="connsiteX329" fmla="*/ 1818788 w 4011346"/>
                <a:gd name="connsiteY329" fmla="*/ 81242 h 2020169"/>
                <a:gd name="connsiteX330" fmla="*/ 1838813 w 4011346"/>
                <a:gd name="connsiteY330" fmla="*/ 134636 h 2020169"/>
                <a:gd name="connsiteX331" fmla="*/ 1782079 w 4011346"/>
                <a:gd name="connsiteY331" fmla="*/ 121287 h 2020169"/>
                <a:gd name="connsiteX332" fmla="*/ 1768731 w 4011346"/>
                <a:gd name="connsiteY332" fmla="*/ 168009 h 2020169"/>
                <a:gd name="connsiteX333" fmla="*/ 1705322 w 4011346"/>
                <a:gd name="connsiteY333" fmla="*/ 191369 h 2020169"/>
                <a:gd name="connsiteX334" fmla="*/ 1685300 w 4011346"/>
                <a:gd name="connsiteY334" fmla="*/ 164671 h 2020169"/>
                <a:gd name="connsiteX335" fmla="*/ 1615218 w 4011346"/>
                <a:gd name="connsiteY335" fmla="*/ 168009 h 2020169"/>
                <a:gd name="connsiteX336" fmla="*/ 1638579 w 4011346"/>
                <a:gd name="connsiteY336" fmla="*/ 198044 h 2020169"/>
                <a:gd name="connsiteX337" fmla="*/ 1528449 w 4011346"/>
                <a:gd name="connsiteY337" fmla="*/ 224740 h 2020169"/>
                <a:gd name="connsiteX338" fmla="*/ 1465043 w 4011346"/>
                <a:gd name="connsiteY338" fmla="*/ 308171 h 2020169"/>
                <a:gd name="connsiteX339" fmla="*/ 1448357 w 4011346"/>
                <a:gd name="connsiteY339" fmla="*/ 334869 h 2020169"/>
                <a:gd name="connsiteX340" fmla="*/ 1481729 w 4011346"/>
                <a:gd name="connsiteY340" fmla="*/ 368242 h 2020169"/>
                <a:gd name="connsiteX341" fmla="*/ 1481729 w 4011346"/>
                <a:gd name="connsiteY341" fmla="*/ 398277 h 2020169"/>
                <a:gd name="connsiteX342" fmla="*/ 1458368 w 4011346"/>
                <a:gd name="connsiteY342" fmla="*/ 401614 h 2020169"/>
                <a:gd name="connsiteX343" fmla="*/ 1458368 w 4011346"/>
                <a:gd name="connsiteY343" fmla="*/ 381590 h 2020169"/>
                <a:gd name="connsiteX344" fmla="*/ 1418322 w 4011346"/>
                <a:gd name="connsiteY344" fmla="*/ 391602 h 2020169"/>
                <a:gd name="connsiteX345" fmla="*/ 1368263 w 4011346"/>
                <a:gd name="connsiteY345" fmla="*/ 398277 h 2020169"/>
                <a:gd name="connsiteX346" fmla="*/ 1321542 w 4011346"/>
                <a:gd name="connsiteY346" fmla="*/ 404951 h 2020169"/>
                <a:gd name="connsiteX347" fmla="*/ 1318205 w 4011346"/>
                <a:gd name="connsiteY347" fmla="*/ 491719 h 2020169"/>
                <a:gd name="connsiteX348" fmla="*/ 1358252 w 4011346"/>
                <a:gd name="connsiteY348" fmla="*/ 515080 h 2020169"/>
                <a:gd name="connsiteX349" fmla="*/ 1374938 w 4011346"/>
                <a:gd name="connsiteY349" fmla="*/ 545115 h 2020169"/>
                <a:gd name="connsiteX350" fmla="*/ 1384949 w 4011346"/>
                <a:gd name="connsiteY350" fmla="*/ 568475 h 2020169"/>
                <a:gd name="connsiteX351" fmla="*/ 1394961 w 4011346"/>
                <a:gd name="connsiteY351" fmla="*/ 618534 h 2020169"/>
                <a:gd name="connsiteX352" fmla="*/ 1384949 w 4011346"/>
                <a:gd name="connsiteY352" fmla="*/ 648569 h 2020169"/>
                <a:gd name="connsiteX353" fmla="*/ 1358252 w 4011346"/>
                <a:gd name="connsiteY353" fmla="*/ 615196 h 2020169"/>
                <a:gd name="connsiteX354" fmla="*/ 1361589 w 4011346"/>
                <a:gd name="connsiteY354" fmla="*/ 585161 h 2020169"/>
                <a:gd name="connsiteX355" fmla="*/ 1351577 w 4011346"/>
                <a:gd name="connsiteY355" fmla="*/ 545115 h 2020169"/>
                <a:gd name="connsiteX356" fmla="*/ 1328217 w 4011346"/>
                <a:gd name="connsiteY356" fmla="*/ 551789 h 2020169"/>
                <a:gd name="connsiteX357" fmla="*/ 1281495 w 4011346"/>
                <a:gd name="connsiteY357" fmla="*/ 515080 h 2020169"/>
                <a:gd name="connsiteX358" fmla="*/ 1241449 w 4011346"/>
                <a:gd name="connsiteY358" fmla="*/ 511742 h 2020169"/>
                <a:gd name="connsiteX359" fmla="*/ 1241449 w 4011346"/>
                <a:gd name="connsiteY359" fmla="*/ 558463 h 2020169"/>
                <a:gd name="connsiteX360" fmla="*/ 1201402 w 4011346"/>
                <a:gd name="connsiteY360" fmla="*/ 538440 h 2020169"/>
                <a:gd name="connsiteX361" fmla="*/ 1228100 w 4011346"/>
                <a:gd name="connsiteY361" fmla="*/ 588498 h 2020169"/>
                <a:gd name="connsiteX362" fmla="*/ 1258135 w 4011346"/>
                <a:gd name="connsiteY362" fmla="*/ 598510 h 2020169"/>
                <a:gd name="connsiteX363" fmla="*/ 1258135 w 4011346"/>
                <a:gd name="connsiteY363" fmla="*/ 618534 h 2020169"/>
                <a:gd name="connsiteX364" fmla="*/ 1198065 w 4011346"/>
                <a:gd name="connsiteY364" fmla="*/ 595173 h 2020169"/>
                <a:gd name="connsiteX365" fmla="*/ 1181379 w 4011346"/>
                <a:gd name="connsiteY365" fmla="*/ 595173 h 2020169"/>
                <a:gd name="connsiteX366" fmla="*/ 1178041 w 4011346"/>
                <a:gd name="connsiteY366" fmla="*/ 551789 h 2020169"/>
                <a:gd name="connsiteX367" fmla="*/ 1171367 w 4011346"/>
                <a:gd name="connsiteY367" fmla="*/ 465021 h 2020169"/>
                <a:gd name="connsiteX368" fmla="*/ 1161355 w 4011346"/>
                <a:gd name="connsiteY368" fmla="*/ 535103 h 2020169"/>
                <a:gd name="connsiteX369" fmla="*/ 1137995 w 4011346"/>
                <a:gd name="connsiteY369" fmla="*/ 565138 h 2020169"/>
                <a:gd name="connsiteX370" fmla="*/ 1158018 w 4011346"/>
                <a:gd name="connsiteY370" fmla="*/ 611859 h 2020169"/>
                <a:gd name="connsiteX371" fmla="*/ 1158018 w 4011346"/>
                <a:gd name="connsiteY371" fmla="*/ 645231 h 2020169"/>
                <a:gd name="connsiteX372" fmla="*/ 1141332 w 4011346"/>
                <a:gd name="connsiteY372" fmla="*/ 695290 h 2020169"/>
                <a:gd name="connsiteX373" fmla="*/ 1154681 w 4011346"/>
                <a:gd name="connsiteY373" fmla="*/ 728662 h 2020169"/>
                <a:gd name="connsiteX374" fmla="*/ 1184716 w 4011346"/>
                <a:gd name="connsiteY374" fmla="*/ 735336 h 2020169"/>
                <a:gd name="connsiteX375" fmla="*/ 1221425 w 4011346"/>
                <a:gd name="connsiteY375" fmla="*/ 742011 h 2020169"/>
                <a:gd name="connsiteX376" fmla="*/ 1241449 w 4011346"/>
                <a:gd name="connsiteY376" fmla="*/ 765371 h 2020169"/>
                <a:gd name="connsiteX377" fmla="*/ 1258135 w 4011346"/>
                <a:gd name="connsiteY377" fmla="*/ 808755 h 2020169"/>
                <a:gd name="connsiteX378" fmla="*/ 1258135 w 4011346"/>
                <a:gd name="connsiteY378" fmla="*/ 808755 h 2020169"/>
                <a:gd name="connsiteX379" fmla="*/ 1254798 w 4011346"/>
                <a:gd name="connsiteY379" fmla="*/ 842128 h 2020169"/>
                <a:gd name="connsiteX380" fmla="*/ 1274821 w 4011346"/>
                <a:gd name="connsiteY380" fmla="*/ 862151 h 2020169"/>
                <a:gd name="connsiteX381" fmla="*/ 1244786 w 4011346"/>
                <a:gd name="connsiteY381" fmla="*/ 868826 h 2020169"/>
                <a:gd name="connsiteX382" fmla="*/ 1224763 w 4011346"/>
                <a:gd name="connsiteY382" fmla="*/ 828779 h 2020169"/>
                <a:gd name="connsiteX383" fmla="*/ 1224763 w 4011346"/>
                <a:gd name="connsiteY383" fmla="*/ 788732 h 2020169"/>
                <a:gd name="connsiteX384" fmla="*/ 1194727 w 4011346"/>
                <a:gd name="connsiteY384" fmla="*/ 752023 h 2020169"/>
                <a:gd name="connsiteX385" fmla="*/ 1164692 w 4011346"/>
                <a:gd name="connsiteY385" fmla="*/ 795407 h 2020169"/>
                <a:gd name="connsiteX386" fmla="*/ 1178041 w 4011346"/>
                <a:gd name="connsiteY386" fmla="*/ 838790 h 2020169"/>
                <a:gd name="connsiteX387" fmla="*/ 1137995 w 4011346"/>
                <a:gd name="connsiteY387" fmla="*/ 895523 h 2020169"/>
                <a:gd name="connsiteX388" fmla="*/ 1097948 w 4011346"/>
                <a:gd name="connsiteY388" fmla="*/ 952256 h 2020169"/>
                <a:gd name="connsiteX389" fmla="*/ 1007843 w 4011346"/>
                <a:gd name="connsiteY389" fmla="*/ 915547 h 2020169"/>
                <a:gd name="connsiteX390" fmla="*/ 1074587 w 4011346"/>
                <a:gd name="connsiteY390" fmla="*/ 912209 h 2020169"/>
                <a:gd name="connsiteX391" fmla="*/ 1107960 w 4011346"/>
                <a:gd name="connsiteY391" fmla="*/ 848802 h 2020169"/>
                <a:gd name="connsiteX392" fmla="*/ 1121309 w 4011346"/>
                <a:gd name="connsiteY392" fmla="*/ 805418 h 2020169"/>
                <a:gd name="connsiteX393" fmla="*/ 1127983 w 4011346"/>
                <a:gd name="connsiteY393" fmla="*/ 772046 h 2020169"/>
                <a:gd name="connsiteX394" fmla="*/ 1117971 w 4011346"/>
                <a:gd name="connsiteY394" fmla="*/ 755360 h 2020169"/>
                <a:gd name="connsiteX395" fmla="*/ 1114634 w 4011346"/>
                <a:gd name="connsiteY395" fmla="*/ 705301 h 2020169"/>
                <a:gd name="connsiteX396" fmla="*/ 1104622 w 4011346"/>
                <a:gd name="connsiteY396" fmla="*/ 625208 h 2020169"/>
                <a:gd name="connsiteX397" fmla="*/ 1101285 w 4011346"/>
                <a:gd name="connsiteY397" fmla="*/ 565138 h 2020169"/>
                <a:gd name="connsiteX398" fmla="*/ 1124646 w 4011346"/>
                <a:gd name="connsiteY398" fmla="*/ 471696 h 2020169"/>
                <a:gd name="connsiteX399" fmla="*/ 1031203 w 4011346"/>
                <a:gd name="connsiteY399" fmla="*/ 461684 h 2020169"/>
                <a:gd name="connsiteX400" fmla="*/ 1014517 w 4011346"/>
                <a:gd name="connsiteY400" fmla="*/ 518417 h 2020169"/>
                <a:gd name="connsiteX401" fmla="*/ 1024529 w 4011346"/>
                <a:gd name="connsiteY401" fmla="*/ 565138 h 2020169"/>
                <a:gd name="connsiteX402" fmla="*/ 981145 w 4011346"/>
                <a:gd name="connsiteY402" fmla="*/ 618534 h 2020169"/>
                <a:gd name="connsiteX403" fmla="*/ 991157 w 4011346"/>
                <a:gd name="connsiteY403" fmla="*/ 655243 h 2020169"/>
                <a:gd name="connsiteX404" fmla="*/ 981145 w 4011346"/>
                <a:gd name="connsiteY404" fmla="*/ 701964 h 2020169"/>
                <a:gd name="connsiteX405" fmla="*/ 1001168 w 4011346"/>
                <a:gd name="connsiteY405" fmla="*/ 725325 h 2020169"/>
                <a:gd name="connsiteX406" fmla="*/ 1017854 w 4011346"/>
                <a:gd name="connsiteY406" fmla="*/ 772046 h 2020169"/>
                <a:gd name="connsiteX407" fmla="*/ 1047890 w 4011346"/>
                <a:gd name="connsiteY407" fmla="*/ 758697 h 2020169"/>
                <a:gd name="connsiteX408" fmla="*/ 1014517 w 4011346"/>
                <a:gd name="connsiteY408" fmla="*/ 812093 h 2020169"/>
                <a:gd name="connsiteX409" fmla="*/ 957784 w 4011346"/>
                <a:gd name="connsiteY409" fmla="*/ 758697 h 2020169"/>
                <a:gd name="connsiteX410" fmla="*/ 884365 w 4011346"/>
                <a:gd name="connsiteY410" fmla="*/ 721988 h 2020169"/>
                <a:gd name="connsiteX411" fmla="*/ 824295 w 4011346"/>
                <a:gd name="connsiteY411" fmla="*/ 698627 h 2020169"/>
                <a:gd name="connsiteX412" fmla="*/ 810946 w 4011346"/>
                <a:gd name="connsiteY412" fmla="*/ 735336 h 2020169"/>
                <a:gd name="connsiteX413" fmla="*/ 827633 w 4011346"/>
                <a:gd name="connsiteY413" fmla="*/ 772046 h 2020169"/>
                <a:gd name="connsiteX414" fmla="*/ 814284 w 4011346"/>
                <a:gd name="connsiteY414" fmla="*/ 795407 h 2020169"/>
                <a:gd name="connsiteX415" fmla="*/ 800935 w 4011346"/>
                <a:gd name="connsiteY415" fmla="*/ 812093 h 2020169"/>
                <a:gd name="connsiteX416" fmla="*/ 770900 w 4011346"/>
                <a:gd name="connsiteY416" fmla="*/ 755360 h 2020169"/>
                <a:gd name="connsiteX417" fmla="*/ 744202 w 4011346"/>
                <a:gd name="connsiteY417" fmla="*/ 792069 h 2020169"/>
                <a:gd name="connsiteX418" fmla="*/ 707492 w 4011346"/>
                <a:gd name="connsiteY418" fmla="*/ 785395 h 2020169"/>
                <a:gd name="connsiteX419" fmla="*/ 654097 w 4011346"/>
                <a:gd name="connsiteY419" fmla="*/ 822104 h 2020169"/>
                <a:gd name="connsiteX420" fmla="*/ 644085 w 4011346"/>
                <a:gd name="connsiteY420" fmla="*/ 798744 h 2020169"/>
                <a:gd name="connsiteX421" fmla="*/ 654097 w 4011346"/>
                <a:gd name="connsiteY421" fmla="*/ 762034 h 2020169"/>
                <a:gd name="connsiteX422" fmla="*/ 614050 w 4011346"/>
                <a:gd name="connsiteY422" fmla="*/ 798744 h 2020169"/>
                <a:gd name="connsiteX423" fmla="*/ 594027 w 4011346"/>
                <a:gd name="connsiteY423" fmla="*/ 798744 h 2020169"/>
                <a:gd name="connsiteX424" fmla="*/ 533957 w 4011346"/>
                <a:gd name="connsiteY424" fmla="*/ 832116 h 2020169"/>
                <a:gd name="connsiteX425" fmla="*/ 510596 w 4011346"/>
                <a:gd name="connsiteY425" fmla="*/ 855477 h 2020169"/>
                <a:gd name="connsiteX426" fmla="*/ 500584 w 4011346"/>
                <a:gd name="connsiteY426" fmla="*/ 902198 h 2020169"/>
                <a:gd name="connsiteX427" fmla="*/ 450526 w 4011346"/>
                <a:gd name="connsiteY427" fmla="*/ 888849 h 2020169"/>
                <a:gd name="connsiteX428" fmla="*/ 433840 w 4011346"/>
                <a:gd name="connsiteY428" fmla="*/ 852139 h 2020169"/>
                <a:gd name="connsiteX429" fmla="*/ 467212 w 4011346"/>
                <a:gd name="connsiteY429" fmla="*/ 822104 h 2020169"/>
                <a:gd name="connsiteX430" fmla="*/ 453863 w 4011346"/>
                <a:gd name="connsiteY430" fmla="*/ 798744 h 2020169"/>
                <a:gd name="connsiteX431" fmla="*/ 390456 w 4011346"/>
                <a:gd name="connsiteY431" fmla="*/ 768709 h 2020169"/>
                <a:gd name="connsiteX432" fmla="*/ 417154 w 4011346"/>
                <a:gd name="connsiteY432" fmla="*/ 818767 h 2020169"/>
                <a:gd name="connsiteX433" fmla="*/ 407142 w 4011346"/>
                <a:gd name="connsiteY433" fmla="*/ 862151 h 2020169"/>
                <a:gd name="connsiteX434" fmla="*/ 413817 w 4011346"/>
                <a:gd name="connsiteY434" fmla="*/ 898861 h 2020169"/>
                <a:gd name="connsiteX435" fmla="*/ 427165 w 4011346"/>
                <a:gd name="connsiteY435" fmla="*/ 922221 h 2020169"/>
                <a:gd name="connsiteX436" fmla="*/ 413817 w 4011346"/>
                <a:gd name="connsiteY436" fmla="*/ 952256 h 2020169"/>
                <a:gd name="connsiteX437" fmla="*/ 390456 w 4011346"/>
                <a:gd name="connsiteY437" fmla="*/ 928896 h 2020169"/>
                <a:gd name="connsiteX438" fmla="*/ 360421 w 4011346"/>
                <a:gd name="connsiteY438" fmla="*/ 925558 h 2020169"/>
                <a:gd name="connsiteX439" fmla="*/ 333723 w 4011346"/>
                <a:gd name="connsiteY439" fmla="*/ 965605 h 2020169"/>
                <a:gd name="connsiteX440" fmla="*/ 307025 w 4011346"/>
                <a:gd name="connsiteY440" fmla="*/ 985628 h 2020169"/>
                <a:gd name="connsiteX441" fmla="*/ 320374 w 4011346"/>
                <a:gd name="connsiteY441" fmla="*/ 1012326 h 2020169"/>
                <a:gd name="connsiteX442" fmla="*/ 303688 w 4011346"/>
                <a:gd name="connsiteY442" fmla="*/ 1035687 h 2020169"/>
                <a:gd name="connsiteX443" fmla="*/ 233606 w 4011346"/>
                <a:gd name="connsiteY443" fmla="*/ 998977 h 2020169"/>
                <a:gd name="connsiteX444" fmla="*/ 243618 w 4011346"/>
                <a:gd name="connsiteY444" fmla="*/ 1049036 h 2020169"/>
                <a:gd name="connsiteX445" fmla="*/ 263641 w 4011346"/>
                <a:gd name="connsiteY445" fmla="*/ 1069059 h 2020169"/>
                <a:gd name="connsiteX446" fmla="*/ 250292 w 4011346"/>
                <a:gd name="connsiteY446" fmla="*/ 1082408 h 2020169"/>
                <a:gd name="connsiteX447" fmla="*/ 193560 w 4011346"/>
                <a:gd name="connsiteY447" fmla="*/ 1045698 h 2020169"/>
                <a:gd name="connsiteX448" fmla="*/ 170199 w 4011346"/>
                <a:gd name="connsiteY448" fmla="*/ 1005652 h 2020169"/>
                <a:gd name="connsiteX449" fmla="*/ 170199 w 4011346"/>
                <a:gd name="connsiteY449" fmla="*/ 958931 h 2020169"/>
                <a:gd name="connsiteX450" fmla="*/ 133490 w 4011346"/>
                <a:gd name="connsiteY450" fmla="*/ 882174 h 2020169"/>
                <a:gd name="connsiteX451" fmla="*/ 196897 w 4011346"/>
                <a:gd name="connsiteY451" fmla="*/ 912209 h 2020169"/>
                <a:gd name="connsiteX452" fmla="*/ 256967 w 4011346"/>
                <a:gd name="connsiteY452" fmla="*/ 942244 h 2020169"/>
                <a:gd name="connsiteX453" fmla="*/ 293676 w 4011346"/>
                <a:gd name="connsiteY453" fmla="*/ 945582 h 2020169"/>
                <a:gd name="connsiteX454" fmla="*/ 327049 w 4011346"/>
                <a:gd name="connsiteY454" fmla="*/ 915547 h 2020169"/>
                <a:gd name="connsiteX455" fmla="*/ 343735 w 4011346"/>
                <a:gd name="connsiteY455" fmla="*/ 878837 h 2020169"/>
                <a:gd name="connsiteX456" fmla="*/ 333723 w 4011346"/>
                <a:gd name="connsiteY456" fmla="*/ 828779 h 2020169"/>
                <a:gd name="connsiteX457" fmla="*/ 290339 w 4011346"/>
                <a:gd name="connsiteY457" fmla="*/ 808755 h 2020169"/>
                <a:gd name="connsiteX458" fmla="*/ 236944 w 4011346"/>
                <a:gd name="connsiteY458" fmla="*/ 762034 h 2020169"/>
                <a:gd name="connsiteX459" fmla="*/ 133490 w 4011346"/>
                <a:gd name="connsiteY459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58411 w 4011346"/>
                <a:gd name="connsiteY324" fmla="*/ 71438 h 2020169"/>
                <a:gd name="connsiteX325" fmla="*/ 1906976 w 4011346"/>
                <a:gd name="connsiteY325" fmla="*/ 97157 h 2020169"/>
                <a:gd name="connsiteX326" fmla="*/ 1909833 w 4011346"/>
                <a:gd name="connsiteY326" fmla="*/ 0 h 2020169"/>
                <a:gd name="connsiteX327" fmla="*/ 1877440 w 4011346"/>
                <a:gd name="connsiteY327" fmla="*/ 3067 h 2020169"/>
                <a:gd name="connsiteX328" fmla="*/ 1835474 w 4011346"/>
                <a:gd name="connsiteY328" fmla="*/ 41195 h 2020169"/>
                <a:gd name="connsiteX329" fmla="*/ 1818788 w 4011346"/>
                <a:gd name="connsiteY329" fmla="*/ 81242 h 2020169"/>
                <a:gd name="connsiteX330" fmla="*/ 1838813 w 4011346"/>
                <a:gd name="connsiteY330" fmla="*/ 134636 h 2020169"/>
                <a:gd name="connsiteX331" fmla="*/ 1782079 w 4011346"/>
                <a:gd name="connsiteY331" fmla="*/ 121287 h 2020169"/>
                <a:gd name="connsiteX332" fmla="*/ 1768731 w 4011346"/>
                <a:gd name="connsiteY332" fmla="*/ 168009 h 2020169"/>
                <a:gd name="connsiteX333" fmla="*/ 1705322 w 4011346"/>
                <a:gd name="connsiteY333" fmla="*/ 191369 h 2020169"/>
                <a:gd name="connsiteX334" fmla="*/ 1685300 w 4011346"/>
                <a:gd name="connsiteY334" fmla="*/ 164671 h 2020169"/>
                <a:gd name="connsiteX335" fmla="*/ 1615218 w 4011346"/>
                <a:gd name="connsiteY335" fmla="*/ 168009 h 2020169"/>
                <a:gd name="connsiteX336" fmla="*/ 1638579 w 4011346"/>
                <a:gd name="connsiteY336" fmla="*/ 198044 h 2020169"/>
                <a:gd name="connsiteX337" fmla="*/ 1528449 w 4011346"/>
                <a:gd name="connsiteY337" fmla="*/ 224740 h 2020169"/>
                <a:gd name="connsiteX338" fmla="*/ 1465043 w 4011346"/>
                <a:gd name="connsiteY338" fmla="*/ 308171 h 2020169"/>
                <a:gd name="connsiteX339" fmla="*/ 1448357 w 4011346"/>
                <a:gd name="connsiteY339" fmla="*/ 334869 h 2020169"/>
                <a:gd name="connsiteX340" fmla="*/ 1481729 w 4011346"/>
                <a:gd name="connsiteY340" fmla="*/ 368242 h 2020169"/>
                <a:gd name="connsiteX341" fmla="*/ 1481729 w 4011346"/>
                <a:gd name="connsiteY341" fmla="*/ 398277 h 2020169"/>
                <a:gd name="connsiteX342" fmla="*/ 1458368 w 4011346"/>
                <a:gd name="connsiteY342" fmla="*/ 401614 h 2020169"/>
                <a:gd name="connsiteX343" fmla="*/ 1458368 w 4011346"/>
                <a:gd name="connsiteY343" fmla="*/ 381590 h 2020169"/>
                <a:gd name="connsiteX344" fmla="*/ 1418322 w 4011346"/>
                <a:gd name="connsiteY344" fmla="*/ 391602 h 2020169"/>
                <a:gd name="connsiteX345" fmla="*/ 1368263 w 4011346"/>
                <a:gd name="connsiteY345" fmla="*/ 398277 h 2020169"/>
                <a:gd name="connsiteX346" fmla="*/ 1321542 w 4011346"/>
                <a:gd name="connsiteY346" fmla="*/ 404951 h 2020169"/>
                <a:gd name="connsiteX347" fmla="*/ 1318205 w 4011346"/>
                <a:gd name="connsiteY347" fmla="*/ 491719 h 2020169"/>
                <a:gd name="connsiteX348" fmla="*/ 1358252 w 4011346"/>
                <a:gd name="connsiteY348" fmla="*/ 515080 h 2020169"/>
                <a:gd name="connsiteX349" fmla="*/ 1374938 w 4011346"/>
                <a:gd name="connsiteY349" fmla="*/ 545115 h 2020169"/>
                <a:gd name="connsiteX350" fmla="*/ 1384949 w 4011346"/>
                <a:gd name="connsiteY350" fmla="*/ 568475 h 2020169"/>
                <a:gd name="connsiteX351" fmla="*/ 1394961 w 4011346"/>
                <a:gd name="connsiteY351" fmla="*/ 618534 h 2020169"/>
                <a:gd name="connsiteX352" fmla="*/ 1384949 w 4011346"/>
                <a:gd name="connsiteY352" fmla="*/ 648569 h 2020169"/>
                <a:gd name="connsiteX353" fmla="*/ 1358252 w 4011346"/>
                <a:gd name="connsiteY353" fmla="*/ 615196 h 2020169"/>
                <a:gd name="connsiteX354" fmla="*/ 1361589 w 4011346"/>
                <a:gd name="connsiteY354" fmla="*/ 585161 h 2020169"/>
                <a:gd name="connsiteX355" fmla="*/ 1351577 w 4011346"/>
                <a:gd name="connsiteY355" fmla="*/ 545115 h 2020169"/>
                <a:gd name="connsiteX356" fmla="*/ 1328217 w 4011346"/>
                <a:gd name="connsiteY356" fmla="*/ 551789 h 2020169"/>
                <a:gd name="connsiteX357" fmla="*/ 1281495 w 4011346"/>
                <a:gd name="connsiteY357" fmla="*/ 515080 h 2020169"/>
                <a:gd name="connsiteX358" fmla="*/ 1241449 w 4011346"/>
                <a:gd name="connsiteY358" fmla="*/ 511742 h 2020169"/>
                <a:gd name="connsiteX359" fmla="*/ 1241449 w 4011346"/>
                <a:gd name="connsiteY359" fmla="*/ 558463 h 2020169"/>
                <a:gd name="connsiteX360" fmla="*/ 1201402 w 4011346"/>
                <a:gd name="connsiteY360" fmla="*/ 538440 h 2020169"/>
                <a:gd name="connsiteX361" fmla="*/ 1228100 w 4011346"/>
                <a:gd name="connsiteY361" fmla="*/ 588498 h 2020169"/>
                <a:gd name="connsiteX362" fmla="*/ 1258135 w 4011346"/>
                <a:gd name="connsiteY362" fmla="*/ 598510 h 2020169"/>
                <a:gd name="connsiteX363" fmla="*/ 1258135 w 4011346"/>
                <a:gd name="connsiteY363" fmla="*/ 618534 h 2020169"/>
                <a:gd name="connsiteX364" fmla="*/ 1198065 w 4011346"/>
                <a:gd name="connsiteY364" fmla="*/ 595173 h 2020169"/>
                <a:gd name="connsiteX365" fmla="*/ 1181379 w 4011346"/>
                <a:gd name="connsiteY365" fmla="*/ 595173 h 2020169"/>
                <a:gd name="connsiteX366" fmla="*/ 1178041 w 4011346"/>
                <a:gd name="connsiteY366" fmla="*/ 551789 h 2020169"/>
                <a:gd name="connsiteX367" fmla="*/ 1171367 w 4011346"/>
                <a:gd name="connsiteY367" fmla="*/ 465021 h 2020169"/>
                <a:gd name="connsiteX368" fmla="*/ 1161355 w 4011346"/>
                <a:gd name="connsiteY368" fmla="*/ 535103 h 2020169"/>
                <a:gd name="connsiteX369" fmla="*/ 1137995 w 4011346"/>
                <a:gd name="connsiteY369" fmla="*/ 565138 h 2020169"/>
                <a:gd name="connsiteX370" fmla="*/ 1158018 w 4011346"/>
                <a:gd name="connsiteY370" fmla="*/ 611859 h 2020169"/>
                <a:gd name="connsiteX371" fmla="*/ 1158018 w 4011346"/>
                <a:gd name="connsiteY371" fmla="*/ 645231 h 2020169"/>
                <a:gd name="connsiteX372" fmla="*/ 1141332 w 4011346"/>
                <a:gd name="connsiteY372" fmla="*/ 695290 h 2020169"/>
                <a:gd name="connsiteX373" fmla="*/ 1154681 w 4011346"/>
                <a:gd name="connsiteY373" fmla="*/ 728662 h 2020169"/>
                <a:gd name="connsiteX374" fmla="*/ 1184716 w 4011346"/>
                <a:gd name="connsiteY374" fmla="*/ 735336 h 2020169"/>
                <a:gd name="connsiteX375" fmla="*/ 1221425 w 4011346"/>
                <a:gd name="connsiteY375" fmla="*/ 742011 h 2020169"/>
                <a:gd name="connsiteX376" fmla="*/ 1241449 w 4011346"/>
                <a:gd name="connsiteY376" fmla="*/ 765371 h 2020169"/>
                <a:gd name="connsiteX377" fmla="*/ 1258135 w 4011346"/>
                <a:gd name="connsiteY377" fmla="*/ 808755 h 2020169"/>
                <a:gd name="connsiteX378" fmla="*/ 1258135 w 4011346"/>
                <a:gd name="connsiteY378" fmla="*/ 808755 h 2020169"/>
                <a:gd name="connsiteX379" fmla="*/ 1254798 w 4011346"/>
                <a:gd name="connsiteY379" fmla="*/ 842128 h 2020169"/>
                <a:gd name="connsiteX380" fmla="*/ 1274821 w 4011346"/>
                <a:gd name="connsiteY380" fmla="*/ 862151 h 2020169"/>
                <a:gd name="connsiteX381" fmla="*/ 1244786 w 4011346"/>
                <a:gd name="connsiteY381" fmla="*/ 868826 h 2020169"/>
                <a:gd name="connsiteX382" fmla="*/ 1224763 w 4011346"/>
                <a:gd name="connsiteY382" fmla="*/ 828779 h 2020169"/>
                <a:gd name="connsiteX383" fmla="*/ 1224763 w 4011346"/>
                <a:gd name="connsiteY383" fmla="*/ 788732 h 2020169"/>
                <a:gd name="connsiteX384" fmla="*/ 1194727 w 4011346"/>
                <a:gd name="connsiteY384" fmla="*/ 752023 h 2020169"/>
                <a:gd name="connsiteX385" fmla="*/ 1164692 w 4011346"/>
                <a:gd name="connsiteY385" fmla="*/ 795407 h 2020169"/>
                <a:gd name="connsiteX386" fmla="*/ 1178041 w 4011346"/>
                <a:gd name="connsiteY386" fmla="*/ 838790 h 2020169"/>
                <a:gd name="connsiteX387" fmla="*/ 1137995 w 4011346"/>
                <a:gd name="connsiteY387" fmla="*/ 895523 h 2020169"/>
                <a:gd name="connsiteX388" fmla="*/ 1097948 w 4011346"/>
                <a:gd name="connsiteY388" fmla="*/ 952256 h 2020169"/>
                <a:gd name="connsiteX389" fmla="*/ 1007843 w 4011346"/>
                <a:gd name="connsiteY389" fmla="*/ 915547 h 2020169"/>
                <a:gd name="connsiteX390" fmla="*/ 1074587 w 4011346"/>
                <a:gd name="connsiteY390" fmla="*/ 912209 h 2020169"/>
                <a:gd name="connsiteX391" fmla="*/ 1107960 w 4011346"/>
                <a:gd name="connsiteY391" fmla="*/ 848802 h 2020169"/>
                <a:gd name="connsiteX392" fmla="*/ 1121309 w 4011346"/>
                <a:gd name="connsiteY392" fmla="*/ 805418 h 2020169"/>
                <a:gd name="connsiteX393" fmla="*/ 1127983 w 4011346"/>
                <a:gd name="connsiteY393" fmla="*/ 772046 h 2020169"/>
                <a:gd name="connsiteX394" fmla="*/ 1117971 w 4011346"/>
                <a:gd name="connsiteY394" fmla="*/ 755360 h 2020169"/>
                <a:gd name="connsiteX395" fmla="*/ 1114634 w 4011346"/>
                <a:gd name="connsiteY395" fmla="*/ 705301 h 2020169"/>
                <a:gd name="connsiteX396" fmla="*/ 1104622 w 4011346"/>
                <a:gd name="connsiteY396" fmla="*/ 625208 h 2020169"/>
                <a:gd name="connsiteX397" fmla="*/ 1101285 w 4011346"/>
                <a:gd name="connsiteY397" fmla="*/ 565138 h 2020169"/>
                <a:gd name="connsiteX398" fmla="*/ 1124646 w 4011346"/>
                <a:gd name="connsiteY398" fmla="*/ 471696 h 2020169"/>
                <a:gd name="connsiteX399" fmla="*/ 1031203 w 4011346"/>
                <a:gd name="connsiteY399" fmla="*/ 461684 h 2020169"/>
                <a:gd name="connsiteX400" fmla="*/ 1014517 w 4011346"/>
                <a:gd name="connsiteY400" fmla="*/ 518417 h 2020169"/>
                <a:gd name="connsiteX401" fmla="*/ 1024529 w 4011346"/>
                <a:gd name="connsiteY401" fmla="*/ 565138 h 2020169"/>
                <a:gd name="connsiteX402" fmla="*/ 981145 w 4011346"/>
                <a:gd name="connsiteY402" fmla="*/ 618534 h 2020169"/>
                <a:gd name="connsiteX403" fmla="*/ 991157 w 4011346"/>
                <a:gd name="connsiteY403" fmla="*/ 655243 h 2020169"/>
                <a:gd name="connsiteX404" fmla="*/ 981145 w 4011346"/>
                <a:gd name="connsiteY404" fmla="*/ 701964 h 2020169"/>
                <a:gd name="connsiteX405" fmla="*/ 1001168 w 4011346"/>
                <a:gd name="connsiteY405" fmla="*/ 725325 h 2020169"/>
                <a:gd name="connsiteX406" fmla="*/ 1017854 w 4011346"/>
                <a:gd name="connsiteY406" fmla="*/ 772046 h 2020169"/>
                <a:gd name="connsiteX407" fmla="*/ 1047890 w 4011346"/>
                <a:gd name="connsiteY407" fmla="*/ 758697 h 2020169"/>
                <a:gd name="connsiteX408" fmla="*/ 1014517 w 4011346"/>
                <a:gd name="connsiteY408" fmla="*/ 812093 h 2020169"/>
                <a:gd name="connsiteX409" fmla="*/ 957784 w 4011346"/>
                <a:gd name="connsiteY409" fmla="*/ 758697 h 2020169"/>
                <a:gd name="connsiteX410" fmla="*/ 884365 w 4011346"/>
                <a:gd name="connsiteY410" fmla="*/ 721988 h 2020169"/>
                <a:gd name="connsiteX411" fmla="*/ 824295 w 4011346"/>
                <a:gd name="connsiteY411" fmla="*/ 698627 h 2020169"/>
                <a:gd name="connsiteX412" fmla="*/ 810946 w 4011346"/>
                <a:gd name="connsiteY412" fmla="*/ 735336 h 2020169"/>
                <a:gd name="connsiteX413" fmla="*/ 827633 w 4011346"/>
                <a:gd name="connsiteY413" fmla="*/ 772046 h 2020169"/>
                <a:gd name="connsiteX414" fmla="*/ 814284 w 4011346"/>
                <a:gd name="connsiteY414" fmla="*/ 795407 h 2020169"/>
                <a:gd name="connsiteX415" fmla="*/ 800935 w 4011346"/>
                <a:gd name="connsiteY415" fmla="*/ 812093 h 2020169"/>
                <a:gd name="connsiteX416" fmla="*/ 770900 w 4011346"/>
                <a:gd name="connsiteY416" fmla="*/ 755360 h 2020169"/>
                <a:gd name="connsiteX417" fmla="*/ 744202 w 4011346"/>
                <a:gd name="connsiteY417" fmla="*/ 792069 h 2020169"/>
                <a:gd name="connsiteX418" fmla="*/ 707492 w 4011346"/>
                <a:gd name="connsiteY418" fmla="*/ 785395 h 2020169"/>
                <a:gd name="connsiteX419" fmla="*/ 654097 w 4011346"/>
                <a:gd name="connsiteY419" fmla="*/ 822104 h 2020169"/>
                <a:gd name="connsiteX420" fmla="*/ 644085 w 4011346"/>
                <a:gd name="connsiteY420" fmla="*/ 798744 h 2020169"/>
                <a:gd name="connsiteX421" fmla="*/ 654097 w 4011346"/>
                <a:gd name="connsiteY421" fmla="*/ 762034 h 2020169"/>
                <a:gd name="connsiteX422" fmla="*/ 614050 w 4011346"/>
                <a:gd name="connsiteY422" fmla="*/ 798744 h 2020169"/>
                <a:gd name="connsiteX423" fmla="*/ 594027 w 4011346"/>
                <a:gd name="connsiteY423" fmla="*/ 798744 h 2020169"/>
                <a:gd name="connsiteX424" fmla="*/ 533957 w 4011346"/>
                <a:gd name="connsiteY424" fmla="*/ 832116 h 2020169"/>
                <a:gd name="connsiteX425" fmla="*/ 510596 w 4011346"/>
                <a:gd name="connsiteY425" fmla="*/ 855477 h 2020169"/>
                <a:gd name="connsiteX426" fmla="*/ 500584 w 4011346"/>
                <a:gd name="connsiteY426" fmla="*/ 902198 h 2020169"/>
                <a:gd name="connsiteX427" fmla="*/ 450526 w 4011346"/>
                <a:gd name="connsiteY427" fmla="*/ 888849 h 2020169"/>
                <a:gd name="connsiteX428" fmla="*/ 433840 w 4011346"/>
                <a:gd name="connsiteY428" fmla="*/ 852139 h 2020169"/>
                <a:gd name="connsiteX429" fmla="*/ 467212 w 4011346"/>
                <a:gd name="connsiteY429" fmla="*/ 822104 h 2020169"/>
                <a:gd name="connsiteX430" fmla="*/ 453863 w 4011346"/>
                <a:gd name="connsiteY430" fmla="*/ 798744 h 2020169"/>
                <a:gd name="connsiteX431" fmla="*/ 390456 w 4011346"/>
                <a:gd name="connsiteY431" fmla="*/ 768709 h 2020169"/>
                <a:gd name="connsiteX432" fmla="*/ 417154 w 4011346"/>
                <a:gd name="connsiteY432" fmla="*/ 818767 h 2020169"/>
                <a:gd name="connsiteX433" fmla="*/ 407142 w 4011346"/>
                <a:gd name="connsiteY433" fmla="*/ 862151 h 2020169"/>
                <a:gd name="connsiteX434" fmla="*/ 413817 w 4011346"/>
                <a:gd name="connsiteY434" fmla="*/ 898861 h 2020169"/>
                <a:gd name="connsiteX435" fmla="*/ 427165 w 4011346"/>
                <a:gd name="connsiteY435" fmla="*/ 922221 h 2020169"/>
                <a:gd name="connsiteX436" fmla="*/ 413817 w 4011346"/>
                <a:gd name="connsiteY436" fmla="*/ 952256 h 2020169"/>
                <a:gd name="connsiteX437" fmla="*/ 390456 w 4011346"/>
                <a:gd name="connsiteY437" fmla="*/ 928896 h 2020169"/>
                <a:gd name="connsiteX438" fmla="*/ 360421 w 4011346"/>
                <a:gd name="connsiteY438" fmla="*/ 925558 h 2020169"/>
                <a:gd name="connsiteX439" fmla="*/ 333723 w 4011346"/>
                <a:gd name="connsiteY439" fmla="*/ 965605 h 2020169"/>
                <a:gd name="connsiteX440" fmla="*/ 307025 w 4011346"/>
                <a:gd name="connsiteY440" fmla="*/ 985628 h 2020169"/>
                <a:gd name="connsiteX441" fmla="*/ 320374 w 4011346"/>
                <a:gd name="connsiteY441" fmla="*/ 1012326 h 2020169"/>
                <a:gd name="connsiteX442" fmla="*/ 303688 w 4011346"/>
                <a:gd name="connsiteY442" fmla="*/ 1035687 h 2020169"/>
                <a:gd name="connsiteX443" fmla="*/ 233606 w 4011346"/>
                <a:gd name="connsiteY443" fmla="*/ 998977 h 2020169"/>
                <a:gd name="connsiteX444" fmla="*/ 243618 w 4011346"/>
                <a:gd name="connsiteY444" fmla="*/ 1049036 h 2020169"/>
                <a:gd name="connsiteX445" fmla="*/ 263641 w 4011346"/>
                <a:gd name="connsiteY445" fmla="*/ 1069059 h 2020169"/>
                <a:gd name="connsiteX446" fmla="*/ 250292 w 4011346"/>
                <a:gd name="connsiteY446" fmla="*/ 1082408 h 2020169"/>
                <a:gd name="connsiteX447" fmla="*/ 193560 w 4011346"/>
                <a:gd name="connsiteY447" fmla="*/ 1045698 h 2020169"/>
                <a:gd name="connsiteX448" fmla="*/ 170199 w 4011346"/>
                <a:gd name="connsiteY448" fmla="*/ 1005652 h 2020169"/>
                <a:gd name="connsiteX449" fmla="*/ 170199 w 4011346"/>
                <a:gd name="connsiteY449" fmla="*/ 958931 h 2020169"/>
                <a:gd name="connsiteX450" fmla="*/ 133490 w 4011346"/>
                <a:gd name="connsiteY450" fmla="*/ 882174 h 2020169"/>
                <a:gd name="connsiteX451" fmla="*/ 196897 w 4011346"/>
                <a:gd name="connsiteY451" fmla="*/ 912209 h 2020169"/>
                <a:gd name="connsiteX452" fmla="*/ 256967 w 4011346"/>
                <a:gd name="connsiteY452" fmla="*/ 942244 h 2020169"/>
                <a:gd name="connsiteX453" fmla="*/ 293676 w 4011346"/>
                <a:gd name="connsiteY453" fmla="*/ 945582 h 2020169"/>
                <a:gd name="connsiteX454" fmla="*/ 327049 w 4011346"/>
                <a:gd name="connsiteY454" fmla="*/ 915547 h 2020169"/>
                <a:gd name="connsiteX455" fmla="*/ 343735 w 4011346"/>
                <a:gd name="connsiteY455" fmla="*/ 878837 h 2020169"/>
                <a:gd name="connsiteX456" fmla="*/ 333723 w 4011346"/>
                <a:gd name="connsiteY456" fmla="*/ 828779 h 2020169"/>
                <a:gd name="connsiteX457" fmla="*/ 290339 w 4011346"/>
                <a:gd name="connsiteY457" fmla="*/ 808755 h 2020169"/>
                <a:gd name="connsiteX458" fmla="*/ 236944 w 4011346"/>
                <a:gd name="connsiteY458" fmla="*/ 762034 h 2020169"/>
                <a:gd name="connsiteX459" fmla="*/ 133490 w 4011346"/>
                <a:gd name="connsiteY459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58411 w 4011346"/>
                <a:gd name="connsiteY324" fmla="*/ 71438 h 2020169"/>
                <a:gd name="connsiteX325" fmla="*/ 1926978 w 4011346"/>
                <a:gd name="connsiteY325" fmla="*/ 31434 h 2020169"/>
                <a:gd name="connsiteX326" fmla="*/ 1909833 w 4011346"/>
                <a:gd name="connsiteY326" fmla="*/ 0 h 2020169"/>
                <a:gd name="connsiteX327" fmla="*/ 1877440 w 4011346"/>
                <a:gd name="connsiteY327" fmla="*/ 3067 h 2020169"/>
                <a:gd name="connsiteX328" fmla="*/ 1835474 w 4011346"/>
                <a:gd name="connsiteY328" fmla="*/ 41195 h 2020169"/>
                <a:gd name="connsiteX329" fmla="*/ 1818788 w 4011346"/>
                <a:gd name="connsiteY329" fmla="*/ 81242 h 2020169"/>
                <a:gd name="connsiteX330" fmla="*/ 1838813 w 4011346"/>
                <a:gd name="connsiteY330" fmla="*/ 134636 h 2020169"/>
                <a:gd name="connsiteX331" fmla="*/ 1782079 w 4011346"/>
                <a:gd name="connsiteY331" fmla="*/ 121287 h 2020169"/>
                <a:gd name="connsiteX332" fmla="*/ 1768731 w 4011346"/>
                <a:gd name="connsiteY332" fmla="*/ 168009 h 2020169"/>
                <a:gd name="connsiteX333" fmla="*/ 1705322 w 4011346"/>
                <a:gd name="connsiteY333" fmla="*/ 191369 h 2020169"/>
                <a:gd name="connsiteX334" fmla="*/ 1685300 w 4011346"/>
                <a:gd name="connsiteY334" fmla="*/ 164671 h 2020169"/>
                <a:gd name="connsiteX335" fmla="*/ 1615218 w 4011346"/>
                <a:gd name="connsiteY335" fmla="*/ 168009 h 2020169"/>
                <a:gd name="connsiteX336" fmla="*/ 1638579 w 4011346"/>
                <a:gd name="connsiteY336" fmla="*/ 198044 h 2020169"/>
                <a:gd name="connsiteX337" fmla="*/ 1528449 w 4011346"/>
                <a:gd name="connsiteY337" fmla="*/ 224740 h 2020169"/>
                <a:gd name="connsiteX338" fmla="*/ 1465043 w 4011346"/>
                <a:gd name="connsiteY338" fmla="*/ 308171 h 2020169"/>
                <a:gd name="connsiteX339" fmla="*/ 1448357 w 4011346"/>
                <a:gd name="connsiteY339" fmla="*/ 334869 h 2020169"/>
                <a:gd name="connsiteX340" fmla="*/ 1481729 w 4011346"/>
                <a:gd name="connsiteY340" fmla="*/ 368242 h 2020169"/>
                <a:gd name="connsiteX341" fmla="*/ 1481729 w 4011346"/>
                <a:gd name="connsiteY341" fmla="*/ 398277 h 2020169"/>
                <a:gd name="connsiteX342" fmla="*/ 1458368 w 4011346"/>
                <a:gd name="connsiteY342" fmla="*/ 401614 h 2020169"/>
                <a:gd name="connsiteX343" fmla="*/ 1458368 w 4011346"/>
                <a:gd name="connsiteY343" fmla="*/ 381590 h 2020169"/>
                <a:gd name="connsiteX344" fmla="*/ 1418322 w 4011346"/>
                <a:gd name="connsiteY344" fmla="*/ 391602 h 2020169"/>
                <a:gd name="connsiteX345" fmla="*/ 1368263 w 4011346"/>
                <a:gd name="connsiteY345" fmla="*/ 398277 h 2020169"/>
                <a:gd name="connsiteX346" fmla="*/ 1321542 w 4011346"/>
                <a:gd name="connsiteY346" fmla="*/ 404951 h 2020169"/>
                <a:gd name="connsiteX347" fmla="*/ 1318205 w 4011346"/>
                <a:gd name="connsiteY347" fmla="*/ 491719 h 2020169"/>
                <a:gd name="connsiteX348" fmla="*/ 1358252 w 4011346"/>
                <a:gd name="connsiteY348" fmla="*/ 515080 h 2020169"/>
                <a:gd name="connsiteX349" fmla="*/ 1374938 w 4011346"/>
                <a:gd name="connsiteY349" fmla="*/ 545115 h 2020169"/>
                <a:gd name="connsiteX350" fmla="*/ 1384949 w 4011346"/>
                <a:gd name="connsiteY350" fmla="*/ 568475 h 2020169"/>
                <a:gd name="connsiteX351" fmla="*/ 1394961 w 4011346"/>
                <a:gd name="connsiteY351" fmla="*/ 618534 h 2020169"/>
                <a:gd name="connsiteX352" fmla="*/ 1384949 w 4011346"/>
                <a:gd name="connsiteY352" fmla="*/ 648569 h 2020169"/>
                <a:gd name="connsiteX353" fmla="*/ 1358252 w 4011346"/>
                <a:gd name="connsiteY353" fmla="*/ 615196 h 2020169"/>
                <a:gd name="connsiteX354" fmla="*/ 1361589 w 4011346"/>
                <a:gd name="connsiteY354" fmla="*/ 585161 h 2020169"/>
                <a:gd name="connsiteX355" fmla="*/ 1351577 w 4011346"/>
                <a:gd name="connsiteY355" fmla="*/ 545115 h 2020169"/>
                <a:gd name="connsiteX356" fmla="*/ 1328217 w 4011346"/>
                <a:gd name="connsiteY356" fmla="*/ 551789 h 2020169"/>
                <a:gd name="connsiteX357" fmla="*/ 1281495 w 4011346"/>
                <a:gd name="connsiteY357" fmla="*/ 515080 h 2020169"/>
                <a:gd name="connsiteX358" fmla="*/ 1241449 w 4011346"/>
                <a:gd name="connsiteY358" fmla="*/ 511742 h 2020169"/>
                <a:gd name="connsiteX359" fmla="*/ 1241449 w 4011346"/>
                <a:gd name="connsiteY359" fmla="*/ 558463 h 2020169"/>
                <a:gd name="connsiteX360" fmla="*/ 1201402 w 4011346"/>
                <a:gd name="connsiteY360" fmla="*/ 538440 h 2020169"/>
                <a:gd name="connsiteX361" fmla="*/ 1228100 w 4011346"/>
                <a:gd name="connsiteY361" fmla="*/ 588498 h 2020169"/>
                <a:gd name="connsiteX362" fmla="*/ 1258135 w 4011346"/>
                <a:gd name="connsiteY362" fmla="*/ 598510 h 2020169"/>
                <a:gd name="connsiteX363" fmla="*/ 1258135 w 4011346"/>
                <a:gd name="connsiteY363" fmla="*/ 618534 h 2020169"/>
                <a:gd name="connsiteX364" fmla="*/ 1198065 w 4011346"/>
                <a:gd name="connsiteY364" fmla="*/ 595173 h 2020169"/>
                <a:gd name="connsiteX365" fmla="*/ 1181379 w 4011346"/>
                <a:gd name="connsiteY365" fmla="*/ 595173 h 2020169"/>
                <a:gd name="connsiteX366" fmla="*/ 1178041 w 4011346"/>
                <a:gd name="connsiteY366" fmla="*/ 551789 h 2020169"/>
                <a:gd name="connsiteX367" fmla="*/ 1171367 w 4011346"/>
                <a:gd name="connsiteY367" fmla="*/ 465021 h 2020169"/>
                <a:gd name="connsiteX368" fmla="*/ 1161355 w 4011346"/>
                <a:gd name="connsiteY368" fmla="*/ 535103 h 2020169"/>
                <a:gd name="connsiteX369" fmla="*/ 1137995 w 4011346"/>
                <a:gd name="connsiteY369" fmla="*/ 565138 h 2020169"/>
                <a:gd name="connsiteX370" fmla="*/ 1158018 w 4011346"/>
                <a:gd name="connsiteY370" fmla="*/ 611859 h 2020169"/>
                <a:gd name="connsiteX371" fmla="*/ 1158018 w 4011346"/>
                <a:gd name="connsiteY371" fmla="*/ 645231 h 2020169"/>
                <a:gd name="connsiteX372" fmla="*/ 1141332 w 4011346"/>
                <a:gd name="connsiteY372" fmla="*/ 695290 h 2020169"/>
                <a:gd name="connsiteX373" fmla="*/ 1154681 w 4011346"/>
                <a:gd name="connsiteY373" fmla="*/ 728662 h 2020169"/>
                <a:gd name="connsiteX374" fmla="*/ 1184716 w 4011346"/>
                <a:gd name="connsiteY374" fmla="*/ 735336 h 2020169"/>
                <a:gd name="connsiteX375" fmla="*/ 1221425 w 4011346"/>
                <a:gd name="connsiteY375" fmla="*/ 742011 h 2020169"/>
                <a:gd name="connsiteX376" fmla="*/ 1241449 w 4011346"/>
                <a:gd name="connsiteY376" fmla="*/ 765371 h 2020169"/>
                <a:gd name="connsiteX377" fmla="*/ 1258135 w 4011346"/>
                <a:gd name="connsiteY377" fmla="*/ 808755 h 2020169"/>
                <a:gd name="connsiteX378" fmla="*/ 1258135 w 4011346"/>
                <a:gd name="connsiteY378" fmla="*/ 808755 h 2020169"/>
                <a:gd name="connsiteX379" fmla="*/ 1254798 w 4011346"/>
                <a:gd name="connsiteY379" fmla="*/ 842128 h 2020169"/>
                <a:gd name="connsiteX380" fmla="*/ 1274821 w 4011346"/>
                <a:gd name="connsiteY380" fmla="*/ 862151 h 2020169"/>
                <a:gd name="connsiteX381" fmla="*/ 1244786 w 4011346"/>
                <a:gd name="connsiteY381" fmla="*/ 868826 h 2020169"/>
                <a:gd name="connsiteX382" fmla="*/ 1224763 w 4011346"/>
                <a:gd name="connsiteY382" fmla="*/ 828779 h 2020169"/>
                <a:gd name="connsiteX383" fmla="*/ 1224763 w 4011346"/>
                <a:gd name="connsiteY383" fmla="*/ 788732 h 2020169"/>
                <a:gd name="connsiteX384" fmla="*/ 1194727 w 4011346"/>
                <a:gd name="connsiteY384" fmla="*/ 752023 h 2020169"/>
                <a:gd name="connsiteX385" fmla="*/ 1164692 w 4011346"/>
                <a:gd name="connsiteY385" fmla="*/ 795407 h 2020169"/>
                <a:gd name="connsiteX386" fmla="*/ 1178041 w 4011346"/>
                <a:gd name="connsiteY386" fmla="*/ 838790 h 2020169"/>
                <a:gd name="connsiteX387" fmla="*/ 1137995 w 4011346"/>
                <a:gd name="connsiteY387" fmla="*/ 895523 h 2020169"/>
                <a:gd name="connsiteX388" fmla="*/ 1097948 w 4011346"/>
                <a:gd name="connsiteY388" fmla="*/ 952256 h 2020169"/>
                <a:gd name="connsiteX389" fmla="*/ 1007843 w 4011346"/>
                <a:gd name="connsiteY389" fmla="*/ 915547 h 2020169"/>
                <a:gd name="connsiteX390" fmla="*/ 1074587 w 4011346"/>
                <a:gd name="connsiteY390" fmla="*/ 912209 h 2020169"/>
                <a:gd name="connsiteX391" fmla="*/ 1107960 w 4011346"/>
                <a:gd name="connsiteY391" fmla="*/ 848802 h 2020169"/>
                <a:gd name="connsiteX392" fmla="*/ 1121309 w 4011346"/>
                <a:gd name="connsiteY392" fmla="*/ 805418 h 2020169"/>
                <a:gd name="connsiteX393" fmla="*/ 1127983 w 4011346"/>
                <a:gd name="connsiteY393" fmla="*/ 772046 h 2020169"/>
                <a:gd name="connsiteX394" fmla="*/ 1117971 w 4011346"/>
                <a:gd name="connsiteY394" fmla="*/ 755360 h 2020169"/>
                <a:gd name="connsiteX395" fmla="*/ 1114634 w 4011346"/>
                <a:gd name="connsiteY395" fmla="*/ 705301 h 2020169"/>
                <a:gd name="connsiteX396" fmla="*/ 1104622 w 4011346"/>
                <a:gd name="connsiteY396" fmla="*/ 625208 h 2020169"/>
                <a:gd name="connsiteX397" fmla="*/ 1101285 w 4011346"/>
                <a:gd name="connsiteY397" fmla="*/ 565138 h 2020169"/>
                <a:gd name="connsiteX398" fmla="*/ 1124646 w 4011346"/>
                <a:gd name="connsiteY398" fmla="*/ 471696 h 2020169"/>
                <a:gd name="connsiteX399" fmla="*/ 1031203 w 4011346"/>
                <a:gd name="connsiteY399" fmla="*/ 461684 h 2020169"/>
                <a:gd name="connsiteX400" fmla="*/ 1014517 w 4011346"/>
                <a:gd name="connsiteY400" fmla="*/ 518417 h 2020169"/>
                <a:gd name="connsiteX401" fmla="*/ 1024529 w 4011346"/>
                <a:gd name="connsiteY401" fmla="*/ 565138 h 2020169"/>
                <a:gd name="connsiteX402" fmla="*/ 981145 w 4011346"/>
                <a:gd name="connsiteY402" fmla="*/ 618534 h 2020169"/>
                <a:gd name="connsiteX403" fmla="*/ 991157 w 4011346"/>
                <a:gd name="connsiteY403" fmla="*/ 655243 h 2020169"/>
                <a:gd name="connsiteX404" fmla="*/ 981145 w 4011346"/>
                <a:gd name="connsiteY404" fmla="*/ 701964 h 2020169"/>
                <a:gd name="connsiteX405" fmla="*/ 1001168 w 4011346"/>
                <a:gd name="connsiteY405" fmla="*/ 725325 h 2020169"/>
                <a:gd name="connsiteX406" fmla="*/ 1017854 w 4011346"/>
                <a:gd name="connsiteY406" fmla="*/ 772046 h 2020169"/>
                <a:gd name="connsiteX407" fmla="*/ 1047890 w 4011346"/>
                <a:gd name="connsiteY407" fmla="*/ 758697 h 2020169"/>
                <a:gd name="connsiteX408" fmla="*/ 1014517 w 4011346"/>
                <a:gd name="connsiteY408" fmla="*/ 812093 h 2020169"/>
                <a:gd name="connsiteX409" fmla="*/ 957784 w 4011346"/>
                <a:gd name="connsiteY409" fmla="*/ 758697 h 2020169"/>
                <a:gd name="connsiteX410" fmla="*/ 884365 w 4011346"/>
                <a:gd name="connsiteY410" fmla="*/ 721988 h 2020169"/>
                <a:gd name="connsiteX411" fmla="*/ 824295 w 4011346"/>
                <a:gd name="connsiteY411" fmla="*/ 698627 h 2020169"/>
                <a:gd name="connsiteX412" fmla="*/ 810946 w 4011346"/>
                <a:gd name="connsiteY412" fmla="*/ 735336 h 2020169"/>
                <a:gd name="connsiteX413" fmla="*/ 827633 w 4011346"/>
                <a:gd name="connsiteY413" fmla="*/ 772046 h 2020169"/>
                <a:gd name="connsiteX414" fmla="*/ 814284 w 4011346"/>
                <a:gd name="connsiteY414" fmla="*/ 795407 h 2020169"/>
                <a:gd name="connsiteX415" fmla="*/ 800935 w 4011346"/>
                <a:gd name="connsiteY415" fmla="*/ 812093 h 2020169"/>
                <a:gd name="connsiteX416" fmla="*/ 770900 w 4011346"/>
                <a:gd name="connsiteY416" fmla="*/ 755360 h 2020169"/>
                <a:gd name="connsiteX417" fmla="*/ 744202 w 4011346"/>
                <a:gd name="connsiteY417" fmla="*/ 792069 h 2020169"/>
                <a:gd name="connsiteX418" fmla="*/ 707492 w 4011346"/>
                <a:gd name="connsiteY418" fmla="*/ 785395 h 2020169"/>
                <a:gd name="connsiteX419" fmla="*/ 654097 w 4011346"/>
                <a:gd name="connsiteY419" fmla="*/ 822104 h 2020169"/>
                <a:gd name="connsiteX420" fmla="*/ 644085 w 4011346"/>
                <a:gd name="connsiteY420" fmla="*/ 798744 h 2020169"/>
                <a:gd name="connsiteX421" fmla="*/ 654097 w 4011346"/>
                <a:gd name="connsiteY421" fmla="*/ 762034 h 2020169"/>
                <a:gd name="connsiteX422" fmla="*/ 614050 w 4011346"/>
                <a:gd name="connsiteY422" fmla="*/ 798744 h 2020169"/>
                <a:gd name="connsiteX423" fmla="*/ 594027 w 4011346"/>
                <a:gd name="connsiteY423" fmla="*/ 798744 h 2020169"/>
                <a:gd name="connsiteX424" fmla="*/ 533957 w 4011346"/>
                <a:gd name="connsiteY424" fmla="*/ 832116 h 2020169"/>
                <a:gd name="connsiteX425" fmla="*/ 510596 w 4011346"/>
                <a:gd name="connsiteY425" fmla="*/ 855477 h 2020169"/>
                <a:gd name="connsiteX426" fmla="*/ 500584 w 4011346"/>
                <a:gd name="connsiteY426" fmla="*/ 902198 h 2020169"/>
                <a:gd name="connsiteX427" fmla="*/ 450526 w 4011346"/>
                <a:gd name="connsiteY427" fmla="*/ 888849 h 2020169"/>
                <a:gd name="connsiteX428" fmla="*/ 433840 w 4011346"/>
                <a:gd name="connsiteY428" fmla="*/ 852139 h 2020169"/>
                <a:gd name="connsiteX429" fmla="*/ 467212 w 4011346"/>
                <a:gd name="connsiteY429" fmla="*/ 822104 h 2020169"/>
                <a:gd name="connsiteX430" fmla="*/ 453863 w 4011346"/>
                <a:gd name="connsiteY430" fmla="*/ 798744 h 2020169"/>
                <a:gd name="connsiteX431" fmla="*/ 390456 w 4011346"/>
                <a:gd name="connsiteY431" fmla="*/ 768709 h 2020169"/>
                <a:gd name="connsiteX432" fmla="*/ 417154 w 4011346"/>
                <a:gd name="connsiteY432" fmla="*/ 818767 h 2020169"/>
                <a:gd name="connsiteX433" fmla="*/ 407142 w 4011346"/>
                <a:gd name="connsiteY433" fmla="*/ 862151 h 2020169"/>
                <a:gd name="connsiteX434" fmla="*/ 413817 w 4011346"/>
                <a:gd name="connsiteY434" fmla="*/ 898861 h 2020169"/>
                <a:gd name="connsiteX435" fmla="*/ 427165 w 4011346"/>
                <a:gd name="connsiteY435" fmla="*/ 922221 h 2020169"/>
                <a:gd name="connsiteX436" fmla="*/ 413817 w 4011346"/>
                <a:gd name="connsiteY436" fmla="*/ 952256 h 2020169"/>
                <a:gd name="connsiteX437" fmla="*/ 390456 w 4011346"/>
                <a:gd name="connsiteY437" fmla="*/ 928896 h 2020169"/>
                <a:gd name="connsiteX438" fmla="*/ 360421 w 4011346"/>
                <a:gd name="connsiteY438" fmla="*/ 925558 h 2020169"/>
                <a:gd name="connsiteX439" fmla="*/ 333723 w 4011346"/>
                <a:gd name="connsiteY439" fmla="*/ 965605 h 2020169"/>
                <a:gd name="connsiteX440" fmla="*/ 307025 w 4011346"/>
                <a:gd name="connsiteY440" fmla="*/ 985628 h 2020169"/>
                <a:gd name="connsiteX441" fmla="*/ 320374 w 4011346"/>
                <a:gd name="connsiteY441" fmla="*/ 1012326 h 2020169"/>
                <a:gd name="connsiteX442" fmla="*/ 303688 w 4011346"/>
                <a:gd name="connsiteY442" fmla="*/ 1035687 h 2020169"/>
                <a:gd name="connsiteX443" fmla="*/ 233606 w 4011346"/>
                <a:gd name="connsiteY443" fmla="*/ 998977 h 2020169"/>
                <a:gd name="connsiteX444" fmla="*/ 243618 w 4011346"/>
                <a:gd name="connsiteY444" fmla="*/ 1049036 h 2020169"/>
                <a:gd name="connsiteX445" fmla="*/ 263641 w 4011346"/>
                <a:gd name="connsiteY445" fmla="*/ 1069059 h 2020169"/>
                <a:gd name="connsiteX446" fmla="*/ 250292 w 4011346"/>
                <a:gd name="connsiteY446" fmla="*/ 1082408 h 2020169"/>
                <a:gd name="connsiteX447" fmla="*/ 193560 w 4011346"/>
                <a:gd name="connsiteY447" fmla="*/ 1045698 h 2020169"/>
                <a:gd name="connsiteX448" fmla="*/ 170199 w 4011346"/>
                <a:gd name="connsiteY448" fmla="*/ 1005652 h 2020169"/>
                <a:gd name="connsiteX449" fmla="*/ 170199 w 4011346"/>
                <a:gd name="connsiteY449" fmla="*/ 958931 h 2020169"/>
                <a:gd name="connsiteX450" fmla="*/ 133490 w 4011346"/>
                <a:gd name="connsiteY450" fmla="*/ 882174 h 2020169"/>
                <a:gd name="connsiteX451" fmla="*/ 196897 w 4011346"/>
                <a:gd name="connsiteY451" fmla="*/ 912209 h 2020169"/>
                <a:gd name="connsiteX452" fmla="*/ 256967 w 4011346"/>
                <a:gd name="connsiteY452" fmla="*/ 942244 h 2020169"/>
                <a:gd name="connsiteX453" fmla="*/ 293676 w 4011346"/>
                <a:gd name="connsiteY453" fmla="*/ 945582 h 2020169"/>
                <a:gd name="connsiteX454" fmla="*/ 327049 w 4011346"/>
                <a:gd name="connsiteY454" fmla="*/ 915547 h 2020169"/>
                <a:gd name="connsiteX455" fmla="*/ 343735 w 4011346"/>
                <a:gd name="connsiteY455" fmla="*/ 878837 h 2020169"/>
                <a:gd name="connsiteX456" fmla="*/ 333723 w 4011346"/>
                <a:gd name="connsiteY456" fmla="*/ 828779 h 2020169"/>
                <a:gd name="connsiteX457" fmla="*/ 290339 w 4011346"/>
                <a:gd name="connsiteY457" fmla="*/ 808755 h 2020169"/>
                <a:gd name="connsiteX458" fmla="*/ 236944 w 4011346"/>
                <a:gd name="connsiteY458" fmla="*/ 762034 h 2020169"/>
                <a:gd name="connsiteX459" fmla="*/ 133490 w 4011346"/>
                <a:gd name="connsiteY459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895546 w 4011346"/>
                <a:gd name="connsiteY324" fmla="*/ 60008 h 2020169"/>
                <a:gd name="connsiteX325" fmla="*/ 1926978 w 4011346"/>
                <a:gd name="connsiteY325" fmla="*/ 31434 h 2020169"/>
                <a:gd name="connsiteX326" fmla="*/ 1909833 w 4011346"/>
                <a:gd name="connsiteY326" fmla="*/ 0 h 2020169"/>
                <a:gd name="connsiteX327" fmla="*/ 1877440 w 4011346"/>
                <a:gd name="connsiteY327" fmla="*/ 3067 h 2020169"/>
                <a:gd name="connsiteX328" fmla="*/ 1835474 w 4011346"/>
                <a:gd name="connsiteY328" fmla="*/ 41195 h 2020169"/>
                <a:gd name="connsiteX329" fmla="*/ 1818788 w 4011346"/>
                <a:gd name="connsiteY329" fmla="*/ 81242 h 2020169"/>
                <a:gd name="connsiteX330" fmla="*/ 1838813 w 4011346"/>
                <a:gd name="connsiteY330" fmla="*/ 134636 h 2020169"/>
                <a:gd name="connsiteX331" fmla="*/ 1782079 w 4011346"/>
                <a:gd name="connsiteY331" fmla="*/ 121287 h 2020169"/>
                <a:gd name="connsiteX332" fmla="*/ 1768731 w 4011346"/>
                <a:gd name="connsiteY332" fmla="*/ 168009 h 2020169"/>
                <a:gd name="connsiteX333" fmla="*/ 1705322 w 4011346"/>
                <a:gd name="connsiteY333" fmla="*/ 191369 h 2020169"/>
                <a:gd name="connsiteX334" fmla="*/ 1685300 w 4011346"/>
                <a:gd name="connsiteY334" fmla="*/ 164671 h 2020169"/>
                <a:gd name="connsiteX335" fmla="*/ 1615218 w 4011346"/>
                <a:gd name="connsiteY335" fmla="*/ 168009 h 2020169"/>
                <a:gd name="connsiteX336" fmla="*/ 1638579 w 4011346"/>
                <a:gd name="connsiteY336" fmla="*/ 198044 h 2020169"/>
                <a:gd name="connsiteX337" fmla="*/ 1528449 w 4011346"/>
                <a:gd name="connsiteY337" fmla="*/ 224740 h 2020169"/>
                <a:gd name="connsiteX338" fmla="*/ 1465043 w 4011346"/>
                <a:gd name="connsiteY338" fmla="*/ 308171 h 2020169"/>
                <a:gd name="connsiteX339" fmla="*/ 1448357 w 4011346"/>
                <a:gd name="connsiteY339" fmla="*/ 334869 h 2020169"/>
                <a:gd name="connsiteX340" fmla="*/ 1481729 w 4011346"/>
                <a:gd name="connsiteY340" fmla="*/ 368242 h 2020169"/>
                <a:gd name="connsiteX341" fmla="*/ 1481729 w 4011346"/>
                <a:gd name="connsiteY341" fmla="*/ 398277 h 2020169"/>
                <a:gd name="connsiteX342" fmla="*/ 1458368 w 4011346"/>
                <a:gd name="connsiteY342" fmla="*/ 401614 h 2020169"/>
                <a:gd name="connsiteX343" fmla="*/ 1458368 w 4011346"/>
                <a:gd name="connsiteY343" fmla="*/ 381590 h 2020169"/>
                <a:gd name="connsiteX344" fmla="*/ 1418322 w 4011346"/>
                <a:gd name="connsiteY344" fmla="*/ 391602 h 2020169"/>
                <a:gd name="connsiteX345" fmla="*/ 1368263 w 4011346"/>
                <a:gd name="connsiteY345" fmla="*/ 398277 h 2020169"/>
                <a:gd name="connsiteX346" fmla="*/ 1321542 w 4011346"/>
                <a:gd name="connsiteY346" fmla="*/ 404951 h 2020169"/>
                <a:gd name="connsiteX347" fmla="*/ 1318205 w 4011346"/>
                <a:gd name="connsiteY347" fmla="*/ 491719 h 2020169"/>
                <a:gd name="connsiteX348" fmla="*/ 1358252 w 4011346"/>
                <a:gd name="connsiteY348" fmla="*/ 515080 h 2020169"/>
                <a:gd name="connsiteX349" fmla="*/ 1374938 w 4011346"/>
                <a:gd name="connsiteY349" fmla="*/ 545115 h 2020169"/>
                <a:gd name="connsiteX350" fmla="*/ 1384949 w 4011346"/>
                <a:gd name="connsiteY350" fmla="*/ 568475 h 2020169"/>
                <a:gd name="connsiteX351" fmla="*/ 1394961 w 4011346"/>
                <a:gd name="connsiteY351" fmla="*/ 618534 h 2020169"/>
                <a:gd name="connsiteX352" fmla="*/ 1384949 w 4011346"/>
                <a:gd name="connsiteY352" fmla="*/ 648569 h 2020169"/>
                <a:gd name="connsiteX353" fmla="*/ 1358252 w 4011346"/>
                <a:gd name="connsiteY353" fmla="*/ 615196 h 2020169"/>
                <a:gd name="connsiteX354" fmla="*/ 1361589 w 4011346"/>
                <a:gd name="connsiteY354" fmla="*/ 585161 h 2020169"/>
                <a:gd name="connsiteX355" fmla="*/ 1351577 w 4011346"/>
                <a:gd name="connsiteY355" fmla="*/ 545115 h 2020169"/>
                <a:gd name="connsiteX356" fmla="*/ 1328217 w 4011346"/>
                <a:gd name="connsiteY356" fmla="*/ 551789 h 2020169"/>
                <a:gd name="connsiteX357" fmla="*/ 1281495 w 4011346"/>
                <a:gd name="connsiteY357" fmla="*/ 515080 h 2020169"/>
                <a:gd name="connsiteX358" fmla="*/ 1241449 w 4011346"/>
                <a:gd name="connsiteY358" fmla="*/ 511742 h 2020169"/>
                <a:gd name="connsiteX359" fmla="*/ 1241449 w 4011346"/>
                <a:gd name="connsiteY359" fmla="*/ 558463 h 2020169"/>
                <a:gd name="connsiteX360" fmla="*/ 1201402 w 4011346"/>
                <a:gd name="connsiteY360" fmla="*/ 538440 h 2020169"/>
                <a:gd name="connsiteX361" fmla="*/ 1228100 w 4011346"/>
                <a:gd name="connsiteY361" fmla="*/ 588498 h 2020169"/>
                <a:gd name="connsiteX362" fmla="*/ 1258135 w 4011346"/>
                <a:gd name="connsiteY362" fmla="*/ 598510 h 2020169"/>
                <a:gd name="connsiteX363" fmla="*/ 1258135 w 4011346"/>
                <a:gd name="connsiteY363" fmla="*/ 618534 h 2020169"/>
                <a:gd name="connsiteX364" fmla="*/ 1198065 w 4011346"/>
                <a:gd name="connsiteY364" fmla="*/ 595173 h 2020169"/>
                <a:gd name="connsiteX365" fmla="*/ 1181379 w 4011346"/>
                <a:gd name="connsiteY365" fmla="*/ 595173 h 2020169"/>
                <a:gd name="connsiteX366" fmla="*/ 1178041 w 4011346"/>
                <a:gd name="connsiteY366" fmla="*/ 551789 h 2020169"/>
                <a:gd name="connsiteX367" fmla="*/ 1171367 w 4011346"/>
                <a:gd name="connsiteY367" fmla="*/ 465021 h 2020169"/>
                <a:gd name="connsiteX368" fmla="*/ 1161355 w 4011346"/>
                <a:gd name="connsiteY368" fmla="*/ 535103 h 2020169"/>
                <a:gd name="connsiteX369" fmla="*/ 1137995 w 4011346"/>
                <a:gd name="connsiteY369" fmla="*/ 565138 h 2020169"/>
                <a:gd name="connsiteX370" fmla="*/ 1158018 w 4011346"/>
                <a:gd name="connsiteY370" fmla="*/ 611859 h 2020169"/>
                <a:gd name="connsiteX371" fmla="*/ 1158018 w 4011346"/>
                <a:gd name="connsiteY371" fmla="*/ 645231 h 2020169"/>
                <a:gd name="connsiteX372" fmla="*/ 1141332 w 4011346"/>
                <a:gd name="connsiteY372" fmla="*/ 695290 h 2020169"/>
                <a:gd name="connsiteX373" fmla="*/ 1154681 w 4011346"/>
                <a:gd name="connsiteY373" fmla="*/ 728662 h 2020169"/>
                <a:gd name="connsiteX374" fmla="*/ 1184716 w 4011346"/>
                <a:gd name="connsiteY374" fmla="*/ 735336 h 2020169"/>
                <a:gd name="connsiteX375" fmla="*/ 1221425 w 4011346"/>
                <a:gd name="connsiteY375" fmla="*/ 742011 h 2020169"/>
                <a:gd name="connsiteX376" fmla="*/ 1241449 w 4011346"/>
                <a:gd name="connsiteY376" fmla="*/ 765371 h 2020169"/>
                <a:gd name="connsiteX377" fmla="*/ 1258135 w 4011346"/>
                <a:gd name="connsiteY377" fmla="*/ 808755 h 2020169"/>
                <a:gd name="connsiteX378" fmla="*/ 1258135 w 4011346"/>
                <a:gd name="connsiteY378" fmla="*/ 808755 h 2020169"/>
                <a:gd name="connsiteX379" fmla="*/ 1254798 w 4011346"/>
                <a:gd name="connsiteY379" fmla="*/ 842128 h 2020169"/>
                <a:gd name="connsiteX380" fmla="*/ 1274821 w 4011346"/>
                <a:gd name="connsiteY380" fmla="*/ 862151 h 2020169"/>
                <a:gd name="connsiteX381" fmla="*/ 1244786 w 4011346"/>
                <a:gd name="connsiteY381" fmla="*/ 868826 h 2020169"/>
                <a:gd name="connsiteX382" fmla="*/ 1224763 w 4011346"/>
                <a:gd name="connsiteY382" fmla="*/ 828779 h 2020169"/>
                <a:gd name="connsiteX383" fmla="*/ 1224763 w 4011346"/>
                <a:gd name="connsiteY383" fmla="*/ 788732 h 2020169"/>
                <a:gd name="connsiteX384" fmla="*/ 1194727 w 4011346"/>
                <a:gd name="connsiteY384" fmla="*/ 752023 h 2020169"/>
                <a:gd name="connsiteX385" fmla="*/ 1164692 w 4011346"/>
                <a:gd name="connsiteY385" fmla="*/ 795407 h 2020169"/>
                <a:gd name="connsiteX386" fmla="*/ 1178041 w 4011346"/>
                <a:gd name="connsiteY386" fmla="*/ 838790 h 2020169"/>
                <a:gd name="connsiteX387" fmla="*/ 1137995 w 4011346"/>
                <a:gd name="connsiteY387" fmla="*/ 895523 h 2020169"/>
                <a:gd name="connsiteX388" fmla="*/ 1097948 w 4011346"/>
                <a:gd name="connsiteY388" fmla="*/ 952256 h 2020169"/>
                <a:gd name="connsiteX389" fmla="*/ 1007843 w 4011346"/>
                <a:gd name="connsiteY389" fmla="*/ 915547 h 2020169"/>
                <a:gd name="connsiteX390" fmla="*/ 1074587 w 4011346"/>
                <a:gd name="connsiteY390" fmla="*/ 912209 h 2020169"/>
                <a:gd name="connsiteX391" fmla="*/ 1107960 w 4011346"/>
                <a:gd name="connsiteY391" fmla="*/ 848802 h 2020169"/>
                <a:gd name="connsiteX392" fmla="*/ 1121309 w 4011346"/>
                <a:gd name="connsiteY392" fmla="*/ 805418 h 2020169"/>
                <a:gd name="connsiteX393" fmla="*/ 1127983 w 4011346"/>
                <a:gd name="connsiteY393" fmla="*/ 772046 h 2020169"/>
                <a:gd name="connsiteX394" fmla="*/ 1117971 w 4011346"/>
                <a:gd name="connsiteY394" fmla="*/ 755360 h 2020169"/>
                <a:gd name="connsiteX395" fmla="*/ 1114634 w 4011346"/>
                <a:gd name="connsiteY395" fmla="*/ 705301 h 2020169"/>
                <a:gd name="connsiteX396" fmla="*/ 1104622 w 4011346"/>
                <a:gd name="connsiteY396" fmla="*/ 625208 h 2020169"/>
                <a:gd name="connsiteX397" fmla="*/ 1101285 w 4011346"/>
                <a:gd name="connsiteY397" fmla="*/ 565138 h 2020169"/>
                <a:gd name="connsiteX398" fmla="*/ 1124646 w 4011346"/>
                <a:gd name="connsiteY398" fmla="*/ 471696 h 2020169"/>
                <a:gd name="connsiteX399" fmla="*/ 1031203 w 4011346"/>
                <a:gd name="connsiteY399" fmla="*/ 461684 h 2020169"/>
                <a:gd name="connsiteX400" fmla="*/ 1014517 w 4011346"/>
                <a:gd name="connsiteY400" fmla="*/ 518417 h 2020169"/>
                <a:gd name="connsiteX401" fmla="*/ 1024529 w 4011346"/>
                <a:gd name="connsiteY401" fmla="*/ 565138 h 2020169"/>
                <a:gd name="connsiteX402" fmla="*/ 981145 w 4011346"/>
                <a:gd name="connsiteY402" fmla="*/ 618534 h 2020169"/>
                <a:gd name="connsiteX403" fmla="*/ 991157 w 4011346"/>
                <a:gd name="connsiteY403" fmla="*/ 655243 h 2020169"/>
                <a:gd name="connsiteX404" fmla="*/ 981145 w 4011346"/>
                <a:gd name="connsiteY404" fmla="*/ 701964 h 2020169"/>
                <a:gd name="connsiteX405" fmla="*/ 1001168 w 4011346"/>
                <a:gd name="connsiteY405" fmla="*/ 725325 h 2020169"/>
                <a:gd name="connsiteX406" fmla="*/ 1017854 w 4011346"/>
                <a:gd name="connsiteY406" fmla="*/ 772046 h 2020169"/>
                <a:gd name="connsiteX407" fmla="*/ 1047890 w 4011346"/>
                <a:gd name="connsiteY407" fmla="*/ 758697 h 2020169"/>
                <a:gd name="connsiteX408" fmla="*/ 1014517 w 4011346"/>
                <a:gd name="connsiteY408" fmla="*/ 812093 h 2020169"/>
                <a:gd name="connsiteX409" fmla="*/ 957784 w 4011346"/>
                <a:gd name="connsiteY409" fmla="*/ 758697 h 2020169"/>
                <a:gd name="connsiteX410" fmla="*/ 884365 w 4011346"/>
                <a:gd name="connsiteY410" fmla="*/ 721988 h 2020169"/>
                <a:gd name="connsiteX411" fmla="*/ 824295 w 4011346"/>
                <a:gd name="connsiteY411" fmla="*/ 698627 h 2020169"/>
                <a:gd name="connsiteX412" fmla="*/ 810946 w 4011346"/>
                <a:gd name="connsiteY412" fmla="*/ 735336 h 2020169"/>
                <a:gd name="connsiteX413" fmla="*/ 827633 w 4011346"/>
                <a:gd name="connsiteY413" fmla="*/ 772046 h 2020169"/>
                <a:gd name="connsiteX414" fmla="*/ 814284 w 4011346"/>
                <a:gd name="connsiteY414" fmla="*/ 795407 h 2020169"/>
                <a:gd name="connsiteX415" fmla="*/ 800935 w 4011346"/>
                <a:gd name="connsiteY415" fmla="*/ 812093 h 2020169"/>
                <a:gd name="connsiteX416" fmla="*/ 770900 w 4011346"/>
                <a:gd name="connsiteY416" fmla="*/ 755360 h 2020169"/>
                <a:gd name="connsiteX417" fmla="*/ 744202 w 4011346"/>
                <a:gd name="connsiteY417" fmla="*/ 792069 h 2020169"/>
                <a:gd name="connsiteX418" fmla="*/ 707492 w 4011346"/>
                <a:gd name="connsiteY418" fmla="*/ 785395 h 2020169"/>
                <a:gd name="connsiteX419" fmla="*/ 654097 w 4011346"/>
                <a:gd name="connsiteY419" fmla="*/ 822104 h 2020169"/>
                <a:gd name="connsiteX420" fmla="*/ 644085 w 4011346"/>
                <a:gd name="connsiteY420" fmla="*/ 798744 h 2020169"/>
                <a:gd name="connsiteX421" fmla="*/ 654097 w 4011346"/>
                <a:gd name="connsiteY421" fmla="*/ 762034 h 2020169"/>
                <a:gd name="connsiteX422" fmla="*/ 614050 w 4011346"/>
                <a:gd name="connsiteY422" fmla="*/ 798744 h 2020169"/>
                <a:gd name="connsiteX423" fmla="*/ 594027 w 4011346"/>
                <a:gd name="connsiteY423" fmla="*/ 798744 h 2020169"/>
                <a:gd name="connsiteX424" fmla="*/ 533957 w 4011346"/>
                <a:gd name="connsiteY424" fmla="*/ 832116 h 2020169"/>
                <a:gd name="connsiteX425" fmla="*/ 510596 w 4011346"/>
                <a:gd name="connsiteY425" fmla="*/ 855477 h 2020169"/>
                <a:gd name="connsiteX426" fmla="*/ 500584 w 4011346"/>
                <a:gd name="connsiteY426" fmla="*/ 902198 h 2020169"/>
                <a:gd name="connsiteX427" fmla="*/ 450526 w 4011346"/>
                <a:gd name="connsiteY427" fmla="*/ 888849 h 2020169"/>
                <a:gd name="connsiteX428" fmla="*/ 433840 w 4011346"/>
                <a:gd name="connsiteY428" fmla="*/ 852139 h 2020169"/>
                <a:gd name="connsiteX429" fmla="*/ 467212 w 4011346"/>
                <a:gd name="connsiteY429" fmla="*/ 822104 h 2020169"/>
                <a:gd name="connsiteX430" fmla="*/ 453863 w 4011346"/>
                <a:gd name="connsiteY430" fmla="*/ 798744 h 2020169"/>
                <a:gd name="connsiteX431" fmla="*/ 390456 w 4011346"/>
                <a:gd name="connsiteY431" fmla="*/ 768709 h 2020169"/>
                <a:gd name="connsiteX432" fmla="*/ 417154 w 4011346"/>
                <a:gd name="connsiteY432" fmla="*/ 818767 h 2020169"/>
                <a:gd name="connsiteX433" fmla="*/ 407142 w 4011346"/>
                <a:gd name="connsiteY433" fmla="*/ 862151 h 2020169"/>
                <a:gd name="connsiteX434" fmla="*/ 413817 w 4011346"/>
                <a:gd name="connsiteY434" fmla="*/ 898861 h 2020169"/>
                <a:gd name="connsiteX435" fmla="*/ 427165 w 4011346"/>
                <a:gd name="connsiteY435" fmla="*/ 922221 h 2020169"/>
                <a:gd name="connsiteX436" fmla="*/ 413817 w 4011346"/>
                <a:gd name="connsiteY436" fmla="*/ 952256 h 2020169"/>
                <a:gd name="connsiteX437" fmla="*/ 390456 w 4011346"/>
                <a:gd name="connsiteY437" fmla="*/ 928896 h 2020169"/>
                <a:gd name="connsiteX438" fmla="*/ 360421 w 4011346"/>
                <a:gd name="connsiteY438" fmla="*/ 925558 h 2020169"/>
                <a:gd name="connsiteX439" fmla="*/ 333723 w 4011346"/>
                <a:gd name="connsiteY439" fmla="*/ 965605 h 2020169"/>
                <a:gd name="connsiteX440" fmla="*/ 307025 w 4011346"/>
                <a:gd name="connsiteY440" fmla="*/ 985628 h 2020169"/>
                <a:gd name="connsiteX441" fmla="*/ 320374 w 4011346"/>
                <a:gd name="connsiteY441" fmla="*/ 1012326 h 2020169"/>
                <a:gd name="connsiteX442" fmla="*/ 303688 w 4011346"/>
                <a:gd name="connsiteY442" fmla="*/ 1035687 h 2020169"/>
                <a:gd name="connsiteX443" fmla="*/ 233606 w 4011346"/>
                <a:gd name="connsiteY443" fmla="*/ 998977 h 2020169"/>
                <a:gd name="connsiteX444" fmla="*/ 243618 w 4011346"/>
                <a:gd name="connsiteY444" fmla="*/ 1049036 h 2020169"/>
                <a:gd name="connsiteX445" fmla="*/ 263641 w 4011346"/>
                <a:gd name="connsiteY445" fmla="*/ 1069059 h 2020169"/>
                <a:gd name="connsiteX446" fmla="*/ 250292 w 4011346"/>
                <a:gd name="connsiteY446" fmla="*/ 1082408 h 2020169"/>
                <a:gd name="connsiteX447" fmla="*/ 193560 w 4011346"/>
                <a:gd name="connsiteY447" fmla="*/ 1045698 h 2020169"/>
                <a:gd name="connsiteX448" fmla="*/ 170199 w 4011346"/>
                <a:gd name="connsiteY448" fmla="*/ 1005652 h 2020169"/>
                <a:gd name="connsiteX449" fmla="*/ 170199 w 4011346"/>
                <a:gd name="connsiteY449" fmla="*/ 958931 h 2020169"/>
                <a:gd name="connsiteX450" fmla="*/ 133490 w 4011346"/>
                <a:gd name="connsiteY450" fmla="*/ 882174 h 2020169"/>
                <a:gd name="connsiteX451" fmla="*/ 196897 w 4011346"/>
                <a:gd name="connsiteY451" fmla="*/ 912209 h 2020169"/>
                <a:gd name="connsiteX452" fmla="*/ 256967 w 4011346"/>
                <a:gd name="connsiteY452" fmla="*/ 942244 h 2020169"/>
                <a:gd name="connsiteX453" fmla="*/ 293676 w 4011346"/>
                <a:gd name="connsiteY453" fmla="*/ 945582 h 2020169"/>
                <a:gd name="connsiteX454" fmla="*/ 327049 w 4011346"/>
                <a:gd name="connsiteY454" fmla="*/ 915547 h 2020169"/>
                <a:gd name="connsiteX455" fmla="*/ 343735 w 4011346"/>
                <a:gd name="connsiteY455" fmla="*/ 878837 h 2020169"/>
                <a:gd name="connsiteX456" fmla="*/ 333723 w 4011346"/>
                <a:gd name="connsiteY456" fmla="*/ 828779 h 2020169"/>
                <a:gd name="connsiteX457" fmla="*/ 290339 w 4011346"/>
                <a:gd name="connsiteY457" fmla="*/ 808755 h 2020169"/>
                <a:gd name="connsiteX458" fmla="*/ 236944 w 4011346"/>
                <a:gd name="connsiteY458" fmla="*/ 762034 h 2020169"/>
                <a:gd name="connsiteX459" fmla="*/ 133490 w 4011346"/>
                <a:gd name="connsiteY459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24120 w 4011346"/>
                <a:gd name="connsiteY324" fmla="*/ 105729 h 2020169"/>
                <a:gd name="connsiteX325" fmla="*/ 1895546 w 4011346"/>
                <a:gd name="connsiteY325" fmla="*/ 60008 h 2020169"/>
                <a:gd name="connsiteX326" fmla="*/ 1926978 w 4011346"/>
                <a:gd name="connsiteY326" fmla="*/ 31434 h 2020169"/>
                <a:gd name="connsiteX327" fmla="*/ 1909833 w 4011346"/>
                <a:gd name="connsiteY327" fmla="*/ 0 h 2020169"/>
                <a:gd name="connsiteX328" fmla="*/ 1877440 w 4011346"/>
                <a:gd name="connsiteY328" fmla="*/ 3067 h 2020169"/>
                <a:gd name="connsiteX329" fmla="*/ 1835474 w 4011346"/>
                <a:gd name="connsiteY329" fmla="*/ 41195 h 2020169"/>
                <a:gd name="connsiteX330" fmla="*/ 1818788 w 4011346"/>
                <a:gd name="connsiteY330" fmla="*/ 81242 h 2020169"/>
                <a:gd name="connsiteX331" fmla="*/ 1838813 w 4011346"/>
                <a:gd name="connsiteY331" fmla="*/ 134636 h 2020169"/>
                <a:gd name="connsiteX332" fmla="*/ 1782079 w 4011346"/>
                <a:gd name="connsiteY332" fmla="*/ 121287 h 2020169"/>
                <a:gd name="connsiteX333" fmla="*/ 1768731 w 4011346"/>
                <a:gd name="connsiteY333" fmla="*/ 168009 h 2020169"/>
                <a:gd name="connsiteX334" fmla="*/ 1705322 w 4011346"/>
                <a:gd name="connsiteY334" fmla="*/ 191369 h 2020169"/>
                <a:gd name="connsiteX335" fmla="*/ 1685300 w 4011346"/>
                <a:gd name="connsiteY335" fmla="*/ 164671 h 2020169"/>
                <a:gd name="connsiteX336" fmla="*/ 1615218 w 4011346"/>
                <a:gd name="connsiteY336" fmla="*/ 168009 h 2020169"/>
                <a:gd name="connsiteX337" fmla="*/ 1638579 w 4011346"/>
                <a:gd name="connsiteY337" fmla="*/ 198044 h 2020169"/>
                <a:gd name="connsiteX338" fmla="*/ 1528449 w 4011346"/>
                <a:gd name="connsiteY338" fmla="*/ 224740 h 2020169"/>
                <a:gd name="connsiteX339" fmla="*/ 1465043 w 4011346"/>
                <a:gd name="connsiteY339" fmla="*/ 308171 h 2020169"/>
                <a:gd name="connsiteX340" fmla="*/ 1448357 w 4011346"/>
                <a:gd name="connsiteY340" fmla="*/ 334869 h 2020169"/>
                <a:gd name="connsiteX341" fmla="*/ 1481729 w 4011346"/>
                <a:gd name="connsiteY341" fmla="*/ 368242 h 2020169"/>
                <a:gd name="connsiteX342" fmla="*/ 1481729 w 4011346"/>
                <a:gd name="connsiteY342" fmla="*/ 398277 h 2020169"/>
                <a:gd name="connsiteX343" fmla="*/ 1458368 w 4011346"/>
                <a:gd name="connsiteY343" fmla="*/ 401614 h 2020169"/>
                <a:gd name="connsiteX344" fmla="*/ 1458368 w 4011346"/>
                <a:gd name="connsiteY344" fmla="*/ 381590 h 2020169"/>
                <a:gd name="connsiteX345" fmla="*/ 1418322 w 4011346"/>
                <a:gd name="connsiteY345" fmla="*/ 391602 h 2020169"/>
                <a:gd name="connsiteX346" fmla="*/ 1368263 w 4011346"/>
                <a:gd name="connsiteY346" fmla="*/ 398277 h 2020169"/>
                <a:gd name="connsiteX347" fmla="*/ 1321542 w 4011346"/>
                <a:gd name="connsiteY347" fmla="*/ 404951 h 2020169"/>
                <a:gd name="connsiteX348" fmla="*/ 1318205 w 4011346"/>
                <a:gd name="connsiteY348" fmla="*/ 491719 h 2020169"/>
                <a:gd name="connsiteX349" fmla="*/ 1358252 w 4011346"/>
                <a:gd name="connsiteY349" fmla="*/ 515080 h 2020169"/>
                <a:gd name="connsiteX350" fmla="*/ 1374938 w 4011346"/>
                <a:gd name="connsiteY350" fmla="*/ 545115 h 2020169"/>
                <a:gd name="connsiteX351" fmla="*/ 1384949 w 4011346"/>
                <a:gd name="connsiteY351" fmla="*/ 568475 h 2020169"/>
                <a:gd name="connsiteX352" fmla="*/ 1394961 w 4011346"/>
                <a:gd name="connsiteY352" fmla="*/ 618534 h 2020169"/>
                <a:gd name="connsiteX353" fmla="*/ 1384949 w 4011346"/>
                <a:gd name="connsiteY353" fmla="*/ 648569 h 2020169"/>
                <a:gd name="connsiteX354" fmla="*/ 1358252 w 4011346"/>
                <a:gd name="connsiteY354" fmla="*/ 615196 h 2020169"/>
                <a:gd name="connsiteX355" fmla="*/ 1361589 w 4011346"/>
                <a:gd name="connsiteY355" fmla="*/ 585161 h 2020169"/>
                <a:gd name="connsiteX356" fmla="*/ 1351577 w 4011346"/>
                <a:gd name="connsiteY356" fmla="*/ 545115 h 2020169"/>
                <a:gd name="connsiteX357" fmla="*/ 1328217 w 4011346"/>
                <a:gd name="connsiteY357" fmla="*/ 551789 h 2020169"/>
                <a:gd name="connsiteX358" fmla="*/ 1281495 w 4011346"/>
                <a:gd name="connsiteY358" fmla="*/ 515080 h 2020169"/>
                <a:gd name="connsiteX359" fmla="*/ 1241449 w 4011346"/>
                <a:gd name="connsiteY359" fmla="*/ 511742 h 2020169"/>
                <a:gd name="connsiteX360" fmla="*/ 1241449 w 4011346"/>
                <a:gd name="connsiteY360" fmla="*/ 558463 h 2020169"/>
                <a:gd name="connsiteX361" fmla="*/ 1201402 w 4011346"/>
                <a:gd name="connsiteY361" fmla="*/ 538440 h 2020169"/>
                <a:gd name="connsiteX362" fmla="*/ 1228100 w 4011346"/>
                <a:gd name="connsiteY362" fmla="*/ 588498 h 2020169"/>
                <a:gd name="connsiteX363" fmla="*/ 1258135 w 4011346"/>
                <a:gd name="connsiteY363" fmla="*/ 598510 h 2020169"/>
                <a:gd name="connsiteX364" fmla="*/ 1258135 w 4011346"/>
                <a:gd name="connsiteY364" fmla="*/ 618534 h 2020169"/>
                <a:gd name="connsiteX365" fmla="*/ 1198065 w 4011346"/>
                <a:gd name="connsiteY365" fmla="*/ 595173 h 2020169"/>
                <a:gd name="connsiteX366" fmla="*/ 1181379 w 4011346"/>
                <a:gd name="connsiteY366" fmla="*/ 595173 h 2020169"/>
                <a:gd name="connsiteX367" fmla="*/ 1178041 w 4011346"/>
                <a:gd name="connsiteY367" fmla="*/ 551789 h 2020169"/>
                <a:gd name="connsiteX368" fmla="*/ 1171367 w 4011346"/>
                <a:gd name="connsiteY368" fmla="*/ 465021 h 2020169"/>
                <a:gd name="connsiteX369" fmla="*/ 1161355 w 4011346"/>
                <a:gd name="connsiteY369" fmla="*/ 535103 h 2020169"/>
                <a:gd name="connsiteX370" fmla="*/ 1137995 w 4011346"/>
                <a:gd name="connsiteY370" fmla="*/ 565138 h 2020169"/>
                <a:gd name="connsiteX371" fmla="*/ 1158018 w 4011346"/>
                <a:gd name="connsiteY371" fmla="*/ 611859 h 2020169"/>
                <a:gd name="connsiteX372" fmla="*/ 1158018 w 4011346"/>
                <a:gd name="connsiteY372" fmla="*/ 645231 h 2020169"/>
                <a:gd name="connsiteX373" fmla="*/ 1141332 w 4011346"/>
                <a:gd name="connsiteY373" fmla="*/ 695290 h 2020169"/>
                <a:gd name="connsiteX374" fmla="*/ 1154681 w 4011346"/>
                <a:gd name="connsiteY374" fmla="*/ 728662 h 2020169"/>
                <a:gd name="connsiteX375" fmla="*/ 1184716 w 4011346"/>
                <a:gd name="connsiteY375" fmla="*/ 735336 h 2020169"/>
                <a:gd name="connsiteX376" fmla="*/ 1221425 w 4011346"/>
                <a:gd name="connsiteY376" fmla="*/ 742011 h 2020169"/>
                <a:gd name="connsiteX377" fmla="*/ 1241449 w 4011346"/>
                <a:gd name="connsiteY377" fmla="*/ 765371 h 2020169"/>
                <a:gd name="connsiteX378" fmla="*/ 1258135 w 4011346"/>
                <a:gd name="connsiteY378" fmla="*/ 808755 h 2020169"/>
                <a:gd name="connsiteX379" fmla="*/ 1258135 w 4011346"/>
                <a:gd name="connsiteY379" fmla="*/ 808755 h 2020169"/>
                <a:gd name="connsiteX380" fmla="*/ 1254798 w 4011346"/>
                <a:gd name="connsiteY380" fmla="*/ 842128 h 2020169"/>
                <a:gd name="connsiteX381" fmla="*/ 1274821 w 4011346"/>
                <a:gd name="connsiteY381" fmla="*/ 862151 h 2020169"/>
                <a:gd name="connsiteX382" fmla="*/ 1244786 w 4011346"/>
                <a:gd name="connsiteY382" fmla="*/ 868826 h 2020169"/>
                <a:gd name="connsiteX383" fmla="*/ 1224763 w 4011346"/>
                <a:gd name="connsiteY383" fmla="*/ 828779 h 2020169"/>
                <a:gd name="connsiteX384" fmla="*/ 1224763 w 4011346"/>
                <a:gd name="connsiteY384" fmla="*/ 788732 h 2020169"/>
                <a:gd name="connsiteX385" fmla="*/ 1194727 w 4011346"/>
                <a:gd name="connsiteY385" fmla="*/ 752023 h 2020169"/>
                <a:gd name="connsiteX386" fmla="*/ 1164692 w 4011346"/>
                <a:gd name="connsiteY386" fmla="*/ 795407 h 2020169"/>
                <a:gd name="connsiteX387" fmla="*/ 1178041 w 4011346"/>
                <a:gd name="connsiteY387" fmla="*/ 838790 h 2020169"/>
                <a:gd name="connsiteX388" fmla="*/ 1137995 w 4011346"/>
                <a:gd name="connsiteY388" fmla="*/ 895523 h 2020169"/>
                <a:gd name="connsiteX389" fmla="*/ 1097948 w 4011346"/>
                <a:gd name="connsiteY389" fmla="*/ 952256 h 2020169"/>
                <a:gd name="connsiteX390" fmla="*/ 1007843 w 4011346"/>
                <a:gd name="connsiteY390" fmla="*/ 915547 h 2020169"/>
                <a:gd name="connsiteX391" fmla="*/ 1074587 w 4011346"/>
                <a:gd name="connsiteY391" fmla="*/ 912209 h 2020169"/>
                <a:gd name="connsiteX392" fmla="*/ 1107960 w 4011346"/>
                <a:gd name="connsiteY392" fmla="*/ 848802 h 2020169"/>
                <a:gd name="connsiteX393" fmla="*/ 1121309 w 4011346"/>
                <a:gd name="connsiteY393" fmla="*/ 805418 h 2020169"/>
                <a:gd name="connsiteX394" fmla="*/ 1127983 w 4011346"/>
                <a:gd name="connsiteY394" fmla="*/ 772046 h 2020169"/>
                <a:gd name="connsiteX395" fmla="*/ 1117971 w 4011346"/>
                <a:gd name="connsiteY395" fmla="*/ 755360 h 2020169"/>
                <a:gd name="connsiteX396" fmla="*/ 1114634 w 4011346"/>
                <a:gd name="connsiteY396" fmla="*/ 705301 h 2020169"/>
                <a:gd name="connsiteX397" fmla="*/ 1104622 w 4011346"/>
                <a:gd name="connsiteY397" fmla="*/ 625208 h 2020169"/>
                <a:gd name="connsiteX398" fmla="*/ 1101285 w 4011346"/>
                <a:gd name="connsiteY398" fmla="*/ 565138 h 2020169"/>
                <a:gd name="connsiteX399" fmla="*/ 1124646 w 4011346"/>
                <a:gd name="connsiteY399" fmla="*/ 471696 h 2020169"/>
                <a:gd name="connsiteX400" fmla="*/ 1031203 w 4011346"/>
                <a:gd name="connsiteY400" fmla="*/ 461684 h 2020169"/>
                <a:gd name="connsiteX401" fmla="*/ 1014517 w 4011346"/>
                <a:gd name="connsiteY401" fmla="*/ 518417 h 2020169"/>
                <a:gd name="connsiteX402" fmla="*/ 1024529 w 4011346"/>
                <a:gd name="connsiteY402" fmla="*/ 565138 h 2020169"/>
                <a:gd name="connsiteX403" fmla="*/ 981145 w 4011346"/>
                <a:gd name="connsiteY403" fmla="*/ 618534 h 2020169"/>
                <a:gd name="connsiteX404" fmla="*/ 991157 w 4011346"/>
                <a:gd name="connsiteY404" fmla="*/ 655243 h 2020169"/>
                <a:gd name="connsiteX405" fmla="*/ 981145 w 4011346"/>
                <a:gd name="connsiteY405" fmla="*/ 701964 h 2020169"/>
                <a:gd name="connsiteX406" fmla="*/ 1001168 w 4011346"/>
                <a:gd name="connsiteY406" fmla="*/ 725325 h 2020169"/>
                <a:gd name="connsiteX407" fmla="*/ 1017854 w 4011346"/>
                <a:gd name="connsiteY407" fmla="*/ 772046 h 2020169"/>
                <a:gd name="connsiteX408" fmla="*/ 1047890 w 4011346"/>
                <a:gd name="connsiteY408" fmla="*/ 758697 h 2020169"/>
                <a:gd name="connsiteX409" fmla="*/ 1014517 w 4011346"/>
                <a:gd name="connsiteY409" fmla="*/ 812093 h 2020169"/>
                <a:gd name="connsiteX410" fmla="*/ 957784 w 4011346"/>
                <a:gd name="connsiteY410" fmla="*/ 758697 h 2020169"/>
                <a:gd name="connsiteX411" fmla="*/ 884365 w 4011346"/>
                <a:gd name="connsiteY411" fmla="*/ 721988 h 2020169"/>
                <a:gd name="connsiteX412" fmla="*/ 824295 w 4011346"/>
                <a:gd name="connsiteY412" fmla="*/ 698627 h 2020169"/>
                <a:gd name="connsiteX413" fmla="*/ 810946 w 4011346"/>
                <a:gd name="connsiteY413" fmla="*/ 735336 h 2020169"/>
                <a:gd name="connsiteX414" fmla="*/ 827633 w 4011346"/>
                <a:gd name="connsiteY414" fmla="*/ 772046 h 2020169"/>
                <a:gd name="connsiteX415" fmla="*/ 814284 w 4011346"/>
                <a:gd name="connsiteY415" fmla="*/ 795407 h 2020169"/>
                <a:gd name="connsiteX416" fmla="*/ 800935 w 4011346"/>
                <a:gd name="connsiteY416" fmla="*/ 812093 h 2020169"/>
                <a:gd name="connsiteX417" fmla="*/ 770900 w 4011346"/>
                <a:gd name="connsiteY417" fmla="*/ 755360 h 2020169"/>
                <a:gd name="connsiteX418" fmla="*/ 744202 w 4011346"/>
                <a:gd name="connsiteY418" fmla="*/ 792069 h 2020169"/>
                <a:gd name="connsiteX419" fmla="*/ 707492 w 4011346"/>
                <a:gd name="connsiteY419" fmla="*/ 785395 h 2020169"/>
                <a:gd name="connsiteX420" fmla="*/ 654097 w 4011346"/>
                <a:gd name="connsiteY420" fmla="*/ 822104 h 2020169"/>
                <a:gd name="connsiteX421" fmla="*/ 644085 w 4011346"/>
                <a:gd name="connsiteY421" fmla="*/ 798744 h 2020169"/>
                <a:gd name="connsiteX422" fmla="*/ 654097 w 4011346"/>
                <a:gd name="connsiteY422" fmla="*/ 762034 h 2020169"/>
                <a:gd name="connsiteX423" fmla="*/ 614050 w 4011346"/>
                <a:gd name="connsiteY423" fmla="*/ 798744 h 2020169"/>
                <a:gd name="connsiteX424" fmla="*/ 594027 w 4011346"/>
                <a:gd name="connsiteY424" fmla="*/ 798744 h 2020169"/>
                <a:gd name="connsiteX425" fmla="*/ 533957 w 4011346"/>
                <a:gd name="connsiteY425" fmla="*/ 832116 h 2020169"/>
                <a:gd name="connsiteX426" fmla="*/ 510596 w 4011346"/>
                <a:gd name="connsiteY426" fmla="*/ 855477 h 2020169"/>
                <a:gd name="connsiteX427" fmla="*/ 500584 w 4011346"/>
                <a:gd name="connsiteY427" fmla="*/ 902198 h 2020169"/>
                <a:gd name="connsiteX428" fmla="*/ 450526 w 4011346"/>
                <a:gd name="connsiteY428" fmla="*/ 888849 h 2020169"/>
                <a:gd name="connsiteX429" fmla="*/ 433840 w 4011346"/>
                <a:gd name="connsiteY429" fmla="*/ 852139 h 2020169"/>
                <a:gd name="connsiteX430" fmla="*/ 467212 w 4011346"/>
                <a:gd name="connsiteY430" fmla="*/ 822104 h 2020169"/>
                <a:gd name="connsiteX431" fmla="*/ 453863 w 4011346"/>
                <a:gd name="connsiteY431" fmla="*/ 798744 h 2020169"/>
                <a:gd name="connsiteX432" fmla="*/ 390456 w 4011346"/>
                <a:gd name="connsiteY432" fmla="*/ 768709 h 2020169"/>
                <a:gd name="connsiteX433" fmla="*/ 417154 w 4011346"/>
                <a:gd name="connsiteY433" fmla="*/ 818767 h 2020169"/>
                <a:gd name="connsiteX434" fmla="*/ 407142 w 4011346"/>
                <a:gd name="connsiteY434" fmla="*/ 862151 h 2020169"/>
                <a:gd name="connsiteX435" fmla="*/ 413817 w 4011346"/>
                <a:gd name="connsiteY435" fmla="*/ 898861 h 2020169"/>
                <a:gd name="connsiteX436" fmla="*/ 427165 w 4011346"/>
                <a:gd name="connsiteY436" fmla="*/ 922221 h 2020169"/>
                <a:gd name="connsiteX437" fmla="*/ 413817 w 4011346"/>
                <a:gd name="connsiteY437" fmla="*/ 952256 h 2020169"/>
                <a:gd name="connsiteX438" fmla="*/ 390456 w 4011346"/>
                <a:gd name="connsiteY438" fmla="*/ 928896 h 2020169"/>
                <a:gd name="connsiteX439" fmla="*/ 360421 w 4011346"/>
                <a:gd name="connsiteY439" fmla="*/ 925558 h 2020169"/>
                <a:gd name="connsiteX440" fmla="*/ 333723 w 4011346"/>
                <a:gd name="connsiteY440" fmla="*/ 965605 h 2020169"/>
                <a:gd name="connsiteX441" fmla="*/ 307025 w 4011346"/>
                <a:gd name="connsiteY441" fmla="*/ 985628 h 2020169"/>
                <a:gd name="connsiteX442" fmla="*/ 320374 w 4011346"/>
                <a:gd name="connsiteY442" fmla="*/ 1012326 h 2020169"/>
                <a:gd name="connsiteX443" fmla="*/ 303688 w 4011346"/>
                <a:gd name="connsiteY443" fmla="*/ 1035687 h 2020169"/>
                <a:gd name="connsiteX444" fmla="*/ 233606 w 4011346"/>
                <a:gd name="connsiteY444" fmla="*/ 998977 h 2020169"/>
                <a:gd name="connsiteX445" fmla="*/ 243618 w 4011346"/>
                <a:gd name="connsiteY445" fmla="*/ 1049036 h 2020169"/>
                <a:gd name="connsiteX446" fmla="*/ 263641 w 4011346"/>
                <a:gd name="connsiteY446" fmla="*/ 1069059 h 2020169"/>
                <a:gd name="connsiteX447" fmla="*/ 250292 w 4011346"/>
                <a:gd name="connsiteY447" fmla="*/ 1082408 h 2020169"/>
                <a:gd name="connsiteX448" fmla="*/ 193560 w 4011346"/>
                <a:gd name="connsiteY448" fmla="*/ 1045698 h 2020169"/>
                <a:gd name="connsiteX449" fmla="*/ 170199 w 4011346"/>
                <a:gd name="connsiteY449" fmla="*/ 1005652 h 2020169"/>
                <a:gd name="connsiteX450" fmla="*/ 170199 w 4011346"/>
                <a:gd name="connsiteY450" fmla="*/ 958931 h 2020169"/>
                <a:gd name="connsiteX451" fmla="*/ 133490 w 4011346"/>
                <a:gd name="connsiteY451" fmla="*/ 882174 h 2020169"/>
                <a:gd name="connsiteX452" fmla="*/ 196897 w 4011346"/>
                <a:gd name="connsiteY452" fmla="*/ 912209 h 2020169"/>
                <a:gd name="connsiteX453" fmla="*/ 256967 w 4011346"/>
                <a:gd name="connsiteY453" fmla="*/ 942244 h 2020169"/>
                <a:gd name="connsiteX454" fmla="*/ 293676 w 4011346"/>
                <a:gd name="connsiteY454" fmla="*/ 945582 h 2020169"/>
                <a:gd name="connsiteX455" fmla="*/ 327049 w 4011346"/>
                <a:gd name="connsiteY455" fmla="*/ 915547 h 2020169"/>
                <a:gd name="connsiteX456" fmla="*/ 343735 w 4011346"/>
                <a:gd name="connsiteY456" fmla="*/ 878837 h 2020169"/>
                <a:gd name="connsiteX457" fmla="*/ 333723 w 4011346"/>
                <a:gd name="connsiteY457" fmla="*/ 828779 h 2020169"/>
                <a:gd name="connsiteX458" fmla="*/ 290339 w 4011346"/>
                <a:gd name="connsiteY458" fmla="*/ 808755 h 2020169"/>
                <a:gd name="connsiteX459" fmla="*/ 236944 w 4011346"/>
                <a:gd name="connsiteY459" fmla="*/ 762034 h 2020169"/>
                <a:gd name="connsiteX460" fmla="*/ 133490 w 4011346"/>
                <a:gd name="connsiteY460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41265 w 4011346"/>
                <a:gd name="connsiteY324" fmla="*/ 77154 h 2020169"/>
                <a:gd name="connsiteX325" fmla="*/ 1895546 w 4011346"/>
                <a:gd name="connsiteY325" fmla="*/ 60008 h 2020169"/>
                <a:gd name="connsiteX326" fmla="*/ 1926978 w 4011346"/>
                <a:gd name="connsiteY326" fmla="*/ 31434 h 2020169"/>
                <a:gd name="connsiteX327" fmla="*/ 1909833 w 4011346"/>
                <a:gd name="connsiteY327" fmla="*/ 0 h 2020169"/>
                <a:gd name="connsiteX328" fmla="*/ 1877440 w 4011346"/>
                <a:gd name="connsiteY328" fmla="*/ 3067 h 2020169"/>
                <a:gd name="connsiteX329" fmla="*/ 1835474 w 4011346"/>
                <a:gd name="connsiteY329" fmla="*/ 41195 h 2020169"/>
                <a:gd name="connsiteX330" fmla="*/ 1818788 w 4011346"/>
                <a:gd name="connsiteY330" fmla="*/ 81242 h 2020169"/>
                <a:gd name="connsiteX331" fmla="*/ 1838813 w 4011346"/>
                <a:gd name="connsiteY331" fmla="*/ 134636 h 2020169"/>
                <a:gd name="connsiteX332" fmla="*/ 1782079 w 4011346"/>
                <a:gd name="connsiteY332" fmla="*/ 121287 h 2020169"/>
                <a:gd name="connsiteX333" fmla="*/ 1768731 w 4011346"/>
                <a:gd name="connsiteY333" fmla="*/ 168009 h 2020169"/>
                <a:gd name="connsiteX334" fmla="*/ 1705322 w 4011346"/>
                <a:gd name="connsiteY334" fmla="*/ 191369 h 2020169"/>
                <a:gd name="connsiteX335" fmla="*/ 1685300 w 4011346"/>
                <a:gd name="connsiteY335" fmla="*/ 164671 h 2020169"/>
                <a:gd name="connsiteX336" fmla="*/ 1615218 w 4011346"/>
                <a:gd name="connsiteY336" fmla="*/ 168009 h 2020169"/>
                <a:gd name="connsiteX337" fmla="*/ 1638579 w 4011346"/>
                <a:gd name="connsiteY337" fmla="*/ 198044 h 2020169"/>
                <a:gd name="connsiteX338" fmla="*/ 1528449 w 4011346"/>
                <a:gd name="connsiteY338" fmla="*/ 224740 h 2020169"/>
                <a:gd name="connsiteX339" fmla="*/ 1465043 w 4011346"/>
                <a:gd name="connsiteY339" fmla="*/ 308171 h 2020169"/>
                <a:gd name="connsiteX340" fmla="*/ 1448357 w 4011346"/>
                <a:gd name="connsiteY340" fmla="*/ 334869 h 2020169"/>
                <a:gd name="connsiteX341" fmla="*/ 1481729 w 4011346"/>
                <a:gd name="connsiteY341" fmla="*/ 368242 h 2020169"/>
                <a:gd name="connsiteX342" fmla="*/ 1481729 w 4011346"/>
                <a:gd name="connsiteY342" fmla="*/ 398277 h 2020169"/>
                <a:gd name="connsiteX343" fmla="*/ 1458368 w 4011346"/>
                <a:gd name="connsiteY343" fmla="*/ 401614 h 2020169"/>
                <a:gd name="connsiteX344" fmla="*/ 1458368 w 4011346"/>
                <a:gd name="connsiteY344" fmla="*/ 381590 h 2020169"/>
                <a:gd name="connsiteX345" fmla="*/ 1418322 w 4011346"/>
                <a:gd name="connsiteY345" fmla="*/ 391602 h 2020169"/>
                <a:gd name="connsiteX346" fmla="*/ 1368263 w 4011346"/>
                <a:gd name="connsiteY346" fmla="*/ 398277 h 2020169"/>
                <a:gd name="connsiteX347" fmla="*/ 1321542 w 4011346"/>
                <a:gd name="connsiteY347" fmla="*/ 404951 h 2020169"/>
                <a:gd name="connsiteX348" fmla="*/ 1318205 w 4011346"/>
                <a:gd name="connsiteY348" fmla="*/ 491719 h 2020169"/>
                <a:gd name="connsiteX349" fmla="*/ 1358252 w 4011346"/>
                <a:gd name="connsiteY349" fmla="*/ 515080 h 2020169"/>
                <a:gd name="connsiteX350" fmla="*/ 1374938 w 4011346"/>
                <a:gd name="connsiteY350" fmla="*/ 545115 h 2020169"/>
                <a:gd name="connsiteX351" fmla="*/ 1384949 w 4011346"/>
                <a:gd name="connsiteY351" fmla="*/ 568475 h 2020169"/>
                <a:gd name="connsiteX352" fmla="*/ 1394961 w 4011346"/>
                <a:gd name="connsiteY352" fmla="*/ 618534 h 2020169"/>
                <a:gd name="connsiteX353" fmla="*/ 1384949 w 4011346"/>
                <a:gd name="connsiteY353" fmla="*/ 648569 h 2020169"/>
                <a:gd name="connsiteX354" fmla="*/ 1358252 w 4011346"/>
                <a:gd name="connsiteY354" fmla="*/ 615196 h 2020169"/>
                <a:gd name="connsiteX355" fmla="*/ 1361589 w 4011346"/>
                <a:gd name="connsiteY355" fmla="*/ 585161 h 2020169"/>
                <a:gd name="connsiteX356" fmla="*/ 1351577 w 4011346"/>
                <a:gd name="connsiteY356" fmla="*/ 545115 h 2020169"/>
                <a:gd name="connsiteX357" fmla="*/ 1328217 w 4011346"/>
                <a:gd name="connsiteY357" fmla="*/ 551789 h 2020169"/>
                <a:gd name="connsiteX358" fmla="*/ 1281495 w 4011346"/>
                <a:gd name="connsiteY358" fmla="*/ 515080 h 2020169"/>
                <a:gd name="connsiteX359" fmla="*/ 1241449 w 4011346"/>
                <a:gd name="connsiteY359" fmla="*/ 511742 h 2020169"/>
                <a:gd name="connsiteX360" fmla="*/ 1241449 w 4011346"/>
                <a:gd name="connsiteY360" fmla="*/ 558463 h 2020169"/>
                <a:gd name="connsiteX361" fmla="*/ 1201402 w 4011346"/>
                <a:gd name="connsiteY361" fmla="*/ 538440 h 2020169"/>
                <a:gd name="connsiteX362" fmla="*/ 1228100 w 4011346"/>
                <a:gd name="connsiteY362" fmla="*/ 588498 h 2020169"/>
                <a:gd name="connsiteX363" fmla="*/ 1258135 w 4011346"/>
                <a:gd name="connsiteY363" fmla="*/ 598510 h 2020169"/>
                <a:gd name="connsiteX364" fmla="*/ 1258135 w 4011346"/>
                <a:gd name="connsiteY364" fmla="*/ 618534 h 2020169"/>
                <a:gd name="connsiteX365" fmla="*/ 1198065 w 4011346"/>
                <a:gd name="connsiteY365" fmla="*/ 595173 h 2020169"/>
                <a:gd name="connsiteX366" fmla="*/ 1181379 w 4011346"/>
                <a:gd name="connsiteY366" fmla="*/ 595173 h 2020169"/>
                <a:gd name="connsiteX367" fmla="*/ 1178041 w 4011346"/>
                <a:gd name="connsiteY367" fmla="*/ 551789 h 2020169"/>
                <a:gd name="connsiteX368" fmla="*/ 1171367 w 4011346"/>
                <a:gd name="connsiteY368" fmla="*/ 465021 h 2020169"/>
                <a:gd name="connsiteX369" fmla="*/ 1161355 w 4011346"/>
                <a:gd name="connsiteY369" fmla="*/ 535103 h 2020169"/>
                <a:gd name="connsiteX370" fmla="*/ 1137995 w 4011346"/>
                <a:gd name="connsiteY370" fmla="*/ 565138 h 2020169"/>
                <a:gd name="connsiteX371" fmla="*/ 1158018 w 4011346"/>
                <a:gd name="connsiteY371" fmla="*/ 611859 h 2020169"/>
                <a:gd name="connsiteX372" fmla="*/ 1158018 w 4011346"/>
                <a:gd name="connsiteY372" fmla="*/ 645231 h 2020169"/>
                <a:gd name="connsiteX373" fmla="*/ 1141332 w 4011346"/>
                <a:gd name="connsiteY373" fmla="*/ 695290 h 2020169"/>
                <a:gd name="connsiteX374" fmla="*/ 1154681 w 4011346"/>
                <a:gd name="connsiteY374" fmla="*/ 728662 h 2020169"/>
                <a:gd name="connsiteX375" fmla="*/ 1184716 w 4011346"/>
                <a:gd name="connsiteY375" fmla="*/ 735336 h 2020169"/>
                <a:gd name="connsiteX376" fmla="*/ 1221425 w 4011346"/>
                <a:gd name="connsiteY376" fmla="*/ 742011 h 2020169"/>
                <a:gd name="connsiteX377" fmla="*/ 1241449 w 4011346"/>
                <a:gd name="connsiteY377" fmla="*/ 765371 h 2020169"/>
                <a:gd name="connsiteX378" fmla="*/ 1258135 w 4011346"/>
                <a:gd name="connsiteY378" fmla="*/ 808755 h 2020169"/>
                <a:gd name="connsiteX379" fmla="*/ 1258135 w 4011346"/>
                <a:gd name="connsiteY379" fmla="*/ 808755 h 2020169"/>
                <a:gd name="connsiteX380" fmla="*/ 1254798 w 4011346"/>
                <a:gd name="connsiteY380" fmla="*/ 842128 h 2020169"/>
                <a:gd name="connsiteX381" fmla="*/ 1274821 w 4011346"/>
                <a:gd name="connsiteY381" fmla="*/ 862151 h 2020169"/>
                <a:gd name="connsiteX382" fmla="*/ 1244786 w 4011346"/>
                <a:gd name="connsiteY382" fmla="*/ 868826 h 2020169"/>
                <a:gd name="connsiteX383" fmla="*/ 1224763 w 4011346"/>
                <a:gd name="connsiteY383" fmla="*/ 828779 h 2020169"/>
                <a:gd name="connsiteX384" fmla="*/ 1224763 w 4011346"/>
                <a:gd name="connsiteY384" fmla="*/ 788732 h 2020169"/>
                <a:gd name="connsiteX385" fmla="*/ 1194727 w 4011346"/>
                <a:gd name="connsiteY385" fmla="*/ 752023 h 2020169"/>
                <a:gd name="connsiteX386" fmla="*/ 1164692 w 4011346"/>
                <a:gd name="connsiteY386" fmla="*/ 795407 h 2020169"/>
                <a:gd name="connsiteX387" fmla="*/ 1178041 w 4011346"/>
                <a:gd name="connsiteY387" fmla="*/ 838790 h 2020169"/>
                <a:gd name="connsiteX388" fmla="*/ 1137995 w 4011346"/>
                <a:gd name="connsiteY388" fmla="*/ 895523 h 2020169"/>
                <a:gd name="connsiteX389" fmla="*/ 1097948 w 4011346"/>
                <a:gd name="connsiteY389" fmla="*/ 952256 h 2020169"/>
                <a:gd name="connsiteX390" fmla="*/ 1007843 w 4011346"/>
                <a:gd name="connsiteY390" fmla="*/ 915547 h 2020169"/>
                <a:gd name="connsiteX391" fmla="*/ 1074587 w 4011346"/>
                <a:gd name="connsiteY391" fmla="*/ 912209 h 2020169"/>
                <a:gd name="connsiteX392" fmla="*/ 1107960 w 4011346"/>
                <a:gd name="connsiteY392" fmla="*/ 848802 h 2020169"/>
                <a:gd name="connsiteX393" fmla="*/ 1121309 w 4011346"/>
                <a:gd name="connsiteY393" fmla="*/ 805418 h 2020169"/>
                <a:gd name="connsiteX394" fmla="*/ 1127983 w 4011346"/>
                <a:gd name="connsiteY394" fmla="*/ 772046 h 2020169"/>
                <a:gd name="connsiteX395" fmla="*/ 1117971 w 4011346"/>
                <a:gd name="connsiteY395" fmla="*/ 755360 h 2020169"/>
                <a:gd name="connsiteX396" fmla="*/ 1114634 w 4011346"/>
                <a:gd name="connsiteY396" fmla="*/ 705301 h 2020169"/>
                <a:gd name="connsiteX397" fmla="*/ 1104622 w 4011346"/>
                <a:gd name="connsiteY397" fmla="*/ 625208 h 2020169"/>
                <a:gd name="connsiteX398" fmla="*/ 1101285 w 4011346"/>
                <a:gd name="connsiteY398" fmla="*/ 565138 h 2020169"/>
                <a:gd name="connsiteX399" fmla="*/ 1124646 w 4011346"/>
                <a:gd name="connsiteY399" fmla="*/ 471696 h 2020169"/>
                <a:gd name="connsiteX400" fmla="*/ 1031203 w 4011346"/>
                <a:gd name="connsiteY400" fmla="*/ 461684 h 2020169"/>
                <a:gd name="connsiteX401" fmla="*/ 1014517 w 4011346"/>
                <a:gd name="connsiteY401" fmla="*/ 518417 h 2020169"/>
                <a:gd name="connsiteX402" fmla="*/ 1024529 w 4011346"/>
                <a:gd name="connsiteY402" fmla="*/ 565138 h 2020169"/>
                <a:gd name="connsiteX403" fmla="*/ 981145 w 4011346"/>
                <a:gd name="connsiteY403" fmla="*/ 618534 h 2020169"/>
                <a:gd name="connsiteX404" fmla="*/ 991157 w 4011346"/>
                <a:gd name="connsiteY404" fmla="*/ 655243 h 2020169"/>
                <a:gd name="connsiteX405" fmla="*/ 981145 w 4011346"/>
                <a:gd name="connsiteY405" fmla="*/ 701964 h 2020169"/>
                <a:gd name="connsiteX406" fmla="*/ 1001168 w 4011346"/>
                <a:gd name="connsiteY406" fmla="*/ 725325 h 2020169"/>
                <a:gd name="connsiteX407" fmla="*/ 1017854 w 4011346"/>
                <a:gd name="connsiteY407" fmla="*/ 772046 h 2020169"/>
                <a:gd name="connsiteX408" fmla="*/ 1047890 w 4011346"/>
                <a:gd name="connsiteY408" fmla="*/ 758697 h 2020169"/>
                <a:gd name="connsiteX409" fmla="*/ 1014517 w 4011346"/>
                <a:gd name="connsiteY409" fmla="*/ 812093 h 2020169"/>
                <a:gd name="connsiteX410" fmla="*/ 957784 w 4011346"/>
                <a:gd name="connsiteY410" fmla="*/ 758697 h 2020169"/>
                <a:gd name="connsiteX411" fmla="*/ 884365 w 4011346"/>
                <a:gd name="connsiteY411" fmla="*/ 721988 h 2020169"/>
                <a:gd name="connsiteX412" fmla="*/ 824295 w 4011346"/>
                <a:gd name="connsiteY412" fmla="*/ 698627 h 2020169"/>
                <a:gd name="connsiteX413" fmla="*/ 810946 w 4011346"/>
                <a:gd name="connsiteY413" fmla="*/ 735336 h 2020169"/>
                <a:gd name="connsiteX414" fmla="*/ 827633 w 4011346"/>
                <a:gd name="connsiteY414" fmla="*/ 772046 h 2020169"/>
                <a:gd name="connsiteX415" fmla="*/ 814284 w 4011346"/>
                <a:gd name="connsiteY415" fmla="*/ 795407 h 2020169"/>
                <a:gd name="connsiteX416" fmla="*/ 800935 w 4011346"/>
                <a:gd name="connsiteY416" fmla="*/ 812093 h 2020169"/>
                <a:gd name="connsiteX417" fmla="*/ 770900 w 4011346"/>
                <a:gd name="connsiteY417" fmla="*/ 755360 h 2020169"/>
                <a:gd name="connsiteX418" fmla="*/ 744202 w 4011346"/>
                <a:gd name="connsiteY418" fmla="*/ 792069 h 2020169"/>
                <a:gd name="connsiteX419" fmla="*/ 707492 w 4011346"/>
                <a:gd name="connsiteY419" fmla="*/ 785395 h 2020169"/>
                <a:gd name="connsiteX420" fmla="*/ 654097 w 4011346"/>
                <a:gd name="connsiteY420" fmla="*/ 822104 h 2020169"/>
                <a:gd name="connsiteX421" fmla="*/ 644085 w 4011346"/>
                <a:gd name="connsiteY421" fmla="*/ 798744 h 2020169"/>
                <a:gd name="connsiteX422" fmla="*/ 654097 w 4011346"/>
                <a:gd name="connsiteY422" fmla="*/ 762034 h 2020169"/>
                <a:gd name="connsiteX423" fmla="*/ 614050 w 4011346"/>
                <a:gd name="connsiteY423" fmla="*/ 798744 h 2020169"/>
                <a:gd name="connsiteX424" fmla="*/ 594027 w 4011346"/>
                <a:gd name="connsiteY424" fmla="*/ 798744 h 2020169"/>
                <a:gd name="connsiteX425" fmla="*/ 533957 w 4011346"/>
                <a:gd name="connsiteY425" fmla="*/ 832116 h 2020169"/>
                <a:gd name="connsiteX426" fmla="*/ 510596 w 4011346"/>
                <a:gd name="connsiteY426" fmla="*/ 855477 h 2020169"/>
                <a:gd name="connsiteX427" fmla="*/ 500584 w 4011346"/>
                <a:gd name="connsiteY427" fmla="*/ 902198 h 2020169"/>
                <a:gd name="connsiteX428" fmla="*/ 450526 w 4011346"/>
                <a:gd name="connsiteY428" fmla="*/ 888849 h 2020169"/>
                <a:gd name="connsiteX429" fmla="*/ 433840 w 4011346"/>
                <a:gd name="connsiteY429" fmla="*/ 852139 h 2020169"/>
                <a:gd name="connsiteX430" fmla="*/ 467212 w 4011346"/>
                <a:gd name="connsiteY430" fmla="*/ 822104 h 2020169"/>
                <a:gd name="connsiteX431" fmla="*/ 453863 w 4011346"/>
                <a:gd name="connsiteY431" fmla="*/ 798744 h 2020169"/>
                <a:gd name="connsiteX432" fmla="*/ 390456 w 4011346"/>
                <a:gd name="connsiteY432" fmla="*/ 768709 h 2020169"/>
                <a:gd name="connsiteX433" fmla="*/ 417154 w 4011346"/>
                <a:gd name="connsiteY433" fmla="*/ 818767 h 2020169"/>
                <a:gd name="connsiteX434" fmla="*/ 407142 w 4011346"/>
                <a:gd name="connsiteY434" fmla="*/ 862151 h 2020169"/>
                <a:gd name="connsiteX435" fmla="*/ 413817 w 4011346"/>
                <a:gd name="connsiteY435" fmla="*/ 898861 h 2020169"/>
                <a:gd name="connsiteX436" fmla="*/ 427165 w 4011346"/>
                <a:gd name="connsiteY436" fmla="*/ 922221 h 2020169"/>
                <a:gd name="connsiteX437" fmla="*/ 413817 w 4011346"/>
                <a:gd name="connsiteY437" fmla="*/ 952256 h 2020169"/>
                <a:gd name="connsiteX438" fmla="*/ 390456 w 4011346"/>
                <a:gd name="connsiteY438" fmla="*/ 928896 h 2020169"/>
                <a:gd name="connsiteX439" fmla="*/ 360421 w 4011346"/>
                <a:gd name="connsiteY439" fmla="*/ 925558 h 2020169"/>
                <a:gd name="connsiteX440" fmla="*/ 333723 w 4011346"/>
                <a:gd name="connsiteY440" fmla="*/ 965605 h 2020169"/>
                <a:gd name="connsiteX441" fmla="*/ 307025 w 4011346"/>
                <a:gd name="connsiteY441" fmla="*/ 985628 h 2020169"/>
                <a:gd name="connsiteX442" fmla="*/ 320374 w 4011346"/>
                <a:gd name="connsiteY442" fmla="*/ 1012326 h 2020169"/>
                <a:gd name="connsiteX443" fmla="*/ 303688 w 4011346"/>
                <a:gd name="connsiteY443" fmla="*/ 1035687 h 2020169"/>
                <a:gd name="connsiteX444" fmla="*/ 233606 w 4011346"/>
                <a:gd name="connsiteY444" fmla="*/ 998977 h 2020169"/>
                <a:gd name="connsiteX445" fmla="*/ 243618 w 4011346"/>
                <a:gd name="connsiteY445" fmla="*/ 1049036 h 2020169"/>
                <a:gd name="connsiteX446" fmla="*/ 263641 w 4011346"/>
                <a:gd name="connsiteY446" fmla="*/ 1069059 h 2020169"/>
                <a:gd name="connsiteX447" fmla="*/ 250292 w 4011346"/>
                <a:gd name="connsiteY447" fmla="*/ 1082408 h 2020169"/>
                <a:gd name="connsiteX448" fmla="*/ 193560 w 4011346"/>
                <a:gd name="connsiteY448" fmla="*/ 1045698 h 2020169"/>
                <a:gd name="connsiteX449" fmla="*/ 170199 w 4011346"/>
                <a:gd name="connsiteY449" fmla="*/ 1005652 h 2020169"/>
                <a:gd name="connsiteX450" fmla="*/ 170199 w 4011346"/>
                <a:gd name="connsiteY450" fmla="*/ 958931 h 2020169"/>
                <a:gd name="connsiteX451" fmla="*/ 133490 w 4011346"/>
                <a:gd name="connsiteY451" fmla="*/ 882174 h 2020169"/>
                <a:gd name="connsiteX452" fmla="*/ 196897 w 4011346"/>
                <a:gd name="connsiteY452" fmla="*/ 912209 h 2020169"/>
                <a:gd name="connsiteX453" fmla="*/ 256967 w 4011346"/>
                <a:gd name="connsiteY453" fmla="*/ 942244 h 2020169"/>
                <a:gd name="connsiteX454" fmla="*/ 293676 w 4011346"/>
                <a:gd name="connsiteY454" fmla="*/ 945582 h 2020169"/>
                <a:gd name="connsiteX455" fmla="*/ 327049 w 4011346"/>
                <a:gd name="connsiteY455" fmla="*/ 915547 h 2020169"/>
                <a:gd name="connsiteX456" fmla="*/ 343735 w 4011346"/>
                <a:gd name="connsiteY456" fmla="*/ 878837 h 2020169"/>
                <a:gd name="connsiteX457" fmla="*/ 333723 w 4011346"/>
                <a:gd name="connsiteY457" fmla="*/ 828779 h 2020169"/>
                <a:gd name="connsiteX458" fmla="*/ 290339 w 4011346"/>
                <a:gd name="connsiteY458" fmla="*/ 808755 h 2020169"/>
                <a:gd name="connsiteX459" fmla="*/ 236944 w 4011346"/>
                <a:gd name="connsiteY459" fmla="*/ 762034 h 2020169"/>
                <a:gd name="connsiteX460" fmla="*/ 133490 w 4011346"/>
                <a:gd name="connsiteY460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41265 w 4011346"/>
                <a:gd name="connsiteY324" fmla="*/ 77154 h 2020169"/>
                <a:gd name="connsiteX325" fmla="*/ 1946980 w 4011346"/>
                <a:gd name="connsiteY325" fmla="*/ 97157 h 2020169"/>
                <a:gd name="connsiteX326" fmla="*/ 1895546 w 4011346"/>
                <a:gd name="connsiteY326" fmla="*/ 60008 h 2020169"/>
                <a:gd name="connsiteX327" fmla="*/ 1926978 w 4011346"/>
                <a:gd name="connsiteY327" fmla="*/ 31434 h 2020169"/>
                <a:gd name="connsiteX328" fmla="*/ 1909833 w 4011346"/>
                <a:gd name="connsiteY328" fmla="*/ 0 h 2020169"/>
                <a:gd name="connsiteX329" fmla="*/ 1877440 w 4011346"/>
                <a:gd name="connsiteY329" fmla="*/ 3067 h 2020169"/>
                <a:gd name="connsiteX330" fmla="*/ 1835474 w 4011346"/>
                <a:gd name="connsiteY330" fmla="*/ 41195 h 2020169"/>
                <a:gd name="connsiteX331" fmla="*/ 1818788 w 4011346"/>
                <a:gd name="connsiteY331" fmla="*/ 81242 h 2020169"/>
                <a:gd name="connsiteX332" fmla="*/ 1838813 w 4011346"/>
                <a:gd name="connsiteY332" fmla="*/ 134636 h 2020169"/>
                <a:gd name="connsiteX333" fmla="*/ 1782079 w 4011346"/>
                <a:gd name="connsiteY333" fmla="*/ 121287 h 2020169"/>
                <a:gd name="connsiteX334" fmla="*/ 1768731 w 4011346"/>
                <a:gd name="connsiteY334" fmla="*/ 168009 h 2020169"/>
                <a:gd name="connsiteX335" fmla="*/ 1705322 w 4011346"/>
                <a:gd name="connsiteY335" fmla="*/ 191369 h 2020169"/>
                <a:gd name="connsiteX336" fmla="*/ 1685300 w 4011346"/>
                <a:gd name="connsiteY336" fmla="*/ 164671 h 2020169"/>
                <a:gd name="connsiteX337" fmla="*/ 1615218 w 4011346"/>
                <a:gd name="connsiteY337" fmla="*/ 168009 h 2020169"/>
                <a:gd name="connsiteX338" fmla="*/ 1638579 w 4011346"/>
                <a:gd name="connsiteY338" fmla="*/ 198044 h 2020169"/>
                <a:gd name="connsiteX339" fmla="*/ 1528449 w 4011346"/>
                <a:gd name="connsiteY339" fmla="*/ 224740 h 2020169"/>
                <a:gd name="connsiteX340" fmla="*/ 1465043 w 4011346"/>
                <a:gd name="connsiteY340" fmla="*/ 308171 h 2020169"/>
                <a:gd name="connsiteX341" fmla="*/ 1448357 w 4011346"/>
                <a:gd name="connsiteY341" fmla="*/ 334869 h 2020169"/>
                <a:gd name="connsiteX342" fmla="*/ 1481729 w 4011346"/>
                <a:gd name="connsiteY342" fmla="*/ 368242 h 2020169"/>
                <a:gd name="connsiteX343" fmla="*/ 1481729 w 4011346"/>
                <a:gd name="connsiteY343" fmla="*/ 398277 h 2020169"/>
                <a:gd name="connsiteX344" fmla="*/ 1458368 w 4011346"/>
                <a:gd name="connsiteY344" fmla="*/ 401614 h 2020169"/>
                <a:gd name="connsiteX345" fmla="*/ 1458368 w 4011346"/>
                <a:gd name="connsiteY345" fmla="*/ 381590 h 2020169"/>
                <a:gd name="connsiteX346" fmla="*/ 1418322 w 4011346"/>
                <a:gd name="connsiteY346" fmla="*/ 391602 h 2020169"/>
                <a:gd name="connsiteX347" fmla="*/ 1368263 w 4011346"/>
                <a:gd name="connsiteY347" fmla="*/ 398277 h 2020169"/>
                <a:gd name="connsiteX348" fmla="*/ 1321542 w 4011346"/>
                <a:gd name="connsiteY348" fmla="*/ 404951 h 2020169"/>
                <a:gd name="connsiteX349" fmla="*/ 1318205 w 4011346"/>
                <a:gd name="connsiteY349" fmla="*/ 491719 h 2020169"/>
                <a:gd name="connsiteX350" fmla="*/ 1358252 w 4011346"/>
                <a:gd name="connsiteY350" fmla="*/ 515080 h 2020169"/>
                <a:gd name="connsiteX351" fmla="*/ 1374938 w 4011346"/>
                <a:gd name="connsiteY351" fmla="*/ 545115 h 2020169"/>
                <a:gd name="connsiteX352" fmla="*/ 1384949 w 4011346"/>
                <a:gd name="connsiteY352" fmla="*/ 568475 h 2020169"/>
                <a:gd name="connsiteX353" fmla="*/ 1394961 w 4011346"/>
                <a:gd name="connsiteY353" fmla="*/ 618534 h 2020169"/>
                <a:gd name="connsiteX354" fmla="*/ 1384949 w 4011346"/>
                <a:gd name="connsiteY354" fmla="*/ 648569 h 2020169"/>
                <a:gd name="connsiteX355" fmla="*/ 1358252 w 4011346"/>
                <a:gd name="connsiteY355" fmla="*/ 615196 h 2020169"/>
                <a:gd name="connsiteX356" fmla="*/ 1361589 w 4011346"/>
                <a:gd name="connsiteY356" fmla="*/ 585161 h 2020169"/>
                <a:gd name="connsiteX357" fmla="*/ 1351577 w 4011346"/>
                <a:gd name="connsiteY357" fmla="*/ 545115 h 2020169"/>
                <a:gd name="connsiteX358" fmla="*/ 1328217 w 4011346"/>
                <a:gd name="connsiteY358" fmla="*/ 551789 h 2020169"/>
                <a:gd name="connsiteX359" fmla="*/ 1281495 w 4011346"/>
                <a:gd name="connsiteY359" fmla="*/ 515080 h 2020169"/>
                <a:gd name="connsiteX360" fmla="*/ 1241449 w 4011346"/>
                <a:gd name="connsiteY360" fmla="*/ 511742 h 2020169"/>
                <a:gd name="connsiteX361" fmla="*/ 1241449 w 4011346"/>
                <a:gd name="connsiteY361" fmla="*/ 558463 h 2020169"/>
                <a:gd name="connsiteX362" fmla="*/ 1201402 w 4011346"/>
                <a:gd name="connsiteY362" fmla="*/ 538440 h 2020169"/>
                <a:gd name="connsiteX363" fmla="*/ 1228100 w 4011346"/>
                <a:gd name="connsiteY363" fmla="*/ 588498 h 2020169"/>
                <a:gd name="connsiteX364" fmla="*/ 1258135 w 4011346"/>
                <a:gd name="connsiteY364" fmla="*/ 598510 h 2020169"/>
                <a:gd name="connsiteX365" fmla="*/ 1258135 w 4011346"/>
                <a:gd name="connsiteY365" fmla="*/ 618534 h 2020169"/>
                <a:gd name="connsiteX366" fmla="*/ 1198065 w 4011346"/>
                <a:gd name="connsiteY366" fmla="*/ 595173 h 2020169"/>
                <a:gd name="connsiteX367" fmla="*/ 1181379 w 4011346"/>
                <a:gd name="connsiteY367" fmla="*/ 595173 h 2020169"/>
                <a:gd name="connsiteX368" fmla="*/ 1178041 w 4011346"/>
                <a:gd name="connsiteY368" fmla="*/ 551789 h 2020169"/>
                <a:gd name="connsiteX369" fmla="*/ 1171367 w 4011346"/>
                <a:gd name="connsiteY369" fmla="*/ 465021 h 2020169"/>
                <a:gd name="connsiteX370" fmla="*/ 1161355 w 4011346"/>
                <a:gd name="connsiteY370" fmla="*/ 535103 h 2020169"/>
                <a:gd name="connsiteX371" fmla="*/ 1137995 w 4011346"/>
                <a:gd name="connsiteY371" fmla="*/ 565138 h 2020169"/>
                <a:gd name="connsiteX372" fmla="*/ 1158018 w 4011346"/>
                <a:gd name="connsiteY372" fmla="*/ 611859 h 2020169"/>
                <a:gd name="connsiteX373" fmla="*/ 1158018 w 4011346"/>
                <a:gd name="connsiteY373" fmla="*/ 645231 h 2020169"/>
                <a:gd name="connsiteX374" fmla="*/ 1141332 w 4011346"/>
                <a:gd name="connsiteY374" fmla="*/ 695290 h 2020169"/>
                <a:gd name="connsiteX375" fmla="*/ 1154681 w 4011346"/>
                <a:gd name="connsiteY375" fmla="*/ 728662 h 2020169"/>
                <a:gd name="connsiteX376" fmla="*/ 1184716 w 4011346"/>
                <a:gd name="connsiteY376" fmla="*/ 735336 h 2020169"/>
                <a:gd name="connsiteX377" fmla="*/ 1221425 w 4011346"/>
                <a:gd name="connsiteY377" fmla="*/ 742011 h 2020169"/>
                <a:gd name="connsiteX378" fmla="*/ 1241449 w 4011346"/>
                <a:gd name="connsiteY378" fmla="*/ 765371 h 2020169"/>
                <a:gd name="connsiteX379" fmla="*/ 1258135 w 4011346"/>
                <a:gd name="connsiteY379" fmla="*/ 808755 h 2020169"/>
                <a:gd name="connsiteX380" fmla="*/ 1258135 w 4011346"/>
                <a:gd name="connsiteY380" fmla="*/ 808755 h 2020169"/>
                <a:gd name="connsiteX381" fmla="*/ 1254798 w 4011346"/>
                <a:gd name="connsiteY381" fmla="*/ 842128 h 2020169"/>
                <a:gd name="connsiteX382" fmla="*/ 1274821 w 4011346"/>
                <a:gd name="connsiteY382" fmla="*/ 862151 h 2020169"/>
                <a:gd name="connsiteX383" fmla="*/ 1244786 w 4011346"/>
                <a:gd name="connsiteY383" fmla="*/ 868826 h 2020169"/>
                <a:gd name="connsiteX384" fmla="*/ 1224763 w 4011346"/>
                <a:gd name="connsiteY384" fmla="*/ 828779 h 2020169"/>
                <a:gd name="connsiteX385" fmla="*/ 1224763 w 4011346"/>
                <a:gd name="connsiteY385" fmla="*/ 788732 h 2020169"/>
                <a:gd name="connsiteX386" fmla="*/ 1194727 w 4011346"/>
                <a:gd name="connsiteY386" fmla="*/ 752023 h 2020169"/>
                <a:gd name="connsiteX387" fmla="*/ 1164692 w 4011346"/>
                <a:gd name="connsiteY387" fmla="*/ 795407 h 2020169"/>
                <a:gd name="connsiteX388" fmla="*/ 1178041 w 4011346"/>
                <a:gd name="connsiteY388" fmla="*/ 838790 h 2020169"/>
                <a:gd name="connsiteX389" fmla="*/ 1137995 w 4011346"/>
                <a:gd name="connsiteY389" fmla="*/ 895523 h 2020169"/>
                <a:gd name="connsiteX390" fmla="*/ 1097948 w 4011346"/>
                <a:gd name="connsiteY390" fmla="*/ 952256 h 2020169"/>
                <a:gd name="connsiteX391" fmla="*/ 1007843 w 4011346"/>
                <a:gd name="connsiteY391" fmla="*/ 915547 h 2020169"/>
                <a:gd name="connsiteX392" fmla="*/ 1074587 w 4011346"/>
                <a:gd name="connsiteY392" fmla="*/ 912209 h 2020169"/>
                <a:gd name="connsiteX393" fmla="*/ 1107960 w 4011346"/>
                <a:gd name="connsiteY393" fmla="*/ 848802 h 2020169"/>
                <a:gd name="connsiteX394" fmla="*/ 1121309 w 4011346"/>
                <a:gd name="connsiteY394" fmla="*/ 805418 h 2020169"/>
                <a:gd name="connsiteX395" fmla="*/ 1127983 w 4011346"/>
                <a:gd name="connsiteY395" fmla="*/ 772046 h 2020169"/>
                <a:gd name="connsiteX396" fmla="*/ 1117971 w 4011346"/>
                <a:gd name="connsiteY396" fmla="*/ 755360 h 2020169"/>
                <a:gd name="connsiteX397" fmla="*/ 1114634 w 4011346"/>
                <a:gd name="connsiteY397" fmla="*/ 705301 h 2020169"/>
                <a:gd name="connsiteX398" fmla="*/ 1104622 w 4011346"/>
                <a:gd name="connsiteY398" fmla="*/ 625208 h 2020169"/>
                <a:gd name="connsiteX399" fmla="*/ 1101285 w 4011346"/>
                <a:gd name="connsiteY399" fmla="*/ 565138 h 2020169"/>
                <a:gd name="connsiteX400" fmla="*/ 1124646 w 4011346"/>
                <a:gd name="connsiteY400" fmla="*/ 471696 h 2020169"/>
                <a:gd name="connsiteX401" fmla="*/ 1031203 w 4011346"/>
                <a:gd name="connsiteY401" fmla="*/ 461684 h 2020169"/>
                <a:gd name="connsiteX402" fmla="*/ 1014517 w 4011346"/>
                <a:gd name="connsiteY402" fmla="*/ 518417 h 2020169"/>
                <a:gd name="connsiteX403" fmla="*/ 1024529 w 4011346"/>
                <a:gd name="connsiteY403" fmla="*/ 565138 h 2020169"/>
                <a:gd name="connsiteX404" fmla="*/ 981145 w 4011346"/>
                <a:gd name="connsiteY404" fmla="*/ 618534 h 2020169"/>
                <a:gd name="connsiteX405" fmla="*/ 991157 w 4011346"/>
                <a:gd name="connsiteY405" fmla="*/ 655243 h 2020169"/>
                <a:gd name="connsiteX406" fmla="*/ 981145 w 4011346"/>
                <a:gd name="connsiteY406" fmla="*/ 701964 h 2020169"/>
                <a:gd name="connsiteX407" fmla="*/ 1001168 w 4011346"/>
                <a:gd name="connsiteY407" fmla="*/ 725325 h 2020169"/>
                <a:gd name="connsiteX408" fmla="*/ 1017854 w 4011346"/>
                <a:gd name="connsiteY408" fmla="*/ 772046 h 2020169"/>
                <a:gd name="connsiteX409" fmla="*/ 1047890 w 4011346"/>
                <a:gd name="connsiteY409" fmla="*/ 758697 h 2020169"/>
                <a:gd name="connsiteX410" fmla="*/ 1014517 w 4011346"/>
                <a:gd name="connsiteY410" fmla="*/ 812093 h 2020169"/>
                <a:gd name="connsiteX411" fmla="*/ 957784 w 4011346"/>
                <a:gd name="connsiteY411" fmla="*/ 758697 h 2020169"/>
                <a:gd name="connsiteX412" fmla="*/ 884365 w 4011346"/>
                <a:gd name="connsiteY412" fmla="*/ 721988 h 2020169"/>
                <a:gd name="connsiteX413" fmla="*/ 824295 w 4011346"/>
                <a:gd name="connsiteY413" fmla="*/ 698627 h 2020169"/>
                <a:gd name="connsiteX414" fmla="*/ 810946 w 4011346"/>
                <a:gd name="connsiteY414" fmla="*/ 735336 h 2020169"/>
                <a:gd name="connsiteX415" fmla="*/ 827633 w 4011346"/>
                <a:gd name="connsiteY415" fmla="*/ 772046 h 2020169"/>
                <a:gd name="connsiteX416" fmla="*/ 814284 w 4011346"/>
                <a:gd name="connsiteY416" fmla="*/ 795407 h 2020169"/>
                <a:gd name="connsiteX417" fmla="*/ 800935 w 4011346"/>
                <a:gd name="connsiteY417" fmla="*/ 812093 h 2020169"/>
                <a:gd name="connsiteX418" fmla="*/ 770900 w 4011346"/>
                <a:gd name="connsiteY418" fmla="*/ 755360 h 2020169"/>
                <a:gd name="connsiteX419" fmla="*/ 744202 w 4011346"/>
                <a:gd name="connsiteY419" fmla="*/ 792069 h 2020169"/>
                <a:gd name="connsiteX420" fmla="*/ 707492 w 4011346"/>
                <a:gd name="connsiteY420" fmla="*/ 785395 h 2020169"/>
                <a:gd name="connsiteX421" fmla="*/ 654097 w 4011346"/>
                <a:gd name="connsiteY421" fmla="*/ 822104 h 2020169"/>
                <a:gd name="connsiteX422" fmla="*/ 644085 w 4011346"/>
                <a:gd name="connsiteY422" fmla="*/ 798744 h 2020169"/>
                <a:gd name="connsiteX423" fmla="*/ 654097 w 4011346"/>
                <a:gd name="connsiteY423" fmla="*/ 762034 h 2020169"/>
                <a:gd name="connsiteX424" fmla="*/ 614050 w 4011346"/>
                <a:gd name="connsiteY424" fmla="*/ 798744 h 2020169"/>
                <a:gd name="connsiteX425" fmla="*/ 594027 w 4011346"/>
                <a:gd name="connsiteY425" fmla="*/ 798744 h 2020169"/>
                <a:gd name="connsiteX426" fmla="*/ 533957 w 4011346"/>
                <a:gd name="connsiteY426" fmla="*/ 832116 h 2020169"/>
                <a:gd name="connsiteX427" fmla="*/ 510596 w 4011346"/>
                <a:gd name="connsiteY427" fmla="*/ 855477 h 2020169"/>
                <a:gd name="connsiteX428" fmla="*/ 500584 w 4011346"/>
                <a:gd name="connsiteY428" fmla="*/ 902198 h 2020169"/>
                <a:gd name="connsiteX429" fmla="*/ 450526 w 4011346"/>
                <a:gd name="connsiteY429" fmla="*/ 888849 h 2020169"/>
                <a:gd name="connsiteX430" fmla="*/ 433840 w 4011346"/>
                <a:gd name="connsiteY430" fmla="*/ 852139 h 2020169"/>
                <a:gd name="connsiteX431" fmla="*/ 467212 w 4011346"/>
                <a:gd name="connsiteY431" fmla="*/ 822104 h 2020169"/>
                <a:gd name="connsiteX432" fmla="*/ 453863 w 4011346"/>
                <a:gd name="connsiteY432" fmla="*/ 798744 h 2020169"/>
                <a:gd name="connsiteX433" fmla="*/ 390456 w 4011346"/>
                <a:gd name="connsiteY433" fmla="*/ 768709 h 2020169"/>
                <a:gd name="connsiteX434" fmla="*/ 417154 w 4011346"/>
                <a:gd name="connsiteY434" fmla="*/ 818767 h 2020169"/>
                <a:gd name="connsiteX435" fmla="*/ 407142 w 4011346"/>
                <a:gd name="connsiteY435" fmla="*/ 862151 h 2020169"/>
                <a:gd name="connsiteX436" fmla="*/ 413817 w 4011346"/>
                <a:gd name="connsiteY436" fmla="*/ 898861 h 2020169"/>
                <a:gd name="connsiteX437" fmla="*/ 427165 w 4011346"/>
                <a:gd name="connsiteY437" fmla="*/ 922221 h 2020169"/>
                <a:gd name="connsiteX438" fmla="*/ 413817 w 4011346"/>
                <a:gd name="connsiteY438" fmla="*/ 952256 h 2020169"/>
                <a:gd name="connsiteX439" fmla="*/ 390456 w 4011346"/>
                <a:gd name="connsiteY439" fmla="*/ 928896 h 2020169"/>
                <a:gd name="connsiteX440" fmla="*/ 360421 w 4011346"/>
                <a:gd name="connsiteY440" fmla="*/ 925558 h 2020169"/>
                <a:gd name="connsiteX441" fmla="*/ 333723 w 4011346"/>
                <a:gd name="connsiteY441" fmla="*/ 965605 h 2020169"/>
                <a:gd name="connsiteX442" fmla="*/ 307025 w 4011346"/>
                <a:gd name="connsiteY442" fmla="*/ 985628 h 2020169"/>
                <a:gd name="connsiteX443" fmla="*/ 320374 w 4011346"/>
                <a:gd name="connsiteY443" fmla="*/ 1012326 h 2020169"/>
                <a:gd name="connsiteX444" fmla="*/ 303688 w 4011346"/>
                <a:gd name="connsiteY444" fmla="*/ 1035687 h 2020169"/>
                <a:gd name="connsiteX445" fmla="*/ 233606 w 4011346"/>
                <a:gd name="connsiteY445" fmla="*/ 998977 h 2020169"/>
                <a:gd name="connsiteX446" fmla="*/ 243618 w 4011346"/>
                <a:gd name="connsiteY446" fmla="*/ 1049036 h 2020169"/>
                <a:gd name="connsiteX447" fmla="*/ 263641 w 4011346"/>
                <a:gd name="connsiteY447" fmla="*/ 1069059 h 2020169"/>
                <a:gd name="connsiteX448" fmla="*/ 250292 w 4011346"/>
                <a:gd name="connsiteY448" fmla="*/ 1082408 h 2020169"/>
                <a:gd name="connsiteX449" fmla="*/ 193560 w 4011346"/>
                <a:gd name="connsiteY449" fmla="*/ 1045698 h 2020169"/>
                <a:gd name="connsiteX450" fmla="*/ 170199 w 4011346"/>
                <a:gd name="connsiteY450" fmla="*/ 1005652 h 2020169"/>
                <a:gd name="connsiteX451" fmla="*/ 170199 w 4011346"/>
                <a:gd name="connsiteY451" fmla="*/ 958931 h 2020169"/>
                <a:gd name="connsiteX452" fmla="*/ 133490 w 4011346"/>
                <a:gd name="connsiteY452" fmla="*/ 882174 h 2020169"/>
                <a:gd name="connsiteX453" fmla="*/ 196897 w 4011346"/>
                <a:gd name="connsiteY453" fmla="*/ 912209 h 2020169"/>
                <a:gd name="connsiteX454" fmla="*/ 256967 w 4011346"/>
                <a:gd name="connsiteY454" fmla="*/ 942244 h 2020169"/>
                <a:gd name="connsiteX455" fmla="*/ 293676 w 4011346"/>
                <a:gd name="connsiteY455" fmla="*/ 945582 h 2020169"/>
                <a:gd name="connsiteX456" fmla="*/ 327049 w 4011346"/>
                <a:gd name="connsiteY456" fmla="*/ 915547 h 2020169"/>
                <a:gd name="connsiteX457" fmla="*/ 343735 w 4011346"/>
                <a:gd name="connsiteY457" fmla="*/ 878837 h 2020169"/>
                <a:gd name="connsiteX458" fmla="*/ 333723 w 4011346"/>
                <a:gd name="connsiteY458" fmla="*/ 828779 h 2020169"/>
                <a:gd name="connsiteX459" fmla="*/ 290339 w 4011346"/>
                <a:gd name="connsiteY459" fmla="*/ 808755 h 2020169"/>
                <a:gd name="connsiteX460" fmla="*/ 236944 w 4011346"/>
                <a:gd name="connsiteY460" fmla="*/ 762034 h 2020169"/>
                <a:gd name="connsiteX461" fmla="*/ 133490 w 4011346"/>
                <a:gd name="connsiteY461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41265 w 4011346"/>
                <a:gd name="connsiteY324" fmla="*/ 77154 h 2020169"/>
                <a:gd name="connsiteX325" fmla="*/ 1964125 w 4011346"/>
                <a:gd name="connsiteY325" fmla="*/ 74297 h 2020169"/>
                <a:gd name="connsiteX326" fmla="*/ 1895546 w 4011346"/>
                <a:gd name="connsiteY326" fmla="*/ 60008 h 2020169"/>
                <a:gd name="connsiteX327" fmla="*/ 1926978 w 4011346"/>
                <a:gd name="connsiteY327" fmla="*/ 31434 h 2020169"/>
                <a:gd name="connsiteX328" fmla="*/ 1909833 w 4011346"/>
                <a:gd name="connsiteY328" fmla="*/ 0 h 2020169"/>
                <a:gd name="connsiteX329" fmla="*/ 1877440 w 4011346"/>
                <a:gd name="connsiteY329" fmla="*/ 3067 h 2020169"/>
                <a:gd name="connsiteX330" fmla="*/ 1835474 w 4011346"/>
                <a:gd name="connsiteY330" fmla="*/ 41195 h 2020169"/>
                <a:gd name="connsiteX331" fmla="*/ 1818788 w 4011346"/>
                <a:gd name="connsiteY331" fmla="*/ 81242 h 2020169"/>
                <a:gd name="connsiteX332" fmla="*/ 1838813 w 4011346"/>
                <a:gd name="connsiteY332" fmla="*/ 134636 h 2020169"/>
                <a:gd name="connsiteX333" fmla="*/ 1782079 w 4011346"/>
                <a:gd name="connsiteY333" fmla="*/ 121287 h 2020169"/>
                <a:gd name="connsiteX334" fmla="*/ 1768731 w 4011346"/>
                <a:gd name="connsiteY334" fmla="*/ 168009 h 2020169"/>
                <a:gd name="connsiteX335" fmla="*/ 1705322 w 4011346"/>
                <a:gd name="connsiteY335" fmla="*/ 191369 h 2020169"/>
                <a:gd name="connsiteX336" fmla="*/ 1685300 w 4011346"/>
                <a:gd name="connsiteY336" fmla="*/ 164671 h 2020169"/>
                <a:gd name="connsiteX337" fmla="*/ 1615218 w 4011346"/>
                <a:gd name="connsiteY337" fmla="*/ 168009 h 2020169"/>
                <a:gd name="connsiteX338" fmla="*/ 1638579 w 4011346"/>
                <a:gd name="connsiteY338" fmla="*/ 198044 h 2020169"/>
                <a:gd name="connsiteX339" fmla="*/ 1528449 w 4011346"/>
                <a:gd name="connsiteY339" fmla="*/ 224740 h 2020169"/>
                <a:gd name="connsiteX340" fmla="*/ 1465043 w 4011346"/>
                <a:gd name="connsiteY340" fmla="*/ 308171 h 2020169"/>
                <a:gd name="connsiteX341" fmla="*/ 1448357 w 4011346"/>
                <a:gd name="connsiteY341" fmla="*/ 334869 h 2020169"/>
                <a:gd name="connsiteX342" fmla="*/ 1481729 w 4011346"/>
                <a:gd name="connsiteY342" fmla="*/ 368242 h 2020169"/>
                <a:gd name="connsiteX343" fmla="*/ 1481729 w 4011346"/>
                <a:gd name="connsiteY343" fmla="*/ 398277 h 2020169"/>
                <a:gd name="connsiteX344" fmla="*/ 1458368 w 4011346"/>
                <a:gd name="connsiteY344" fmla="*/ 401614 h 2020169"/>
                <a:gd name="connsiteX345" fmla="*/ 1458368 w 4011346"/>
                <a:gd name="connsiteY345" fmla="*/ 381590 h 2020169"/>
                <a:gd name="connsiteX346" fmla="*/ 1418322 w 4011346"/>
                <a:gd name="connsiteY346" fmla="*/ 391602 h 2020169"/>
                <a:gd name="connsiteX347" fmla="*/ 1368263 w 4011346"/>
                <a:gd name="connsiteY347" fmla="*/ 398277 h 2020169"/>
                <a:gd name="connsiteX348" fmla="*/ 1321542 w 4011346"/>
                <a:gd name="connsiteY348" fmla="*/ 404951 h 2020169"/>
                <a:gd name="connsiteX349" fmla="*/ 1318205 w 4011346"/>
                <a:gd name="connsiteY349" fmla="*/ 491719 h 2020169"/>
                <a:gd name="connsiteX350" fmla="*/ 1358252 w 4011346"/>
                <a:gd name="connsiteY350" fmla="*/ 515080 h 2020169"/>
                <a:gd name="connsiteX351" fmla="*/ 1374938 w 4011346"/>
                <a:gd name="connsiteY351" fmla="*/ 545115 h 2020169"/>
                <a:gd name="connsiteX352" fmla="*/ 1384949 w 4011346"/>
                <a:gd name="connsiteY352" fmla="*/ 568475 h 2020169"/>
                <a:gd name="connsiteX353" fmla="*/ 1394961 w 4011346"/>
                <a:gd name="connsiteY353" fmla="*/ 618534 h 2020169"/>
                <a:gd name="connsiteX354" fmla="*/ 1384949 w 4011346"/>
                <a:gd name="connsiteY354" fmla="*/ 648569 h 2020169"/>
                <a:gd name="connsiteX355" fmla="*/ 1358252 w 4011346"/>
                <a:gd name="connsiteY355" fmla="*/ 615196 h 2020169"/>
                <a:gd name="connsiteX356" fmla="*/ 1361589 w 4011346"/>
                <a:gd name="connsiteY356" fmla="*/ 585161 h 2020169"/>
                <a:gd name="connsiteX357" fmla="*/ 1351577 w 4011346"/>
                <a:gd name="connsiteY357" fmla="*/ 545115 h 2020169"/>
                <a:gd name="connsiteX358" fmla="*/ 1328217 w 4011346"/>
                <a:gd name="connsiteY358" fmla="*/ 551789 h 2020169"/>
                <a:gd name="connsiteX359" fmla="*/ 1281495 w 4011346"/>
                <a:gd name="connsiteY359" fmla="*/ 515080 h 2020169"/>
                <a:gd name="connsiteX360" fmla="*/ 1241449 w 4011346"/>
                <a:gd name="connsiteY360" fmla="*/ 511742 h 2020169"/>
                <a:gd name="connsiteX361" fmla="*/ 1241449 w 4011346"/>
                <a:gd name="connsiteY361" fmla="*/ 558463 h 2020169"/>
                <a:gd name="connsiteX362" fmla="*/ 1201402 w 4011346"/>
                <a:gd name="connsiteY362" fmla="*/ 538440 h 2020169"/>
                <a:gd name="connsiteX363" fmla="*/ 1228100 w 4011346"/>
                <a:gd name="connsiteY363" fmla="*/ 588498 h 2020169"/>
                <a:gd name="connsiteX364" fmla="*/ 1258135 w 4011346"/>
                <a:gd name="connsiteY364" fmla="*/ 598510 h 2020169"/>
                <a:gd name="connsiteX365" fmla="*/ 1258135 w 4011346"/>
                <a:gd name="connsiteY365" fmla="*/ 618534 h 2020169"/>
                <a:gd name="connsiteX366" fmla="*/ 1198065 w 4011346"/>
                <a:gd name="connsiteY366" fmla="*/ 595173 h 2020169"/>
                <a:gd name="connsiteX367" fmla="*/ 1181379 w 4011346"/>
                <a:gd name="connsiteY367" fmla="*/ 595173 h 2020169"/>
                <a:gd name="connsiteX368" fmla="*/ 1178041 w 4011346"/>
                <a:gd name="connsiteY368" fmla="*/ 551789 h 2020169"/>
                <a:gd name="connsiteX369" fmla="*/ 1171367 w 4011346"/>
                <a:gd name="connsiteY369" fmla="*/ 465021 h 2020169"/>
                <a:gd name="connsiteX370" fmla="*/ 1161355 w 4011346"/>
                <a:gd name="connsiteY370" fmla="*/ 535103 h 2020169"/>
                <a:gd name="connsiteX371" fmla="*/ 1137995 w 4011346"/>
                <a:gd name="connsiteY371" fmla="*/ 565138 h 2020169"/>
                <a:gd name="connsiteX372" fmla="*/ 1158018 w 4011346"/>
                <a:gd name="connsiteY372" fmla="*/ 611859 h 2020169"/>
                <a:gd name="connsiteX373" fmla="*/ 1158018 w 4011346"/>
                <a:gd name="connsiteY373" fmla="*/ 645231 h 2020169"/>
                <a:gd name="connsiteX374" fmla="*/ 1141332 w 4011346"/>
                <a:gd name="connsiteY374" fmla="*/ 695290 h 2020169"/>
                <a:gd name="connsiteX375" fmla="*/ 1154681 w 4011346"/>
                <a:gd name="connsiteY375" fmla="*/ 728662 h 2020169"/>
                <a:gd name="connsiteX376" fmla="*/ 1184716 w 4011346"/>
                <a:gd name="connsiteY376" fmla="*/ 735336 h 2020169"/>
                <a:gd name="connsiteX377" fmla="*/ 1221425 w 4011346"/>
                <a:gd name="connsiteY377" fmla="*/ 742011 h 2020169"/>
                <a:gd name="connsiteX378" fmla="*/ 1241449 w 4011346"/>
                <a:gd name="connsiteY378" fmla="*/ 765371 h 2020169"/>
                <a:gd name="connsiteX379" fmla="*/ 1258135 w 4011346"/>
                <a:gd name="connsiteY379" fmla="*/ 808755 h 2020169"/>
                <a:gd name="connsiteX380" fmla="*/ 1258135 w 4011346"/>
                <a:gd name="connsiteY380" fmla="*/ 808755 h 2020169"/>
                <a:gd name="connsiteX381" fmla="*/ 1254798 w 4011346"/>
                <a:gd name="connsiteY381" fmla="*/ 842128 h 2020169"/>
                <a:gd name="connsiteX382" fmla="*/ 1274821 w 4011346"/>
                <a:gd name="connsiteY382" fmla="*/ 862151 h 2020169"/>
                <a:gd name="connsiteX383" fmla="*/ 1244786 w 4011346"/>
                <a:gd name="connsiteY383" fmla="*/ 868826 h 2020169"/>
                <a:gd name="connsiteX384" fmla="*/ 1224763 w 4011346"/>
                <a:gd name="connsiteY384" fmla="*/ 828779 h 2020169"/>
                <a:gd name="connsiteX385" fmla="*/ 1224763 w 4011346"/>
                <a:gd name="connsiteY385" fmla="*/ 788732 h 2020169"/>
                <a:gd name="connsiteX386" fmla="*/ 1194727 w 4011346"/>
                <a:gd name="connsiteY386" fmla="*/ 752023 h 2020169"/>
                <a:gd name="connsiteX387" fmla="*/ 1164692 w 4011346"/>
                <a:gd name="connsiteY387" fmla="*/ 795407 h 2020169"/>
                <a:gd name="connsiteX388" fmla="*/ 1178041 w 4011346"/>
                <a:gd name="connsiteY388" fmla="*/ 838790 h 2020169"/>
                <a:gd name="connsiteX389" fmla="*/ 1137995 w 4011346"/>
                <a:gd name="connsiteY389" fmla="*/ 895523 h 2020169"/>
                <a:gd name="connsiteX390" fmla="*/ 1097948 w 4011346"/>
                <a:gd name="connsiteY390" fmla="*/ 952256 h 2020169"/>
                <a:gd name="connsiteX391" fmla="*/ 1007843 w 4011346"/>
                <a:gd name="connsiteY391" fmla="*/ 915547 h 2020169"/>
                <a:gd name="connsiteX392" fmla="*/ 1074587 w 4011346"/>
                <a:gd name="connsiteY392" fmla="*/ 912209 h 2020169"/>
                <a:gd name="connsiteX393" fmla="*/ 1107960 w 4011346"/>
                <a:gd name="connsiteY393" fmla="*/ 848802 h 2020169"/>
                <a:gd name="connsiteX394" fmla="*/ 1121309 w 4011346"/>
                <a:gd name="connsiteY394" fmla="*/ 805418 h 2020169"/>
                <a:gd name="connsiteX395" fmla="*/ 1127983 w 4011346"/>
                <a:gd name="connsiteY395" fmla="*/ 772046 h 2020169"/>
                <a:gd name="connsiteX396" fmla="*/ 1117971 w 4011346"/>
                <a:gd name="connsiteY396" fmla="*/ 755360 h 2020169"/>
                <a:gd name="connsiteX397" fmla="*/ 1114634 w 4011346"/>
                <a:gd name="connsiteY397" fmla="*/ 705301 h 2020169"/>
                <a:gd name="connsiteX398" fmla="*/ 1104622 w 4011346"/>
                <a:gd name="connsiteY398" fmla="*/ 625208 h 2020169"/>
                <a:gd name="connsiteX399" fmla="*/ 1101285 w 4011346"/>
                <a:gd name="connsiteY399" fmla="*/ 565138 h 2020169"/>
                <a:gd name="connsiteX400" fmla="*/ 1124646 w 4011346"/>
                <a:gd name="connsiteY400" fmla="*/ 471696 h 2020169"/>
                <a:gd name="connsiteX401" fmla="*/ 1031203 w 4011346"/>
                <a:gd name="connsiteY401" fmla="*/ 461684 h 2020169"/>
                <a:gd name="connsiteX402" fmla="*/ 1014517 w 4011346"/>
                <a:gd name="connsiteY402" fmla="*/ 518417 h 2020169"/>
                <a:gd name="connsiteX403" fmla="*/ 1024529 w 4011346"/>
                <a:gd name="connsiteY403" fmla="*/ 565138 h 2020169"/>
                <a:gd name="connsiteX404" fmla="*/ 981145 w 4011346"/>
                <a:gd name="connsiteY404" fmla="*/ 618534 h 2020169"/>
                <a:gd name="connsiteX405" fmla="*/ 991157 w 4011346"/>
                <a:gd name="connsiteY405" fmla="*/ 655243 h 2020169"/>
                <a:gd name="connsiteX406" fmla="*/ 981145 w 4011346"/>
                <a:gd name="connsiteY406" fmla="*/ 701964 h 2020169"/>
                <a:gd name="connsiteX407" fmla="*/ 1001168 w 4011346"/>
                <a:gd name="connsiteY407" fmla="*/ 725325 h 2020169"/>
                <a:gd name="connsiteX408" fmla="*/ 1017854 w 4011346"/>
                <a:gd name="connsiteY408" fmla="*/ 772046 h 2020169"/>
                <a:gd name="connsiteX409" fmla="*/ 1047890 w 4011346"/>
                <a:gd name="connsiteY409" fmla="*/ 758697 h 2020169"/>
                <a:gd name="connsiteX410" fmla="*/ 1014517 w 4011346"/>
                <a:gd name="connsiteY410" fmla="*/ 812093 h 2020169"/>
                <a:gd name="connsiteX411" fmla="*/ 957784 w 4011346"/>
                <a:gd name="connsiteY411" fmla="*/ 758697 h 2020169"/>
                <a:gd name="connsiteX412" fmla="*/ 884365 w 4011346"/>
                <a:gd name="connsiteY412" fmla="*/ 721988 h 2020169"/>
                <a:gd name="connsiteX413" fmla="*/ 824295 w 4011346"/>
                <a:gd name="connsiteY413" fmla="*/ 698627 h 2020169"/>
                <a:gd name="connsiteX414" fmla="*/ 810946 w 4011346"/>
                <a:gd name="connsiteY414" fmla="*/ 735336 h 2020169"/>
                <a:gd name="connsiteX415" fmla="*/ 827633 w 4011346"/>
                <a:gd name="connsiteY415" fmla="*/ 772046 h 2020169"/>
                <a:gd name="connsiteX416" fmla="*/ 814284 w 4011346"/>
                <a:gd name="connsiteY416" fmla="*/ 795407 h 2020169"/>
                <a:gd name="connsiteX417" fmla="*/ 800935 w 4011346"/>
                <a:gd name="connsiteY417" fmla="*/ 812093 h 2020169"/>
                <a:gd name="connsiteX418" fmla="*/ 770900 w 4011346"/>
                <a:gd name="connsiteY418" fmla="*/ 755360 h 2020169"/>
                <a:gd name="connsiteX419" fmla="*/ 744202 w 4011346"/>
                <a:gd name="connsiteY419" fmla="*/ 792069 h 2020169"/>
                <a:gd name="connsiteX420" fmla="*/ 707492 w 4011346"/>
                <a:gd name="connsiteY420" fmla="*/ 785395 h 2020169"/>
                <a:gd name="connsiteX421" fmla="*/ 654097 w 4011346"/>
                <a:gd name="connsiteY421" fmla="*/ 822104 h 2020169"/>
                <a:gd name="connsiteX422" fmla="*/ 644085 w 4011346"/>
                <a:gd name="connsiteY422" fmla="*/ 798744 h 2020169"/>
                <a:gd name="connsiteX423" fmla="*/ 654097 w 4011346"/>
                <a:gd name="connsiteY423" fmla="*/ 762034 h 2020169"/>
                <a:gd name="connsiteX424" fmla="*/ 614050 w 4011346"/>
                <a:gd name="connsiteY424" fmla="*/ 798744 h 2020169"/>
                <a:gd name="connsiteX425" fmla="*/ 594027 w 4011346"/>
                <a:gd name="connsiteY425" fmla="*/ 798744 h 2020169"/>
                <a:gd name="connsiteX426" fmla="*/ 533957 w 4011346"/>
                <a:gd name="connsiteY426" fmla="*/ 832116 h 2020169"/>
                <a:gd name="connsiteX427" fmla="*/ 510596 w 4011346"/>
                <a:gd name="connsiteY427" fmla="*/ 855477 h 2020169"/>
                <a:gd name="connsiteX428" fmla="*/ 500584 w 4011346"/>
                <a:gd name="connsiteY428" fmla="*/ 902198 h 2020169"/>
                <a:gd name="connsiteX429" fmla="*/ 450526 w 4011346"/>
                <a:gd name="connsiteY429" fmla="*/ 888849 h 2020169"/>
                <a:gd name="connsiteX430" fmla="*/ 433840 w 4011346"/>
                <a:gd name="connsiteY430" fmla="*/ 852139 h 2020169"/>
                <a:gd name="connsiteX431" fmla="*/ 467212 w 4011346"/>
                <a:gd name="connsiteY431" fmla="*/ 822104 h 2020169"/>
                <a:gd name="connsiteX432" fmla="*/ 453863 w 4011346"/>
                <a:gd name="connsiteY432" fmla="*/ 798744 h 2020169"/>
                <a:gd name="connsiteX433" fmla="*/ 390456 w 4011346"/>
                <a:gd name="connsiteY433" fmla="*/ 768709 h 2020169"/>
                <a:gd name="connsiteX434" fmla="*/ 417154 w 4011346"/>
                <a:gd name="connsiteY434" fmla="*/ 818767 h 2020169"/>
                <a:gd name="connsiteX435" fmla="*/ 407142 w 4011346"/>
                <a:gd name="connsiteY435" fmla="*/ 862151 h 2020169"/>
                <a:gd name="connsiteX436" fmla="*/ 413817 w 4011346"/>
                <a:gd name="connsiteY436" fmla="*/ 898861 h 2020169"/>
                <a:gd name="connsiteX437" fmla="*/ 427165 w 4011346"/>
                <a:gd name="connsiteY437" fmla="*/ 922221 h 2020169"/>
                <a:gd name="connsiteX438" fmla="*/ 413817 w 4011346"/>
                <a:gd name="connsiteY438" fmla="*/ 952256 h 2020169"/>
                <a:gd name="connsiteX439" fmla="*/ 390456 w 4011346"/>
                <a:gd name="connsiteY439" fmla="*/ 928896 h 2020169"/>
                <a:gd name="connsiteX440" fmla="*/ 360421 w 4011346"/>
                <a:gd name="connsiteY440" fmla="*/ 925558 h 2020169"/>
                <a:gd name="connsiteX441" fmla="*/ 333723 w 4011346"/>
                <a:gd name="connsiteY441" fmla="*/ 965605 h 2020169"/>
                <a:gd name="connsiteX442" fmla="*/ 307025 w 4011346"/>
                <a:gd name="connsiteY442" fmla="*/ 985628 h 2020169"/>
                <a:gd name="connsiteX443" fmla="*/ 320374 w 4011346"/>
                <a:gd name="connsiteY443" fmla="*/ 1012326 h 2020169"/>
                <a:gd name="connsiteX444" fmla="*/ 303688 w 4011346"/>
                <a:gd name="connsiteY444" fmla="*/ 1035687 h 2020169"/>
                <a:gd name="connsiteX445" fmla="*/ 233606 w 4011346"/>
                <a:gd name="connsiteY445" fmla="*/ 998977 h 2020169"/>
                <a:gd name="connsiteX446" fmla="*/ 243618 w 4011346"/>
                <a:gd name="connsiteY446" fmla="*/ 1049036 h 2020169"/>
                <a:gd name="connsiteX447" fmla="*/ 263641 w 4011346"/>
                <a:gd name="connsiteY447" fmla="*/ 1069059 h 2020169"/>
                <a:gd name="connsiteX448" fmla="*/ 250292 w 4011346"/>
                <a:gd name="connsiteY448" fmla="*/ 1082408 h 2020169"/>
                <a:gd name="connsiteX449" fmla="*/ 193560 w 4011346"/>
                <a:gd name="connsiteY449" fmla="*/ 1045698 h 2020169"/>
                <a:gd name="connsiteX450" fmla="*/ 170199 w 4011346"/>
                <a:gd name="connsiteY450" fmla="*/ 1005652 h 2020169"/>
                <a:gd name="connsiteX451" fmla="*/ 170199 w 4011346"/>
                <a:gd name="connsiteY451" fmla="*/ 958931 h 2020169"/>
                <a:gd name="connsiteX452" fmla="*/ 133490 w 4011346"/>
                <a:gd name="connsiteY452" fmla="*/ 882174 h 2020169"/>
                <a:gd name="connsiteX453" fmla="*/ 196897 w 4011346"/>
                <a:gd name="connsiteY453" fmla="*/ 912209 h 2020169"/>
                <a:gd name="connsiteX454" fmla="*/ 256967 w 4011346"/>
                <a:gd name="connsiteY454" fmla="*/ 942244 h 2020169"/>
                <a:gd name="connsiteX455" fmla="*/ 293676 w 4011346"/>
                <a:gd name="connsiteY455" fmla="*/ 945582 h 2020169"/>
                <a:gd name="connsiteX456" fmla="*/ 327049 w 4011346"/>
                <a:gd name="connsiteY456" fmla="*/ 915547 h 2020169"/>
                <a:gd name="connsiteX457" fmla="*/ 343735 w 4011346"/>
                <a:gd name="connsiteY457" fmla="*/ 878837 h 2020169"/>
                <a:gd name="connsiteX458" fmla="*/ 333723 w 4011346"/>
                <a:gd name="connsiteY458" fmla="*/ 828779 h 2020169"/>
                <a:gd name="connsiteX459" fmla="*/ 290339 w 4011346"/>
                <a:gd name="connsiteY459" fmla="*/ 808755 h 2020169"/>
                <a:gd name="connsiteX460" fmla="*/ 236944 w 4011346"/>
                <a:gd name="connsiteY460" fmla="*/ 762034 h 2020169"/>
                <a:gd name="connsiteX461" fmla="*/ 133490 w 4011346"/>
                <a:gd name="connsiteY461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41265 w 4011346"/>
                <a:gd name="connsiteY324" fmla="*/ 77154 h 2020169"/>
                <a:gd name="connsiteX325" fmla="*/ 1955552 w 4011346"/>
                <a:gd name="connsiteY325" fmla="*/ 65725 h 2020169"/>
                <a:gd name="connsiteX326" fmla="*/ 1895546 w 4011346"/>
                <a:gd name="connsiteY326" fmla="*/ 60008 h 2020169"/>
                <a:gd name="connsiteX327" fmla="*/ 1926978 w 4011346"/>
                <a:gd name="connsiteY327" fmla="*/ 31434 h 2020169"/>
                <a:gd name="connsiteX328" fmla="*/ 1909833 w 4011346"/>
                <a:gd name="connsiteY328" fmla="*/ 0 h 2020169"/>
                <a:gd name="connsiteX329" fmla="*/ 1877440 w 4011346"/>
                <a:gd name="connsiteY329" fmla="*/ 3067 h 2020169"/>
                <a:gd name="connsiteX330" fmla="*/ 1835474 w 4011346"/>
                <a:gd name="connsiteY330" fmla="*/ 41195 h 2020169"/>
                <a:gd name="connsiteX331" fmla="*/ 1818788 w 4011346"/>
                <a:gd name="connsiteY331" fmla="*/ 81242 h 2020169"/>
                <a:gd name="connsiteX332" fmla="*/ 1838813 w 4011346"/>
                <a:gd name="connsiteY332" fmla="*/ 134636 h 2020169"/>
                <a:gd name="connsiteX333" fmla="*/ 1782079 w 4011346"/>
                <a:gd name="connsiteY333" fmla="*/ 121287 h 2020169"/>
                <a:gd name="connsiteX334" fmla="*/ 1768731 w 4011346"/>
                <a:gd name="connsiteY334" fmla="*/ 168009 h 2020169"/>
                <a:gd name="connsiteX335" fmla="*/ 1705322 w 4011346"/>
                <a:gd name="connsiteY335" fmla="*/ 191369 h 2020169"/>
                <a:gd name="connsiteX336" fmla="*/ 1685300 w 4011346"/>
                <a:gd name="connsiteY336" fmla="*/ 164671 h 2020169"/>
                <a:gd name="connsiteX337" fmla="*/ 1615218 w 4011346"/>
                <a:gd name="connsiteY337" fmla="*/ 168009 h 2020169"/>
                <a:gd name="connsiteX338" fmla="*/ 1638579 w 4011346"/>
                <a:gd name="connsiteY338" fmla="*/ 198044 h 2020169"/>
                <a:gd name="connsiteX339" fmla="*/ 1528449 w 4011346"/>
                <a:gd name="connsiteY339" fmla="*/ 224740 h 2020169"/>
                <a:gd name="connsiteX340" fmla="*/ 1465043 w 4011346"/>
                <a:gd name="connsiteY340" fmla="*/ 308171 h 2020169"/>
                <a:gd name="connsiteX341" fmla="*/ 1448357 w 4011346"/>
                <a:gd name="connsiteY341" fmla="*/ 334869 h 2020169"/>
                <a:gd name="connsiteX342" fmla="*/ 1481729 w 4011346"/>
                <a:gd name="connsiteY342" fmla="*/ 368242 h 2020169"/>
                <a:gd name="connsiteX343" fmla="*/ 1481729 w 4011346"/>
                <a:gd name="connsiteY343" fmla="*/ 398277 h 2020169"/>
                <a:gd name="connsiteX344" fmla="*/ 1458368 w 4011346"/>
                <a:gd name="connsiteY344" fmla="*/ 401614 h 2020169"/>
                <a:gd name="connsiteX345" fmla="*/ 1458368 w 4011346"/>
                <a:gd name="connsiteY345" fmla="*/ 381590 h 2020169"/>
                <a:gd name="connsiteX346" fmla="*/ 1418322 w 4011346"/>
                <a:gd name="connsiteY346" fmla="*/ 391602 h 2020169"/>
                <a:gd name="connsiteX347" fmla="*/ 1368263 w 4011346"/>
                <a:gd name="connsiteY347" fmla="*/ 398277 h 2020169"/>
                <a:gd name="connsiteX348" fmla="*/ 1321542 w 4011346"/>
                <a:gd name="connsiteY348" fmla="*/ 404951 h 2020169"/>
                <a:gd name="connsiteX349" fmla="*/ 1318205 w 4011346"/>
                <a:gd name="connsiteY349" fmla="*/ 491719 h 2020169"/>
                <a:gd name="connsiteX350" fmla="*/ 1358252 w 4011346"/>
                <a:gd name="connsiteY350" fmla="*/ 515080 h 2020169"/>
                <a:gd name="connsiteX351" fmla="*/ 1374938 w 4011346"/>
                <a:gd name="connsiteY351" fmla="*/ 545115 h 2020169"/>
                <a:gd name="connsiteX352" fmla="*/ 1384949 w 4011346"/>
                <a:gd name="connsiteY352" fmla="*/ 568475 h 2020169"/>
                <a:gd name="connsiteX353" fmla="*/ 1394961 w 4011346"/>
                <a:gd name="connsiteY353" fmla="*/ 618534 h 2020169"/>
                <a:gd name="connsiteX354" fmla="*/ 1384949 w 4011346"/>
                <a:gd name="connsiteY354" fmla="*/ 648569 h 2020169"/>
                <a:gd name="connsiteX355" fmla="*/ 1358252 w 4011346"/>
                <a:gd name="connsiteY355" fmla="*/ 615196 h 2020169"/>
                <a:gd name="connsiteX356" fmla="*/ 1361589 w 4011346"/>
                <a:gd name="connsiteY356" fmla="*/ 585161 h 2020169"/>
                <a:gd name="connsiteX357" fmla="*/ 1351577 w 4011346"/>
                <a:gd name="connsiteY357" fmla="*/ 545115 h 2020169"/>
                <a:gd name="connsiteX358" fmla="*/ 1328217 w 4011346"/>
                <a:gd name="connsiteY358" fmla="*/ 551789 h 2020169"/>
                <a:gd name="connsiteX359" fmla="*/ 1281495 w 4011346"/>
                <a:gd name="connsiteY359" fmla="*/ 515080 h 2020169"/>
                <a:gd name="connsiteX360" fmla="*/ 1241449 w 4011346"/>
                <a:gd name="connsiteY360" fmla="*/ 511742 h 2020169"/>
                <a:gd name="connsiteX361" fmla="*/ 1241449 w 4011346"/>
                <a:gd name="connsiteY361" fmla="*/ 558463 h 2020169"/>
                <a:gd name="connsiteX362" fmla="*/ 1201402 w 4011346"/>
                <a:gd name="connsiteY362" fmla="*/ 538440 h 2020169"/>
                <a:gd name="connsiteX363" fmla="*/ 1228100 w 4011346"/>
                <a:gd name="connsiteY363" fmla="*/ 588498 h 2020169"/>
                <a:gd name="connsiteX364" fmla="*/ 1258135 w 4011346"/>
                <a:gd name="connsiteY364" fmla="*/ 598510 h 2020169"/>
                <a:gd name="connsiteX365" fmla="*/ 1258135 w 4011346"/>
                <a:gd name="connsiteY365" fmla="*/ 618534 h 2020169"/>
                <a:gd name="connsiteX366" fmla="*/ 1198065 w 4011346"/>
                <a:gd name="connsiteY366" fmla="*/ 595173 h 2020169"/>
                <a:gd name="connsiteX367" fmla="*/ 1181379 w 4011346"/>
                <a:gd name="connsiteY367" fmla="*/ 595173 h 2020169"/>
                <a:gd name="connsiteX368" fmla="*/ 1178041 w 4011346"/>
                <a:gd name="connsiteY368" fmla="*/ 551789 h 2020169"/>
                <a:gd name="connsiteX369" fmla="*/ 1171367 w 4011346"/>
                <a:gd name="connsiteY369" fmla="*/ 465021 h 2020169"/>
                <a:gd name="connsiteX370" fmla="*/ 1161355 w 4011346"/>
                <a:gd name="connsiteY370" fmla="*/ 535103 h 2020169"/>
                <a:gd name="connsiteX371" fmla="*/ 1137995 w 4011346"/>
                <a:gd name="connsiteY371" fmla="*/ 565138 h 2020169"/>
                <a:gd name="connsiteX372" fmla="*/ 1158018 w 4011346"/>
                <a:gd name="connsiteY372" fmla="*/ 611859 h 2020169"/>
                <a:gd name="connsiteX373" fmla="*/ 1158018 w 4011346"/>
                <a:gd name="connsiteY373" fmla="*/ 645231 h 2020169"/>
                <a:gd name="connsiteX374" fmla="*/ 1141332 w 4011346"/>
                <a:gd name="connsiteY374" fmla="*/ 695290 h 2020169"/>
                <a:gd name="connsiteX375" fmla="*/ 1154681 w 4011346"/>
                <a:gd name="connsiteY375" fmla="*/ 728662 h 2020169"/>
                <a:gd name="connsiteX376" fmla="*/ 1184716 w 4011346"/>
                <a:gd name="connsiteY376" fmla="*/ 735336 h 2020169"/>
                <a:gd name="connsiteX377" fmla="*/ 1221425 w 4011346"/>
                <a:gd name="connsiteY377" fmla="*/ 742011 h 2020169"/>
                <a:gd name="connsiteX378" fmla="*/ 1241449 w 4011346"/>
                <a:gd name="connsiteY378" fmla="*/ 765371 h 2020169"/>
                <a:gd name="connsiteX379" fmla="*/ 1258135 w 4011346"/>
                <a:gd name="connsiteY379" fmla="*/ 808755 h 2020169"/>
                <a:gd name="connsiteX380" fmla="*/ 1258135 w 4011346"/>
                <a:gd name="connsiteY380" fmla="*/ 808755 h 2020169"/>
                <a:gd name="connsiteX381" fmla="*/ 1254798 w 4011346"/>
                <a:gd name="connsiteY381" fmla="*/ 842128 h 2020169"/>
                <a:gd name="connsiteX382" fmla="*/ 1274821 w 4011346"/>
                <a:gd name="connsiteY382" fmla="*/ 862151 h 2020169"/>
                <a:gd name="connsiteX383" fmla="*/ 1244786 w 4011346"/>
                <a:gd name="connsiteY383" fmla="*/ 868826 h 2020169"/>
                <a:gd name="connsiteX384" fmla="*/ 1224763 w 4011346"/>
                <a:gd name="connsiteY384" fmla="*/ 828779 h 2020169"/>
                <a:gd name="connsiteX385" fmla="*/ 1224763 w 4011346"/>
                <a:gd name="connsiteY385" fmla="*/ 788732 h 2020169"/>
                <a:gd name="connsiteX386" fmla="*/ 1194727 w 4011346"/>
                <a:gd name="connsiteY386" fmla="*/ 752023 h 2020169"/>
                <a:gd name="connsiteX387" fmla="*/ 1164692 w 4011346"/>
                <a:gd name="connsiteY387" fmla="*/ 795407 h 2020169"/>
                <a:gd name="connsiteX388" fmla="*/ 1178041 w 4011346"/>
                <a:gd name="connsiteY388" fmla="*/ 838790 h 2020169"/>
                <a:gd name="connsiteX389" fmla="*/ 1137995 w 4011346"/>
                <a:gd name="connsiteY389" fmla="*/ 895523 h 2020169"/>
                <a:gd name="connsiteX390" fmla="*/ 1097948 w 4011346"/>
                <a:gd name="connsiteY390" fmla="*/ 952256 h 2020169"/>
                <a:gd name="connsiteX391" fmla="*/ 1007843 w 4011346"/>
                <a:gd name="connsiteY391" fmla="*/ 915547 h 2020169"/>
                <a:gd name="connsiteX392" fmla="*/ 1074587 w 4011346"/>
                <a:gd name="connsiteY392" fmla="*/ 912209 h 2020169"/>
                <a:gd name="connsiteX393" fmla="*/ 1107960 w 4011346"/>
                <a:gd name="connsiteY393" fmla="*/ 848802 h 2020169"/>
                <a:gd name="connsiteX394" fmla="*/ 1121309 w 4011346"/>
                <a:gd name="connsiteY394" fmla="*/ 805418 h 2020169"/>
                <a:gd name="connsiteX395" fmla="*/ 1127983 w 4011346"/>
                <a:gd name="connsiteY395" fmla="*/ 772046 h 2020169"/>
                <a:gd name="connsiteX396" fmla="*/ 1117971 w 4011346"/>
                <a:gd name="connsiteY396" fmla="*/ 755360 h 2020169"/>
                <a:gd name="connsiteX397" fmla="*/ 1114634 w 4011346"/>
                <a:gd name="connsiteY397" fmla="*/ 705301 h 2020169"/>
                <a:gd name="connsiteX398" fmla="*/ 1104622 w 4011346"/>
                <a:gd name="connsiteY398" fmla="*/ 625208 h 2020169"/>
                <a:gd name="connsiteX399" fmla="*/ 1101285 w 4011346"/>
                <a:gd name="connsiteY399" fmla="*/ 565138 h 2020169"/>
                <a:gd name="connsiteX400" fmla="*/ 1124646 w 4011346"/>
                <a:gd name="connsiteY400" fmla="*/ 471696 h 2020169"/>
                <a:gd name="connsiteX401" fmla="*/ 1031203 w 4011346"/>
                <a:gd name="connsiteY401" fmla="*/ 461684 h 2020169"/>
                <a:gd name="connsiteX402" fmla="*/ 1014517 w 4011346"/>
                <a:gd name="connsiteY402" fmla="*/ 518417 h 2020169"/>
                <a:gd name="connsiteX403" fmla="*/ 1024529 w 4011346"/>
                <a:gd name="connsiteY403" fmla="*/ 565138 h 2020169"/>
                <a:gd name="connsiteX404" fmla="*/ 981145 w 4011346"/>
                <a:gd name="connsiteY404" fmla="*/ 618534 h 2020169"/>
                <a:gd name="connsiteX405" fmla="*/ 991157 w 4011346"/>
                <a:gd name="connsiteY405" fmla="*/ 655243 h 2020169"/>
                <a:gd name="connsiteX406" fmla="*/ 981145 w 4011346"/>
                <a:gd name="connsiteY406" fmla="*/ 701964 h 2020169"/>
                <a:gd name="connsiteX407" fmla="*/ 1001168 w 4011346"/>
                <a:gd name="connsiteY407" fmla="*/ 725325 h 2020169"/>
                <a:gd name="connsiteX408" fmla="*/ 1017854 w 4011346"/>
                <a:gd name="connsiteY408" fmla="*/ 772046 h 2020169"/>
                <a:gd name="connsiteX409" fmla="*/ 1047890 w 4011346"/>
                <a:gd name="connsiteY409" fmla="*/ 758697 h 2020169"/>
                <a:gd name="connsiteX410" fmla="*/ 1014517 w 4011346"/>
                <a:gd name="connsiteY410" fmla="*/ 812093 h 2020169"/>
                <a:gd name="connsiteX411" fmla="*/ 957784 w 4011346"/>
                <a:gd name="connsiteY411" fmla="*/ 758697 h 2020169"/>
                <a:gd name="connsiteX412" fmla="*/ 884365 w 4011346"/>
                <a:gd name="connsiteY412" fmla="*/ 721988 h 2020169"/>
                <a:gd name="connsiteX413" fmla="*/ 824295 w 4011346"/>
                <a:gd name="connsiteY413" fmla="*/ 698627 h 2020169"/>
                <a:gd name="connsiteX414" fmla="*/ 810946 w 4011346"/>
                <a:gd name="connsiteY414" fmla="*/ 735336 h 2020169"/>
                <a:gd name="connsiteX415" fmla="*/ 827633 w 4011346"/>
                <a:gd name="connsiteY415" fmla="*/ 772046 h 2020169"/>
                <a:gd name="connsiteX416" fmla="*/ 814284 w 4011346"/>
                <a:gd name="connsiteY416" fmla="*/ 795407 h 2020169"/>
                <a:gd name="connsiteX417" fmla="*/ 800935 w 4011346"/>
                <a:gd name="connsiteY417" fmla="*/ 812093 h 2020169"/>
                <a:gd name="connsiteX418" fmla="*/ 770900 w 4011346"/>
                <a:gd name="connsiteY418" fmla="*/ 755360 h 2020169"/>
                <a:gd name="connsiteX419" fmla="*/ 744202 w 4011346"/>
                <a:gd name="connsiteY419" fmla="*/ 792069 h 2020169"/>
                <a:gd name="connsiteX420" fmla="*/ 707492 w 4011346"/>
                <a:gd name="connsiteY420" fmla="*/ 785395 h 2020169"/>
                <a:gd name="connsiteX421" fmla="*/ 654097 w 4011346"/>
                <a:gd name="connsiteY421" fmla="*/ 822104 h 2020169"/>
                <a:gd name="connsiteX422" fmla="*/ 644085 w 4011346"/>
                <a:gd name="connsiteY422" fmla="*/ 798744 h 2020169"/>
                <a:gd name="connsiteX423" fmla="*/ 654097 w 4011346"/>
                <a:gd name="connsiteY423" fmla="*/ 762034 h 2020169"/>
                <a:gd name="connsiteX424" fmla="*/ 614050 w 4011346"/>
                <a:gd name="connsiteY424" fmla="*/ 798744 h 2020169"/>
                <a:gd name="connsiteX425" fmla="*/ 594027 w 4011346"/>
                <a:gd name="connsiteY425" fmla="*/ 798744 h 2020169"/>
                <a:gd name="connsiteX426" fmla="*/ 533957 w 4011346"/>
                <a:gd name="connsiteY426" fmla="*/ 832116 h 2020169"/>
                <a:gd name="connsiteX427" fmla="*/ 510596 w 4011346"/>
                <a:gd name="connsiteY427" fmla="*/ 855477 h 2020169"/>
                <a:gd name="connsiteX428" fmla="*/ 500584 w 4011346"/>
                <a:gd name="connsiteY428" fmla="*/ 902198 h 2020169"/>
                <a:gd name="connsiteX429" fmla="*/ 450526 w 4011346"/>
                <a:gd name="connsiteY429" fmla="*/ 888849 h 2020169"/>
                <a:gd name="connsiteX430" fmla="*/ 433840 w 4011346"/>
                <a:gd name="connsiteY430" fmla="*/ 852139 h 2020169"/>
                <a:gd name="connsiteX431" fmla="*/ 467212 w 4011346"/>
                <a:gd name="connsiteY431" fmla="*/ 822104 h 2020169"/>
                <a:gd name="connsiteX432" fmla="*/ 453863 w 4011346"/>
                <a:gd name="connsiteY432" fmla="*/ 798744 h 2020169"/>
                <a:gd name="connsiteX433" fmla="*/ 390456 w 4011346"/>
                <a:gd name="connsiteY433" fmla="*/ 768709 h 2020169"/>
                <a:gd name="connsiteX434" fmla="*/ 417154 w 4011346"/>
                <a:gd name="connsiteY434" fmla="*/ 818767 h 2020169"/>
                <a:gd name="connsiteX435" fmla="*/ 407142 w 4011346"/>
                <a:gd name="connsiteY435" fmla="*/ 862151 h 2020169"/>
                <a:gd name="connsiteX436" fmla="*/ 413817 w 4011346"/>
                <a:gd name="connsiteY436" fmla="*/ 898861 h 2020169"/>
                <a:gd name="connsiteX437" fmla="*/ 427165 w 4011346"/>
                <a:gd name="connsiteY437" fmla="*/ 922221 h 2020169"/>
                <a:gd name="connsiteX438" fmla="*/ 413817 w 4011346"/>
                <a:gd name="connsiteY438" fmla="*/ 952256 h 2020169"/>
                <a:gd name="connsiteX439" fmla="*/ 390456 w 4011346"/>
                <a:gd name="connsiteY439" fmla="*/ 928896 h 2020169"/>
                <a:gd name="connsiteX440" fmla="*/ 360421 w 4011346"/>
                <a:gd name="connsiteY440" fmla="*/ 925558 h 2020169"/>
                <a:gd name="connsiteX441" fmla="*/ 333723 w 4011346"/>
                <a:gd name="connsiteY441" fmla="*/ 965605 h 2020169"/>
                <a:gd name="connsiteX442" fmla="*/ 307025 w 4011346"/>
                <a:gd name="connsiteY442" fmla="*/ 985628 h 2020169"/>
                <a:gd name="connsiteX443" fmla="*/ 320374 w 4011346"/>
                <a:gd name="connsiteY443" fmla="*/ 1012326 h 2020169"/>
                <a:gd name="connsiteX444" fmla="*/ 303688 w 4011346"/>
                <a:gd name="connsiteY444" fmla="*/ 1035687 h 2020169"/>
                <a:gd name="connsiteX445" fmla="*/ 233606 w 4011346"/>
                <a:gd name="connsiteY445" fmla="*/ 998977 h 2020169"/>
                <a:gd name="connsiteX446" fmla="*/ 243618 w 4011346"/>
                <a:gd name="connsiteY446" fmla="*/ 1049036 h 2020169"/>
                <a:gd name="connsiteX447" fmla="*/ 263641 w 4011346"/>
                <a:gd name="connsiteY447" fmla="*/ 1069059 h 2020169"/>
                <a:gd name="connsiteX448" fmla="*/ 250292 w 4011346"/>
                <a:gd name="connsiteY448" fmla="*/ 1082408 h 2020169"/>
                <a:gd name="connsiteX449" fmla="*/ 193560 w 4011346"/>
                <a:gd name="connsiteY449" fmla="*/ 1045698 h 2020169"/>
                <a:gd name="connsiteX450" fmla="*/ 170199 w 4011346"/>
                <a:gd name="connsiteY450" fmla="*/ 1005652 h 2020169"/>
                <a:gd name="connsiteX451" fmla="*/ 170199 w 4011346"/>
                <a:gd name="connsiteY451" fmla="*/ 958931 h 2020169"/>
                <a:gd name="connsiteX452" fmla="*/ 133490 w 4011346"/>
                <a:gd name="connsiteY452" fmla="*/ 882174 h 2020169"/>
                <a:gd name="connsiteX453" fmla="*/ 196897 w 4011346"/>
                <a:gd name="connsiteY453" fmla="*/ 912209 h 2020169"/>
                <a:gd name="connsiteX454" fmla="*/ 256967 w 4011346"/>
                <a:gd name="connsiteY454" fmla="*/ 942244 h 2020169"/>
                <a:gd name="connsiteX455" fmla="*/ 293676 w 4011346"/>
                <a:gd name="connsiteY455" fmla="*/ 945582 h 2020169"/>
                <a:gd name="connsiteX456" fmla="*/ 327049 w 4011346"/>
                <a:gd name="connsiteY456" fmla="*/ 915547 h 2020169"/>
                <a:gd name="connsiteX457" fmla="*/ 343735 w 4011346"/>
                <a:gd name="connsiteY457" fmla="*/ 878837 h 2020169"/>
                <a:gd name="connsiteX458" fmla="*/ 333723 w 4011346"/>
                <a:gd name="connsiteY458" fmla="*/ 828779 h 2020169"/>
                <a:gd name="connsiteX459" fmla="*/ 290339 w 4011346"/>
                <a:gd name="connsiteY459" fmla="*/ 808755 h 2020169"/>
                <a:gd name="connsiteX460" fmla="*/ 236944 w 4011346"/>
                <a:gd name="connsiteY460" fmla="*/ 762034 h 2020169"/>
                <a:gd name="connsiteX461" fmla="*/ 133490 w 4011346"/>
                <a:gd name="connsiteY461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1952696 w 4011346"/>
                <a:gd name="connsiteY323" fmla="*/ 137160 h 2020169"/>
                <a:gd name="connsiteX324" fmla="*/ 1961267 w 4011346"/>
                <a:gd name="connsiteY324" fmla="*/ 82869 h 2020169"/>
                <a:gd name="connsiteX325" fmla="*/ 1955552 w 4011346"/>
                <a:gd name="connsiteY325" fmla="*/ 65725 h 2020169"/>
                <a:gd name="connsiteX326" fmla="*/ 1895546 w 4011346"/>
                <a:gd name="connsiteY326" fmla="*/ 60008 h 2020169"/>
                <a:gd name="connsiteX327" fmla="*/ 1926978 w 4011346"/>
                <a:gd name="connsiteY327" fmla="*/ 31434 h 2020169"/>
                <a:gd name="connsiteX328" fmla="*/ 1909833 w 4011346"/>
                <a:gd name="connsiteY328" fmla="*/ 0 h 2020169"/>
                <a:gd name="connsiteX329" fmla="*/ 1877440 w 4011346"/>
                <a:gd name="connsiteY329" fmla="*/ 3067 h 2020169"/>
                <a:gd name="connsiteX330" fmla="*/ 1835474 w 4011346"/>
                <a:gd name="connsiteY330" fmla="*/ 41195 h 2020169"/>
                <a:gd name="connsiteX331" fmla="*/ 1818788 w 4011346"/>
                <a:gd name="connsiteY331" fmla="*/ 81242 h 2020169"/>
                <a:gd name="connsiteX332" fmla="*/ 1838813 w 4011346"/>
                <a:gd name="connsiteY332" fmla="*/ 134636 h 2020169"/>
                <a:gd name="connsiteX333" fmla="*/ 1782079 w 4011346"/>
                <a:gd name="connsiteY333" fmla="*/ 121287 h 2020169"/>
                <a:gd name="connsiteX334" fmla="*/ 1768731 w 4011346"/>
                <a:gd name="connsiteY334" fmla="*/ 168009 h 2020169"/>
                <a:gd name="connsiteX335" fmla="*/ 1705322 w 4011346"/>
                <a:gd name="connsiteY335" fmla="*/ 191369 h 2020169"/>
                <a:gd name="connsiteX336" fmla="*/ 1685300 w 4011346"/>
                <a:gd name="connsiteY336" fmla="*/ 164671 h 2020169"/>
                <a:gd name="connsiteX337" fmla="*/ 1615218 w 4011346"/>
                <a:gd name="connsiteY337" fmla="*/ 168009 h 2020169"/>
                <a:gd name="connsiteX338" fmla="*/ 1638579 w 4011346"/>
                <a:gd name="connsiteY338" fmla="*/ 198044 h 2020169"/>
                <a:gd name="connsiteX339" fmla="*/ 1528449 w 4011346"/>
                <a:gd name="connsiteY339" fmla="*/ 224740 h 2020169"/>
                <a:gd name="connsiteX340" fmla="*/ 1465043 w 4011346"/>
                <a:gd name="connsiteY340" fmla="*/ 308171 h 2020169"/>
                <a:gd name="connsiteX341" fmla="*/ 1448357 w 4011346"/>
                <a:gd name="connsiteY341" fmla="*/ 334869 h 2020169"/>
                <a:gd name="connsiteX342" fmla="*/ 1481729 w 4011346"/>
                <a:gd name="connsiteY342" fmla="*/ 368242 h 2020169"/>
                <a:gd name="connsiteX343" fmla="*/ 1481729 w 4011346"/>
                <a:gd name="connsiteY343" fmla="*/ 398277 h 2020169"/>
                <a:gd name="connsiteX344" fmla="*/ 1458368 w 4011346"/>
                <a:gd name="connsiteY344" fmla="*/ 401614 h 2020169"/>
                <a:gd name="connsiteX345" fmla="*/ 1458368 w 4011346"/>
                <a:gd name="connsiteY345" fmla="*/ 381590 h 2020169"/>
                <a:gd name="connsiteX346" fmla="*/ 1418322 w 4011346"/>
                <a:gd name="connsiteY346" fmla="*/ 391602 h 2020169"/>
                <a:gd name="connsiteX347" fmla="*/ 1368263 w 4011346"/>
                <a:gd name="connsiteY347" fmla="*/ 398277 h 2020169"/>
                <a:gd name="connsiteX348" fmla="*/ 1321542 w 4011346"/>
                <a:gd name="connsiteY348" fmla="*/ 404951 h 2020169"/>
                <a:gd name="connsiteX349" fmla="*/ 1318205 w 4011346"/>
                <a:gd name="connsiteY349" fmla="*/ 491719 h 2020169"/>
                <a:gd name="connsiteX350" fmla="*/ 1358252 w 4011346"/>
                <a:gd name="connsiteY350" fmla="*/ 515080 h 2020169"/>
                <a:gd name="connsiteX351" fmla="*/ 1374938 w 4011346"/>
                <a:gd name="connsiteY351" fmla="*/ 545115 h 2020169"/>
                <a:gd name="connsiteX352" fmla="*/ 1384949 w 4011346"/>
                <a:gd name="connsiteY352" fmla="*/ 568475 h 2020169"/>
                <a:gd name="connsiteX353" fmla="*/ 1394961 w 4011346"/>
                <a:gd name="connsiteY353" fmla="*/ 618534 h 2020169"/>
                <a:gd name="connsiteX354" fmla="*/ 1384949 w 4011346"/>
                <a:gd name="connsiteY354" fmla="*/ 648569 h 2020169"/>
                <a:gd name="connsiteX355" fmla="*/ 1358252 w 4011346"/>
                <a:gd name="connsiteY355" fmla="*/ 615196 h 2020169"/>
                <a:gd name="connsiteX356" fmla="*/ 1361589 w 4011346"/>
                <a:gd name="connsiteY356" fmla="*/ 585161 h 2020169"/>
                <a:gd name="connsiteX357" fmla="*/ 1351577 w 4011346"/>
                <a:gd name="connsiteY357" fmla="*/ 545115 h 2020169"/>
                <a:gd name="connsiteX358" fmla="*/ 1328217 w 4011346"/>
                <a:gd name="connsiteY358" fmla="*/ 551789 h 2020169"/>
                <a:gd name="connsiteX359" fmla="*/ 1281495 w 4011346"/>
                <a:gd name="connsiteY359" fmla="*/ 515080 h 2020169"/>
                <a:gd name="connsiteX360" fmla="*/ 1241449 w 4011346"/>
                <a:gd name="connsiteY360" fmla="*/ 511742 h 2020169"/>
                <a:gd name="connsiteX361" fmla="*/ 1241449 w 4011346"/>
                <a:gd name="connsiteY361" fmla="*/ 558463 h 2020169"/>
                <a:gd name="connsiteX362" fmla="*/ 1201402 w 4011346"/>
                <a:gd name="connsiteY362" fmla="*/ 538440 h 2020169"/>
                <a:gd name="connsiteX363" fmla="*/ 1228100 w 4011346"/>
                <a:gd name="connsiteY363" fmla="*/ 588498 h 2020169"/>
                <a:gd name="connsiteX364" fmla="*/ 1258135 w 4011346"/>
                <a:gd name="connsiteY364" fmla="*/ 598510 h 2020169"/>
                <a:gd name="connsiteX365" fmla="*/ 1258135 w 4011346"/>
                <a:gd name="connsiteY365" fmla="*/ 618534 h 2020169"/>
                <a:gd name="connsiteX366" fmla="*/ 1198065 w 4011346"/>
                <a:gd name="connsiteY366" fmla="*/ 595173 h 2020169"/>
                <a:gd name="connsiteX367" fmla="*/ 1181379 w 4011346"/>
                <a:gd name="connsiteY367" fmla="*/ 595173 h 2020169"/>
                <a:gd name="connsiteX368" fmla="*/ 1178041 w 4011346"/>
                <a:gd name="connsiteY368" fmla="*/ 551789 h 2020169"/>
                <a:gd name="connsiteX369" fmla="*/ 1171367 w 4011346"/>
                <a:gd name="connsiteY369" fmla="*/ 465021 h 2020169"/>
                <a:gd name="connsiteX370" fmla="*/ 1161355 w 4011346"/>
                <a:gd name="connsiteY370" fmla="*/ 535103 h 2020169"/>
                <a:gd name="connsiteX371" fmla="*/ 1137995 w 4011346"/>
                <a:gd name="connsiteY371" fmla="*/ 565138 h 2020169"/>
                <a:gd name="connsiteX372" fmla="*/ 1158018 w 4011346"/>
                <a:gd name="connsiteY372" fmla="*/ 611859 h 2020169"/>
                <a:gd name="connsiteX373" fmla="*/ 1158018 w 4011346"/>
                <a:gd name="connsiteY373" fmla="*/ 645231 h 2020169"/>
                <a:gd name="connsiteX374" fmla="*/ 1141332 w 4011346"/>
                <a:gd name="connsiteY374" fmla="*/ 695290 h 2020169"/>
                <a:gd name="connsiteX375" fmla="*/ 1154681 w 4011346"/>
                <a:gd name="connsiteY375" fmla="*/ 728662 h 2020169"/>
                <a:gd name="connsiteX376" fmla="*/ 1184716 w 4011346"/>
                <a:gd name="connsiteY376" fmla="*/ 735336 h 2020169"/>
                <a:gd name="connsiteX377" fmla="*/ 1221425 w 4011346"/>
                <a:gd name="connsiteY377" fmla="*/ 742011 h 2020169"/>
                <a:gd name="connsiteX378" fmla="*/ 1241449 w 4011346"/>
                <a:gd name="connsiteY378" fmla="*/ 765371 h 2020169"/>
                <a:gd name="connsiteX379" fmla="*/ 1258135 w 4011346"/>
                <a:gd name="connsiteY379" fmla="*/ 808755 h 2020169"/>
                <a:gd name="connsiteX380" fmla="*/ 1258135 w 4011346"/>
                <a:gd name="connsiteY380" fmla="*/ 808755 h 2020169"/>
                <a:gd name="connsiteX381" fmla="*/ 1254798 w 4011346"/>
                <a:gd name="connsiteY381" fmla="*/ 842128 h 2020169"/>
                <a:gd name="connsiteX382" fmla="*/ 1274821 w 4011346"/>
                <a:gd name="connsiteY382" fmla="*/ 862151 h 2020169"/>
                <a:gd name="connsiteX383" fmla="*/ 1244786 w 4011346"/>
                <a:gd name="connsiteY383" fmla="*/ 868826 h 2020169"/>
                <a:gd name="connsiteX384" fmla="*/ 1224763 w 4011346"/>
                <a:gd name="connsiteY384" fmla="*/ 828779 h 2020169"/>
                <a:gd name="connsiteX385" fmla="*/ 1224763 w 4011346"/>
                <a:gd name="connsiteY385" fmla="*/ 788732 h 2020169"/>
                <a:gd name="connsiteX386" fmla="*/ 1194727 w 4011346"/>
                <a:gd name="connsiteY386" fmla="*/ 752023 h 2020169"/>
                <a:gd name="connsiteX387" fmla="*/ 1164692 w 4011346"/>
                <a:gd name="connsiteY387" fmla="*/ 795407 h 2020169"/>
                <a:gd name="connsiteX388" fmla="*/ 1178041 w 4011346"/>
                <a:gd name="connsiteY388" fmla="*/ 838790 h 2020169"/>
                <a:gd name="connsiteX389" fmla="*/ 1137995 w 4011346"/>
                <a:gd name="connsiteY389" fmla="*/ 895523 h 2020169"/>
                <a:gd name="connsiteX390" fmla="*/ 1097948 w 4011346"/>
                <a:gd name="connsiteY390" fmla="*/ 952256 h 2020169"/>
                <a:gd name="connsiteX391" fmla="*/ 1007843 w 4011346"/>
                <a:gd name="connsiteY391" fmla="*/ 915547 h 2020169"/>
                <a:gd name="connsiteX392" fmla="*/ 1074587 w 4011346"/>
                <a:gd name="connsiteY392" fmla="*/ 912209 h 2020169"/>
                <a:gd name="connsiteX393" fmla="*/ 1107960 w 4011346"/>
                <a:gd name="connsiteY393" fmla="*/ 848802 h 2020169"/>
                <a:gd name="connsiteX394" fmla="*/ 1121309 w 4011346"/>
                <a:gd name="connsiteY394" fmla="*/ 805418 h 2020169"/>
                <a:gd name="connsiteX395" fmla="*/ 1127983 w 4011346"/>
                <a:gd name="connsiteY395" fmla="*/ 772046 h 2020169"/>
                <a:gd name="connsiteX396" fmla="*/ 1117971 w 4011346"/>
                <a:gd name="connsiteY396" fmla="*/ 755360 h 2020169"/>
                <a:gd name="connsiteX397" fmla="*/ 1114634 w 4011346"/>
                <a:gd name="connsiteY397" fmla="*/ 705301 h 2020169"/>
                <a:gd name="connsiteX398" fmla="*/ 1104622 w 4011346"/>
                <a:gd name="connsiteY398" fmla="*/ 625208 h 2020169"/>
                <a:gd name="connsiteX399" fmla="*/ 1101285 w 4011346"/>
                <a:gd name="connsiteY399" fmla="*/ 565138 h 2020169"/>
                <a:gd name="connsiteX400" fmla="*/ 1124646 w 4011346"/>
                <a:gd name="connsiteY400" fmla="*/ 471696 h 2020169"/>
                <a:gd name="connsiteX401" fmla="*/ 1031203 w 4011346"/>
                <a:gd name="connsiteY401" fmla="*/ 461684 h 2020169"/>
                <a:gd name="connsiteX402" fmla="*/ 1014517 w 4011346"/>
                <a:gd name="connsiteY402" fmla="*/ 518417 h 2020169"/>
                <a:gd name="connsiteX403" fmla="*/ 1024529 w 4011346"/>
                <a:gd name="connsiteY403" fmla="*/ 565138 h 2020169"/>
                <a:gd name="connsiteX404" fmla="*/ 981145 w 4011346"/>
                <a:gd name="connsiteY404" fmla="*/ 618534 h 2020169"/>
                <a:gd name="connsiteX405" fmla="*/ 991157 w 4011346"/>
                <a:gd name="connsiteY405" fmla="*/ 655243 h 2020169"/>
                <a:gd name="connsiteX406" fmla="*/ 981145 w 4011346"/>
                <a:gd name="connsiteY406" fmla="*/ 701964 h 2020169"/>
                <a:gd name="connsiteX407" fmla="*/ 1001168 w 4011346"/>
                <a:gd name="connsiteY407" fmla="*/ 725325 h 2020169"/>
                <a:gd name="connsiteX408" fmla="*/ 1017854 w 4011346"/>
                <a:gd name="connsiteY408" fmla="*/ 772046 h 2020169"/>
                <a:gd name="connsiteX409" fmla="*/ 1047890 w 4011346"/>
                <a:gd name="connsiteY409" fmla="*/ 758697 h 2020169"/>
                <a:gd name="connsiteX410" fmla="*/ 1014517 w 4011346"/>
                <a:gd name="connsiteY410" fmla="*/ 812093 h 2020169"/>
                <a:gd name="connsiteX411" fmla="*/ 957784 w 4011346"/>
                <a:gd name="connsiteY411" fmla="*/ 758697 h 2020169"/>
                <a:gd name="connsiteX412" fmla="*/ 884365 w 4011346"/>
                <a:gd name="connsiteY412" fmla="*/ 721988 h 2020169"/>
                <a:gd name="connsiteX413" fmla="*/ 824295 w 4011346"/>
                <a:gd name="connsiteY413" fmla="*/ 698627 h 2020169"/>
                <a:gd name="connsiteX414" fmla="*/ 810946 w 4011346"/>
                <a:gd name="connsiteY414" fmla="*/ 735336 h 2020169"/>
                <a:gd name="connsiteX415" fmla="*/ 827633 w 4011346"/>
                <a:gd name="connsiteY415" fmla="*/ 772046 h 2020169"/>
                <a:gd name="connsiteX416" fmla="*/ 814284 w 4011346"/>
                <a:gd name="connsiteY416" fmla="*/ 795407 h 2020169"/>
                <a:gd name="connsiteX417" fmla="*/ 800935 w 4011346"/>
                <a:gd name="connsiteY417" fmla="*/ 812093 h 2020169"/>
                <a:gd name="connsiteX418" fmla="*/ 770900 w 4011346"/>
                <a:gd name="connsiteY418" fmla="*/ 755360 h 2020169"/>
                <a:gd name="connsiteX419" fmla="*/ 744202 w 4011346"/>
                <a:gd name="connsiteY419" fmla="*/ 792069 h 2020169"/>
                <a:gd name="connsiteX420" fmla="*/ 707492 w 4011346"/>
                <a:gd name="connsiteY420" fmla="*/ 785395 h 2020169"/>
                <a:gd name="connsiteX421" fmla="*/ 654097 w 4011346"/>
                <a:gd name="connsiteY421" fmla="*/ 822104 h 2020169"/>
                <a:gd name="connsiteX422" fmla="*/ 644085 w 4011346"/>
                <a:gd name="connsiteY422" fmla="*/ 798744 h 2020169"/>
                <a:gd name="connsiteX423" fmla="*/ 654097 w 4011346"/>
                <a:gd name="connsiteY423" fmla="*/ 762034 h 2020169"/>
                <a:gd name="connsiteX424" fmla="*/ 614050 w 4011346"/>
                <a:gd name="connsiteY424" fmla="*/ 798744 h 2020169"/>
                <a:gd name="connsiteX425" fmla="*/ 594027 w 4011346"/>
                <a:gd name="connsiteY425" fmla="*/ 798744 h 2020169"/>
                <a:gd name="connsiteX426" fmla="*/ 533957 w 4011346"/>
                <a:gd name="connsiteY426" fmla="*/ 832116 h 2020169"/>
                <a:gd name="connsiteX427" fmla="*/ 510596 w 4011346"/>
                <a:gd name="connsiteY427" fmla="*/ 855477 h 2020169"/>
                <a:gd name="connsiteX428" fmla="*/ 500584 w 4011346"/>
                <a:gd name="connsiteY428" fmla="*/ 902198 h 2020169"/>
                <a:gd name="connsiteX429" fmla="*/ 450526 w 4011346"/>
                <a:gd name="connsiteY429" fmla="*/ 888849 h 2020169"/>
                <a:gd name="connsiteX430" fmla="*/ 433840 w 4011346"/>
                <a:gd name="connsiteY430" fmla="*/ 852139 h 2020169"/>
                <a:gd name="connsiteX431" fmla="*/ 467212 w 4011346"/>
                <a:gd name="connsiteY431" fmla="*/ 822104 h 2020169"/>
                <a:gd name="connsiteX432" fmla="*/ 453863 w 4011346"/>
                <a:gd name="connsiteY432" fmla="*/ 798744 h 2020169"/>
                <a:gd name="connsiteX433" fmla="*/ 390456 w 4011346"/>
                <a:gd name="connsiteY433" fmla="*/ 768709 h 2020169"/>
                <a:gd name="connsiteX434" fmla="*/ 417154 w 4011346"/>
                <a:gd name="connsiteY434" fmla="*/ 818767 h 2020169"/>
                <a:gd name="connsiteX435" fmla="*/ 407142 w 4011346"/>
                <a:gd name="connsiteY435" fmla="*/ 862151 h 2020169"/>
                <a:gd name="connsiteX436" fmla="*/ 413817 w 4011346"/>
                <a:gd name="connsiteY436" fmla="*/ 898861 h 2020169"/>
                <a:gd name="connsiteX437" fmla="*/ 427165 w 4011346"/>
                <a:gd name="connsiteY437" fmla="*/ 922221 h 2020169"/>
                <a:gd name="connsiteX438" fmla="*/ 413817 w 4011346"/>
                <a:gd name="connsiteY438" fmla="*/ 952256 h 2020169"/>
                <a:gd name="connsiteX439" fmla="*/ 390456 w 4011346"/>
                <a:gd name="connsiteY439" fmla="*/ 928896 h 2020169"/>
                <a:gd name="connsiteX440" fmla="*/ 360421 w 4011346"/>
                <a:gd name="connsiteY440" fmla="*/ 925558 h 2020169"/>
                <a:gd name="connsiteX441" fmla="*/ 333723 w 4011346"/>
                <a:gd name="connsiteY441" fmla="*/ 965605 h 2020169"/>
                <a:gd name="connsiteX442" fmla="*/ 307025 w 4011346"/>
                <a:gd name="connsiteY442" fmla="*/ 985628 h 2020169"/>
                <a:gd name="connsiteX443" fmla="*/ 320374 w 4011346"/>
                <a:gd name="connsiteY443" fmla="*/ 1012326 h 2020169"/>
                <a:gd name="connsiteX444" fmla="*/ 303688 w 4011346"/>
                <a:gd name="connsiteY444" fmla="*/ 1035687 h 2020169"/>
                <a:gd name="connsiteX445" fmla="*/ 233606 w 4011346"/>
                <a:gd name="connsiteY445" fmla="*/ 998977 h 2020169"/>
                <a:gd name="connsiteX446" fmla="*/ 243618 w 4011346"/>
                <a:gd name="connsiteY446" fmla="*/ 1049036 h 2020169"/>
                <a:gd name="connsiteX447" fmla="*/ 263641 w 4011346"/>
                <a:gd name="connsiteY447" fmla="*/ 1069059 h 2020169"/>
                <a:gd name="connsiteX448" fmla="*/ 250292 w 4011346"/>
                <a:gd name="connsiteY448" fmla="*/ 1082408 h 2020169"/>
                <a:gd name="connsiteX449" fmla="*/ 193560 w 4011346"/>
                <a:gd name="connsiteY449" fmla="*/ 1045698 h 2020169"/>
                <a:gd name="connsiteX450" fmla="*/ 170199 w 4011346"/>
                <a:gd name="connsiteY450" fmla="*/ 1005652 h 2020169"/>
                <a:gd name="connsiteX451" fmla="*/ 170199 w 4011346"/>
                <a:gd name="connsiteY451" fmla="*/ 958931 h 2020169"/>
                <a:gd name="connsiteX452" fmla="*/ 133490 w 4011346"/>
                <a:gd name="connsiteY452" fmla="*/ 882174 h 2020169"/>
                <a:gd name="connsiteX453" fmla="*/ 196897 w 4011346"/>
                <a:gd name="connsiteY453" fmla="*/ 912209 h 2020169"/>
                <a:gd name="connsiteX454" fmla="*/ 256967 w 4011346"/>
                <a:gd name="connsiteY454" fmla="*/ 942244 h 2020169"/>
                <a:gd name="connsiteX455" fmla="*/ 293676 w 4011346"/>
                <a:gd name="connsiteY455" fmla="*/ 945582 h 2020169"/>
                <a:gd name="connsiteX456" fmla="*/ 327049 w 4011346"/>
                <a:gd name="connsiteY456" fmla="*/ 915547 h 2020169"/>
                <a:gd name="connsiteX457" fmla="*/ 343735 w 4011346"/>
                <a:gd name="connsiteY457" fmla="*/ 878837 h 2020169"/>
                <a:gd name="connsiteX458" fmla="*/ 333723 w 4011346"/>
                <a:gd name="connsiteY458" fmla="*/ 828779 h 2020169"/>
                <a:gd name="connsiteX459" fmla="*/ 290339 w 4011346"/>
                <a:gd name="connsiteY459" fmla="*/ 808755 h 2020169"/>
                <a:gd name="connsiteX460" fmla="*/ 236944 w 4011346"/>
                <a:gd name="connsiteY460" fmla="*/ 762034 h 2020169"/>
                <a:gd name="connsiteX461" fmla="*/ 133490 w 4011346"/>
                <a:gd name="connsiteY461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2041278 w 4011346"/>
                <a:gd name="connsiteY323" fmla="*/ 117159 h 2020169"/>
                <a:gd name="connsiteX324" fmla="*/ 1952696 w 4011346"/>
                <a:gd name="connsiteY324" fmla="*/ 137160 h 2020169"/>
                <a:gd name="connsiteX325" fmla="*/ 1961267 w 4011346"/>
                <a:gd name="connsiteY325" fmla="*/ 82869 h 2020169"/>
                <a:gd name="connsiteX326" fmla="*/ 1955552 w 4011346"/>
                <a:gd name="connsiteY326" fmla="*/ 65725 h 2020169"/>
                <a:gd name="connsiteX327" fmla="*/ 1895546 w 4011346"/>
                <a:gd name="connsiteY327" fmla="*/ 60008 h 2020169"/>
                <a:gd name="connsiteX328" fmla="*/ 1926978 w 4011346"/>
                <a:gd name="connsiteY328" fmla="*/ 31434 h 2020169"/>
                <a:gd name="connsiteX329" fmla="*/ 1909833 w 4011346"/>
                <a:gd name="connsiteY329" fmla="*/ 0 h 2020169"/>
                <a:gd name="connsiteX330" fmla="*/ 1877440 w 4011346"/>
                <a:gd name="connsiteY330" fmla="*/ 3067 h 2020169"/>
                <a:gd name="connsiteX331" fmla="*/ 1835474 w 4011346"/>
                <a:gd name="connsiteY331" fmla="*/ 41195 h 2020169"/>
                <a:gd name="connsiteX332" fmla="*/ 1818788 w 4011346"/>
                <a:gd name="connsiteY332" fmla="*/ 81242 h 2020169"/>
                <a:gd name="connsiteX333" fmla="*/ 1838813 w 4011346"/>
                <a:gd name="connsiteY333" fmla="*/ 134636 h 2020169"/>
                <a:gd name="connsiteX334" fmla="*/ 1782079 w 4011346"/>
                <a:gd name="connsiteY334" fmla="*/ 121287 h 2020169"/>
                <a:gd name="connsiteX335" fmla="*/ 1768731 w 4011346"/>
                <a:gd name="connsiteY335" fmla="*/ 168009 h 2020169"/>
                <a:gd name="connsiteX336" fmla="*/ 1705322 w 4011346"/>
                <a:gd name="connsiteY336" fmla="*/ 191369 h 2020169"/>
                <a:gd name="connsiteX337" fmla="*/ 1685300 w 4011346"/>
                <a:gd name="connsiteY337" fmla="*/ 164671 h 2020169"/>
                <a:gd name="connsiteX338" fmla="*/ 1615218 w 4011346"/>
                <a:gd name="connsiteY338" fmla="*/ 168009 h 2020169"/>
                <a:gd name="connsiteX339" fmla="*/ 1638579 w 4011346"/>
                <a:gd name="connsiteY339" fmla="*/ 198044 h 2020169"/>
                <a:gd name="connsiteX340" fmla="*/ 1528449 w 4011346"/>
                <a:gd name="connsiteY340" fmla="*/ 224740 h 2020169"/>
                <a:gd name="connsiteX341" fmla="*/ 1465043 w 4011346"/>
                <a:gd name="connsiteY341" fmla="*/ 308171 h 2020169"/>
                <a:gd name="connsiteX342" fmla="*/ 1448357 w 4011346"/>
                <a:gd name="connsiteY342" fmla="*/ 334869 h 2020169"/>
                <a:gd name="connsiteX343" fmla="*/ 1481729 w 4011346"/>
                <a:gd name="connsiteY343" fmla="*/ 368242 h 2020169"/>
                <a:gd name="connsiteX344" fmla="*/ 1481729 w 4011346"/>
                <a:gd name="connsiteY344" fmla="*/ 398277 h 2020169"/>
                <a:gd name="connsiteX345" fmla="*/ 1458368 w 4011346"/>
                <a:gd name="connsiteY345" fmla="*/ 401614 h 2020169"/>
                <a:gd name="connsiteX346" fmla="*/ 1458368 w 4011346"/>
                <a:gd name="connsiteY346" fmla="*/ 381590 h 2020169"/>
                <a:gd name="connsiteX347" fmla="*/ 1418322 w 4011346"/>
                <a:gd name="connsiteY347" fmla="*/ 391602 h 2020169"/>
                <a:gd name="connsiteX348" fmla="*/ 1368263 w 4011346"/>
                <a:gd name="connsiteY348" fmla="*/ 398277 h 2020169"/>
                <a:gd name="connsiteX349" fmla="*/ 1321542 w 4011346"/>
                <a:gd name="connsiteY349" fmla="*/ 404951 h 2020169"/>
                <a:gd name="connsiteX350" fmla="*/ 1318205 w 4011346"/>
                <a:gd name="connsiteY350" fmla="*/ 491719 h 2020169"/>
                <a:gd name="connsiteX351" fmla="*/ 1358252 w 4011346"/>
                <a:gd name="connsiteY351" fmla="*/ 515080 h 2020169"/>
                <a:gd name="connsiteX352" fmla="*/ 1374938 w 4011346"/>
                <a:gd name="connsiteY352" fmla="*/ 545115 h 2020169"/>
                <a:gd name="connsiteX353" fmla="*/ 1384949 w 4011346"/>
                <a:gd name="connsiteY353" fmla="*/ 568475 h 2020169"/>
                <a:gd name="connsiteX354" fmla="*/ 1394961 w 4011346"/>
                <a:gd name="connsiteY354" fmla="*/ 618534 h 2020169"/>
                <a:gd name="connsiteX355" fmla="*/ 1384949 w 4011346"/>
                <a:gd name="connsiteY355" fmla="*/ 648569 h 2020169"/>
                <a:gd name="connsiteX356" fmla="*/ 1358252 w 4011346"/>
                <a:gd name="connsiteY356" fmla="*/ 615196 h 2020169"/>
                <a:gd name="connsiteX357" fmla="*/ 1361589 w 4011346"/>
                <a:gd name="connsiteY357" fmla="*/ 585161 h 2020169"/>
                <a:gd name="connsiteX358" fmla="*/ 1351577 w 4011346"/>
                <a:gd name="connsiteY358" fmla="*/ 545115 h 2020169"/>
                <a:gd name="connsiteX359" fmla="*/ 1328217 w 4011346"/>
                <a:gd name="connsiteY359" fmla="*/ 551789 h 2020169"/>
                <a:gd name="connsiteX360" fmla="*/ 1281495 w 4011346"/>
                <a:gd name="connsiteY360" fmla="*/ 515080 h 2020169"/>
                <a:gd name="connsiteX361" fmla="*/ 1241449 w 4011346"/>
                <a:gd name="connsiteY361" fmla="*/ 511742 h 2020169"/>
                <a:gd name="connsiteX362" fmla="*/ 1241449 w 4011346"/>
                <a:gd name="connsiteY362" fmla="*/ 558463 h 2020169"/>
                <a:gd name="connsiteX363" fmla="*/ 1201402 w 4011346"/>
                <a:gd name="connsiteY363" fmla="*/ 538440 h 2020169"/>
                <a:gd name="connsiteX364" fmla="*/ 1228100 w 4011346"/>
                <a:gd name="connsiteY364" fmla="*/ 588498 h 2020169"/>
                <a:gd name="connsiteX365" fmla="*/ 1258135 w 4011346"/>
                <a:gd name="connsiteY365" fmla="*/ 598510 h 2020169"/>
                <a:gd name="connsiteX366" fmla="*/ 1258135 w 4011346"/>
                <a:gd name="connsiteY366" fmla="*/ 618534 h 2020169"/>
                <a:gd name="connsiteX367" fmla="*/ 1198065 w 4011346"/>
                <a:gd name="connsiteY367" fmla="*/ 595173 h 2020169"/>
                <a:gd name="connsiteX368" fmla="*/ 1181379 w 4011346"/>
                <a:gd name="connsiteY368" fmla="*/ 595173 h 2020169"/>
                <a:gd name="connsiteX369" fmla="*/ 1178041 w 4011346"/>
                <a:gd name="connsiteY369" fmla="*/ 551789 h 2020169"/>
                <a:gd name="connsiteX370" fmla="*/ 1171367 w 4011346"/>
                <a:gd name="connsiteY370" fmla="*/ 465021 h 2020169"/>
                <a:gd name="connsiteX371" fmla="*/ 1161355 w 4011346"/>
                <a:gd name="connsiteY371" fmla="*/ 535103 h 2020169"/>
                <a:gd name="connsiteX372" fmla="*/ 1137995 w 4011346"/>
                <a:gd name="connsiteY372" fmla="*/ 565138 h 2020169"/>
                <a:gd name="connsiteX373" fmla="*/ 1158018 w 4011346"/>
                <a:gd name="connsiteY373" fmla="*/ 611859 h 2020169"/>
                <a:gd name="connsiteX374" fmla="*/ 1158018 w 4011346"/>
                <a:gd name="connsiteY374" fmla="*/ 645231 h 2020169"/>
                <a:gd name="connsiteX375" fmla="*/ 1141332 w 4011346"/>
                <a:gd name="connsiteY375" fmla="*/ 695290 h 2020169"/>
                <a:gd name="connsiteX376" fmla="*/ 1154681 w 4011346"/>
                <a:gd name="connsiteY376" fmla="*/ 728662 h 2020169"/>
                <a:gd name="connsiteX377" fmla="*/ 1184716 w 4011346"/>
                <a:gd name="connsiteY377" fmla="*/ 735336 h 2020169"/>
                <a:gd name="connsiteX378" fmla="*/ 1221425 w 4011346"/>
                <a:gd name="connsiteY378" fmla="*/ 742011 h 2020169"/>
                <a:gd name="connsiteX379" fmla="*/ 1241449 w 4011346"/>
                <a:gd name="connsiteY379" fmla="*/ 765371 h 2020169"/>
                <a:gd name="connsiteX380" fmla="*/ 1258135 w 4011346"/>
                <a:gd name="connsiteY380" fmla="*/ 808755 h 2020169"/>
                <a:gd name="connsiteX381" fmla="*/ 1258135 w 4011346"/>
                <a:gd name="connsiteY381" fmla="*/ 808755 h 2020169"/>
                <a:gd name="connsiteX382" fmla="*/ 1254798 w 4011346"/>
                <a:gd name="connsiteY382" fmla="*/ 842128 h 2020169"/>
                <a:gd name="connsiteX383" fmla="*/ 1274821 w 4011346"/>
                <a:gd name="connsiteY383" fmla="*/ 862151 h 2020169"/>
                <a:gd name="connsiteX384" fmla="*/ 1244786 w 4011346"/>
                <a:gd name="connsiteY384" fmla="*/ 868826 h 2020169"/>
                <a:gd name="connsiteX385" fmla="*/ 1224763 w 4011346"/>
                <a:gd name="connsiteY385" fmla="*/ 828779 h 2020169"/>
                <a:gd name="connsiteX386" fmla="*/ 1224763 w 4011346"/>
                <a:gd name="connsiteY386" fmla="*/ 788732 h 2020169"/>
                <a:gd name="connsiteX387" fmla="*/ 1194727 w 4011346"/>
                <a:gd name="connsiteY387" fmla="*/ 752023 h 2020169"/>
                <a:gd name="connsiteX388" fmla="*/ 1164692 w 4011346"/>
                <a:gd name="connsiteY388" fmla="*/ 795407 h 2020169"/>
                <a:gd name="connsiteX389" fmla="*/ 1178041 w 4011346"/>
                <a:gd name="connsiteY389" fmla="*/ 838790 h 2020169"/>
                <a:gd name="connsiteX390" fmla="*/ 1137995 w 4011346"/>
                <a:gd name="connsiteY390" fmla="*/ 895523 h 2020169"/>
                <a:gd name="connsiteX391" fmla="*/ 1097948 w 4011346"/>
                <a:gd name="connsiteY391" fmla="*/ 952256 h 2020169"/>
                <a:gd name="connsiteX392" fmla="*/ 1007843 w 4011346"/>
                <a:gd name="connsiteY392" fmla="*/ 915547 h 2020169"/>
                <a:gd name="connsiteX393" fmla="*/ 1074587 w 4011346"/>
                <a:gd name="connsiteY393" fmla="*/ 912209 h 2020169"/>
                <a:gd name="connsiteX394" fmla="*/ 1107960 w 4011346"/>
                <a:gd name="connsiteY394" fmla="*/ 848802 h 2020169"/>
                <a:gd name="connsiteX395" fmla="*/ 1121309 w 4011346"/>
                <a:gd name="connsiteY395" fmla="*/ 805418 h 2020169"/>
                <a:gd name="connsiteX396" fmla="*/ 1127983 w 4011346"/>
                <a:gd name="connsiteY396" fmla="*/ 772046 h 2020169"/>
                <a:gd name="connsiteX397" fmla="*/ 1117971 w 4011346"/>
                <a:gd name="connsiteY397" fmla="*/ 755360 h 2020169"/>
                <a:gd name="connsiteX398" fmla="*/ 1114634 w 4011346"/>
                <a:gd name="connsiteY398" fmla="*/ 705301 h 2020169"/>
                <a:gd name="connsiteX399" fmla="*/ 1104622 w 4011346"/>
                <a:gd name="connsiteY399" fmla="*/ 625208 h 2020169"/>
                <a:gd name="connsiteX400" fmla="*/ 1101285 w 4011346"/>
                <a:gd name="connsiteY400" fmla="*/ 565138 h 2020169"/>
                <a:gd name="connsiteX401" fmla="*/ 1124646 w 4011346"/>
                <a:gd name="connsiteY401" fmla="*/ 471696 h 2020169"/>
                <a:gd name="connsiteX402" fmla="*/ 1031203 w 4011346"/>
                <a:gd name="connsiteY402" fmla="*/ 461684 h 2020169"/>
                <a:gd name="connsiteX403" fmla="*/ 1014517 w 4011346"/>
                <a:gd name="connsiteY403" fmla="*/ 518417 h 2020169"/>
                <a:gd name="connsiteX404" fmla="*/ 1024529 w 4011346"/>
                <a:gd name="connsiteY404" fmla="*/ 565138 h 2020169"/>
                <a:gd name="connsiteX405" fmla="*/ 981145 w 4011346"/>
                <a:gd name="connsiteY405" fmla="*/ 618534 h 2020169"/>
                <a:gd name="connsiteX406" fmla="*/ 991157 w 4011346"/>
                <a:gd name="connsiteY406" fmla="*/ 655243 h 2020169"/>
                <a:gd name="connsiteX407" fmla="*/ 981145 w 4011346"/>
                <a:gd name="connsiteY407" fmla="*/ 701964 h 2020169"/>
                <a:gd name="connsiteX408" fmla="*/ 1001168 w 4011346"/>
                <a:gd name="connsiteY408" fmla="*/ 725325 h 2020169"/>
                <a:gd name="connsiteX409" fmla="*/ 1017854 w 4011346"/>
                <a:gd name="connsiteY409" fmla="*/ 772046 h 2020169"/>
                <a:gd name="connsiteX410" fmla="*/ 1047890 w 4011346"/>
                <a:gd name="connsiteY410" fmla="*/ 758697 h 2020169"/>
                <a:gd name="connsiteX411" fmla="*/ 1014517 w 4011346"/>
                <a:gd name="connsiteY411" fmla="*/ 812093 h 2020169"/>
                <a:gd name="connsiteX412" fmla="*/ 957784 w 4011346"/>
                <a:gd name="connsiteY412" fmla="*/ 758697 h 2020169"/>
                <a:gd name="connsiteX413" fmla="*/ 884365 w 4011346"/>
                <a:gd name="connsiteY413" fmla="*/ 721988 h 2020169"/>
                <a:gd name="connsiteX414" fmla="*/ 824295 w 4011346"/>
                <a:gd name="connsiteY414" fmla="*/ 698627 h 2020169"/>
                <a:gd name="connsiteX415" fmla="*/ 810946 w 4011346"/>
                <a:gd name="connsiteY415" fmla="*/ 735336 h 2020169"/>
                <a:gd name="connsiteX416" fmla="*/ 827633 w 4011346"/>
                <a:gd name="connsiteY416" fmla="*/ 772046 h 2020169"/>
                <a:gd name="connsiteX417" fmla="*/ 814284 w 4011346"/>
                <a:gd name="connsiteY417" fmla="*/ 795407 h 2020169"/>
                <a:gd name="connsiteX418" fmla="*/ 800935 w 4011346"/>
                <a:gd name="connsiteY418" fmla="*/ 812093 h 2020169"/>
                <a:gd name="connsiteX419" fmla="*/ 770900 w 4011346"/>
                <a:gd name="connsiteY419" fmla="*/ 755360 h 2020169"/>
                <a:gd name="connsiteX420" fmla="*/ 744202 w 4011346"/>
                <a:gd name="connsiteY420" fmla="*/ 792069 h 2020169"/>
                <a:gd name="connsiteX421" fmla="*/ 707492 w 4011346"/>
                <a:gd name="connsiteY421" fmla="*/ 785395 h 2020169"/>
                <a:gd name="connsiteX422" fmla="*/ 654097 w 4011346"/>
                <a:gd name="connsiteY422" fmla="*/ 822104 h 2020169"/>
                <a:gd name="connsiteX423" fmla="*/ 644085 w 4011346"/>
                <a:gd name="connsiteY423" fmla="*/ 798744 h 2020169"/>
                <a:gd name="connsiteX424" fmla="*/ 654097 w 4011346"/>
                <a:gd name="connsiteY424" fmla="*/ 762034 h 2020169"/>
                <a:gd name="connsiteX425" fmla="*/ 614050 w 4011346"/>
                <a:gd name="connsiteY425" fmla="*/ 798744 h 2020169"/>
                <a:gd name="connsiteX426" fmla="*/ 594027 w 4011346"/>
                <a:gd name="connsiteY426" fmla="*/ 798744 h 2020169"/>
                <a:gd name="connsiteX427" fmla="*/ 533957 w 4011346"/>
                <a:gd name="connsiteY427" fmla="*/ 832116 h 2020169"/>
                <a:gd name="connsiteX428" fmla="*/ 510596 w 4011346"/>
                <a:gd name="connsiteY428" fmla="*/ 855477 h 2020169"/>
                <a:gd name="connsiteX429" fmla="*/ 500584 w 4011346"/>
                <a:gd name="connsiteY429" fmla="*/ 902198 h 2020169"/>
                <a:gd name="connsiteX430" fmla="*/ 450526 w 4011346"/>
                <a:gd name="connsiteY430" fmla="*/ 888849 h 2020169"/>
                <a:gd name="connsiteX431" fmla="*/ 433840 w 4011346"/>
                <a:gd name="connsiteY431" fmla="*/ 852139 h 2020169"/>
                <a:gd name="connsiteX432" fmla="*/ 467212 w 4011346"/>
                <a:gd name="connsiteY432" fmla="*/ 822104 h 2020169"/>
                <a:gd name="connsiteX433" fmla="*/ 453863 w 4011346"/>
                <a:gd name="connsiteY433" fmla="*/ 798744 h 2020169"/>
                <a:gd name="connsiteX434" fmla="*/ 390456 w 4011346"/>
                <a:gd name="connsiteY434" fmla="*/ 768709 h 2020169"/>
                <a:gd name="connsiteX435" fmla="*/ 417154 w 4011346"/>
                <a:gd name="connsiteY435" fmla="*/ 818767 h 2020169"/>
                <a:gd name="connsiteX436" fmla="*/ 407142 w 4011346"/>
                <a:gd name="connsiteY436" fmla="*/ 862151 h 2020169"/>
                <a:gd name="connsiteX437" fmla="*/ 413817 w 4011346"/>
                <a:gd name="connsiteY437" fmla="*/ 898861 h 2020169"/>
                <a:gd name="connsiteX438" fmla="*/ 427165 w 4011346"/>
                <a:gd name="connsiteY438" fmla="*/ 922221 h 2020169"/>
                <a:gd name="connsiteX439" fmla="*/ 413817 w 4011346"/>
                <a:gd name="connsiteY439" fmla="*/ 952256 h 2020169"/>
                <a:gd name="connsiteX440" fmla="*/ 390456 w 4011346"/>
                <a:gd name="connsiteY440" fmla="*/ 928896 h 2020169"/>
                <a:gd name="connsiteX441" fmla="*/ 360421 w 4011346"/>
                <a:gd name="connsiteY441" fmla="*/ 925558 h 2020169"/>
                <a:gd name="connsiteX442" fmla="*/ 333723 w 4011346"/>
                <a:gd name="connsiteY442" fmla="*/ 965605 h 2020169"/>
                <a:gd name="connsiteX443" fmla="*/ 307025 w 4011346"/>
                <a:gd name="connsiteY443" fmla="*/ 985628 h 2020169"/>
                <a:gd name="connsiteX444" fmla="*/ 320374 w 4011346"/>
                <a:gd name="connsiteY444" fmla="*/ 1012326 h 2020169"/>
                <a:gd name="connsiteX445" fmla="*/ 303688 w 4011346"/>
                <a:gd name="connsiteY445" fmla="*/ 1035687 h 2020169"/>
                <a:gd name="connsiteX446" fmla="*/ 233606 w 4011346"/>
                <a:gd name="connsiteY446" fmla="*/ 998977 h 2020169"/>
                <a:gd name="connsiteX447" fmla="*/ 243618 w 4011346"/>
                <a:gd name="connsiteY447" fmla="*/ 1049036 h 2020169"/>
                <a:gd name="connsiteX448" fmla="*/ 263641 w 4011346"/>
                <a:gd name="connsiteY448" fmla="*/ 1069059 h 2020169"/>
                <a:gd name="connsiteX449" fmla="*/ 250292 w 4011346"/>
                <a:gd name="connsiteY449" fmla="*/ 1082408 h 2020169"/>
                <a:gd name="connsiteX450" fmla="*/ 193560 w 4011346"/>
                <a:gd name="connsiteY450" fmla="*/ 1045698 h 2020169"/>
                <a:gd name="connsiteX451" fmla="*/ 170199 w 4011346"/>
                <a:gd name="connsiteY451" fmla="*/ 1005652 h 2020169"/>
                <a:gd name="connsiteX452" fmla="*/ 170199 w 4011346"/>
                <a:gd name="connsiteY452" fmla="*/ 958931 h 2020169"/>
                <a:gd name="connsiteX453" fmla="*/ 133490 w 4011346"/>
                <a:gd name="connsiteY453" fmla="*/ 882174 h 2020169"/>
                <a:gd name="connsiteX454" fmla="*/ 196897 w 4011346"/>
                <a:gd name="connsiteY454" fmla="*/ 912209 h 2020169"/>
                <a:gd name="connsiteX455" fmla="*/ 256967 w 4011346"/>
                <a:gd name="connsiteY455" fmla="*/ 942244 h 2020169"/>
                <a:gd name="connsiteX456" fmla="*/ 293676 w 4011346"/>
                <a:gd name="connsiteY456" fmla="*/ 945582 h 2020169"/>
                <a:gd name="connsiteX457" fmla="*/ 327049 w 4011346"/>
                <a:gd name="connsiteY457" fmla="*/ 915547 h 2020169"/>
                <a:gd name="connsiteX458" fmla="*/ 343735 w 4011346"/>
                <a:gd name="connsiteY458" fmla="*/ 878837 h 2020169"/>
                <a:gd name="connsiteX459" fmla="*/ 333723 w 4011346"/>
                <a:gd name="connsiteY459" fmla="*/ 828779 h 2020169"/>
                <a:gd name="connsiteX460" fmla="*/ 290339 w 4011346"/>
                <a:gd name="connsiteY460" fmla="*/ 808755 h 2020169"/>
                <a:gd name="connsiteX461" fmla="*/ 236944 w 4011346"/>
                <a:gd name="connsiteY461" fmla="*/ 762034 h 2020169"/>
                <a:gd name="connsiteX462" fmla="*/ 133490 w 4011346"/>
                <a:gd name="connsiteY462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106792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2018418 w 4011346"/>
                <a:gd name="connsiteY323" fmla="*/ 105729 h 2020169"/>
                <a:gd name="connsiteX324" fmla="*/ 1952696 w 4011346"/>
                <a:gd name="connsiteY324" fmla="*/ 137160 h 2020169"/>
                <a:gd name="connsiteX325" fmla="*/ 1961267 w 4011346"/>
                <a:gd name="connsiteY325" fmla="*/ 82869 h 2020169"/>
                <a:gd name="connsiteX326" fmla="*/ 1955552 w 4011346"/>
                <a:gd name="connsiteY326" fmla="*/ 65725 h 2020169"/>
                <a:gd name="connsiteX327" fmla="*/ 1895546 w 4011346"/>
                <a:gd name="connsiteY327" fmla="*/ 60008 h 2020169"/>
                <a:gd name="connsiteX328" fmla="*/ 1926978 w 4011346"/>
                <a:gd name="connsiteY328" fmla="*/ 31434 h 2020169"/>
                <a:gd name="connsiteX329" fmla="*/ 1909833 w 4011346"/>
                <a:gd name="connsiteY329" fmla="*/ 0 h 2020169"/>
                <a:gd name="connsiteX330" fmla="*/ 1877440 w 4011346"/>
                <a:gd name="connsiteY330" fmla="*/ 3067 h 2020169"/>
                <a:gd name="connsiteX331" fmla="*/ 1835474 w 4011346"/>
                <a:gd name="connsiteY331" fmla="*/ 41195 h 2020169"/>
                <a:gd name="connsiteX332" fmla="*/ 1818788 w 4011346"/>
                <a:gd name="connsiteY332" fmla="*/ 81242 h 2020169"/>
                <a:gd name="connsiteX333" fmla="*/ 1838813 w 4011346"/>
                <a:gd name="connsiteY333" fmla="*/ 134636 h 2020169"/>
                <a:gd name="connsiteX334" fmla="*/ 1782079 w 4011346"/>
                <a:gd name="connsiteY334" fmla="*/ 121287 h 2020169"/>
                <a:gd name="connsiteX335" fmla="*/ 1768731 w 4011346"/>
                <a:gd name="connsiteY335" fmla="*/ 168009 h 2020169"/>
                <a:gd name="connsiteX336" fmla="*/ 1705322 w 4011346"/>
                <a:gd name="connsiteY336" fmla="*/ 191369 h 2020169"/>
                <a:gd name="connsiteX337" fmla="*/ 1685300 w 4011346"/>
                <a:gd name="connsiteY337" fmla="*/ 164671 h 2020169"/>
                <a:gd name="connsiteX338" fmla="*/ 1615218 w 4011346"/>
                <a:gd name="connsiteY338" fmla="*/ 168009 h 2020169"/>
                <a:gd name="connsiteX339" fmla="*/ 1638579 w 4011346"/>
                <a:gd name="connsiteY339" fmla="*/ 198044 h 2020169"/>
                <a:gd name="connsiteX340" fmla="*/ 1528449 w 4011346"/>
                <a:gd name="connsiteY340" fmla="*/ 224740 h 2020169"/>
                <a:gd name="connsiteX341" fmla="*/ 1465043 w 4011346"/>
                <a:gd name="connsiteY341" fmla="*/ 308171 h 2020169"/>
                <a:gd name="connsiteX342" fmla="*/ 1448357 w 4011346"/>
                <a:gd name="connsiteY342" fmla="*/ 334869 h 2020169"/>
                <a:gd name="connsiteX343" fmla="*/ 1481729 w 4011346"/>
                <a:gd name="connsiteY343" fmla="*/ 368242 h 2020169"/>
                <a:gd name="connsiteX344" fmla="*/ 1481729 w 4011346"/>
                <a:gd name="connsiteY344" fmla="*/ 398277 h 2020169"/>
                <a:gd name="connsiteX345" fmla="*/ 1458368 w 4011346"/>
                <a:gd name="connsiteY345" fmla="*/ 401614 h 2020169"/>
                <a:gd name="connsiteX346" fmla="*/ 1458368 w 4011346"/>
                <a:gd name="connsiteY346" fmla="*/ 381590 h 2020169"/>
                <a:gd name="connsiteX347" fmla="*/ 1418322 w 4011346"/>
                <a:gd name="connsiteY347" fmla="*/ 391602 h 2020169"/>
                <a:gd name="connsiteX348" fmla="*/ 1368263 w 4011346"/>
                <a:gd name="connsiteY348" fmla="*/ 398277 h 2020169"/>
                <a:gd name="connsiteX349" fmla="*/ 1321542 w 4011346"/>
                <a:gd name="connsiteY349" fmla="*/ 404951 h 2020169"/>
                <a:gd name="connsiteX350" fmla="*/ 1318205 w 4011346"/>
                <a:gd name="connsiteY350" fmla="*/ 491719 h 2020169"/>
                <a:gd name="connsiteX351" fmla="*/ 1358252 w 4011346"/>
                <a:gd name="connsiteY351" fmla="*/ 515080 h 2020169"/>
                <a:gd name="connsiteX352" fmla="*/ 1374938 w 4011346"/>
                <a:gd name="connsiteY352" fmla="*/ 545115 h 2020169"/>
                <a:gd name="connsiteX353" fmla="*/ 1384949 w 4011346"/>
                <a:gd name="connsiteY353" fmla="*/ 568475 h 2020169"/>
                <a:gd name="connsiteX354" fmla="*/ 1394961 w 4011346"/>
                <a:gd name="connsiteY354" fmla="*/ 618534 h 2020169"/>
                <a:gd name="connsiteX355" fmla="*/ 1384949 w 4011346"/>
                <a:gd name="connsiteY355" fmla="*/ 648569 h 2020169"/>
                <a:gd name="connsiteX356" fmla="*/ 1358252 w 4011346"/>
                <a:gd name="connsiteY356" fmla="*/ 615196 h 2020169"/>
                <a:gd name="connsiteX357" fmla="*/ 1361589 w 4011346"/>
                <a:gd name="connsiteY357" fmla="*/ 585161 h 2020169"/>
                <a:gd name="connsiteX358" fmla="*/ 1351577 w 4011346"/>
                <a:gd name="connsiteY358" fmla="*/ 545115 h 2020169"/>
                <a:gd name="connsiteX359" fmla="*/ 1328217 w 4011346"/>
                <a:gd name="connsiteY359" fmla="*/ 551789 h 2020169"/>
                <a:gd name="connsiteX360" fmla="*/ 1281495 w 4011346"/>
                <a:gd name="connsiteY360" fmla="*/ 515080 h 2020169"/>
                <a:gd name="connsiteX361" fmla="*/ 1241449 w 4011346"/>
                <a:gd name="connsiteY361" fmla="*/ 511742 h 2020169"/>
                <a:gd name="connsiteX362" fmla="*/ 1241449 w 4011346"/>
                <a:gd name="connsiteY362" fmla="*/ 558463 h 2020169"/>
                <a:gd name="connsiteX363" fmla="*/ 1201402 w 4011346"/>
                <a:gd name="connsiteY363" fmla="*/ 538440 h 2020169"/>
                <a:gd name="connsiteX364" fmla="*/ 1228100 w 4011346"/>
                <a:gd name="connsiteY364" fmla="*/ 588498 h 2020169"/>
                <a:gd name="connsiteX365" fmla="*/ 1258135 w 4011346"/>
                <a:gd name="connsiteY365" fmla="*/ 598510 h 2020169"/>
                <a:gd name="connsiteX366" fmla="*/ 1258135 w 4011346"/>
                <a:gd name="connsiteY366" fmla="*/ 618534 h 2020169"/>
                <a:gd name="connsiteX367" fmla="*/ 1198065 w 4011346"/>
                <a:gd name="connsiteY367" fmla="*/ 595173 h 2020169"/>
                <a:gd name="connsiteX368" fmla="*/ 1181379 w 4011346"/>
                <a:gd name="connsiteY368" fmla="*/ 595173 h 2020169"/>
                <a:gd name="connsiteX369" fmla="*/ 1178041 w 4011346"/>
                <a:gd name="connsiteY369" fmla="*/ 551789 h 2020169"/>
                <a:gd name="connsiteX370" fmla="*/ 1171367 w 4011346"/>
                <a:gd name="connsiteY370" fmla="*/ 465021 h 2020169"/>
                <a:gd name="connsiteX371" fmla="*/ 1161355 w 4011346"/>
                <a:gd name="connsiteY371" fmla="*/ 535103 h 2020169"/>
                <a:gd name="connsiteX372" fmla="*/ 1137995 w 4011346"/>
                <a:gd name="connsiteY372" fmla="*/ 565138 h 2020169"/>
                <a:gd name="connsiteX373" fmla="*/ 1158018 w 4011346"/>
                <a:gd name="connsiteY373" fmla="*/ 611859 h 2020169"/>
                <a:gd name="connsiteX374" fmla="*/ 1158018 w 4011346"/>
                <a:gd name="connsiteY374" fmla="*/ 645231 h 2020169"/>
                <a:gd name="connsiteX375" fmla="*/ 1141332 w 4011346"/>
                <a:gd name="connsiteY375" fmla="*/ 695290 h 2020169"/>
                <a:gd name="connsiteX376" fmla="*/ 1154681 w 4011346"/>
                <a:gd name="connsiteY376" fmla="*/ 728662 h 2020169"/>
                <a:gd name="connsiteX377" fmla="*/ 1184716 w 4011346"/>
                <a:gd name="connsiteY377" fmla="*/ 735336 h 2020169"/>
                <a:gd name="connsiteX378" fmla="*/ 1221425 w 4011346"/>
                <a:gd name="connsiteY378" fmla="*/ 742011 h 2020169"/>
                <a:gd name="connsiteX379" fmla="*/ 1241449 w 4011346"/>
                <a:gd name="connsiteY379" fmla="*/ 765371 h 2020169"/>
                <a:gd name="connsiteX380" fmla="*/ 1258135 w 4011346"/>
                <a:gd name="connsiteY380" fmla="*/ 808755 h 2020169"/>
                <a:gd name="connsiteX381" fmla="*/ 1258135 w 4011346"/>
                <a:gd name="connsiteY381" fmla="*/ 808755 h 2020169"/>
                <a:gd name="connsiteX382" fmla="*/ 1254798 w 4011346"/>
                <a:gd name="connsiteY382" fmla="*/ 842128 h 2020169"/>
                <a:gd name="connsiteX383" fmla="*/ 1274821 w 4011346"/>
                <a:gd name="connsiteY383" fmla="*/ 862151 h 2020169"/>
                <a:gd name="connsiteX384" fmla="*/ 1244786 w 4011346"/>
                <a:gd name="connsiteY384" fmla="*/ 868826 h 2020169"/>
                <a:gd name="connsiteX385" fmla="*/ 1224763 w 4011346"/>
                <a:gd name="connsiteY385" fmla="*/ 828779 h 2020169"/>
                <a:gd name="connsiteX386" fmla="*/ 1224763 w 4011346"/>
                <a:gd name="connsiteY386" fmla="*/ 788732 h 2020169"/>
                <a:gd name="connsiteX387" fmla="*/ 1194727 w 4011346"/>
                <a:gd name="connsiteY387" fmla="*/ 752023 h 2020169"/>
                <a:gd name="connsiteX388" fmla="*/ 1164692 w 4011346"/>
                <a:gd name="connsiteY388" fmla="*/ 795407 h 2020169"/>
                <a:gd name="connsiteX389" fmla="*/ 1178041 w 4011346"/>
                <a:gd name="connsiteY389" fmla="*/ 838790 h 2020169"/>
                <a:gd name="connsiteX390" fmla="*/ 1137995 w 4011346"/>
                <a:gd name="connsiteY390" fmla="*/ 895523 h 2020169"/>
                <a:gd name="connsiteX391" fmla="*/ 1097948 w 4011346"/>
                <a:gd name="connsiteY391" fmla="*/ 952256 h 2020169"/>
                <a:gd name="connsiteX392" fmla="*/ 1007843 w 4011346"/>
                <a:gd name="connsiteY392" fmla="*/ 915547 h 2020169"/>
                <a:gd name="connsiteX393" fmla="*/ 1074587 w 4011346"/>
                <a:gd name="connsiteY393" fmla="*/ 912209 h 2020169"/>
                <a:gd name="connsiteX394" fmla="*/ 1107960 w 4011346"/>
                <a:gd name="connsiteY394" fmla="*/ 848802 h 2020169"/>
                <a:gd name="connsiteX395" fmla="*/ 1121309 w 4011346"/>
                <a:gd name="connsiteY395" fmla="*/ 805418 h 2020169"/>
                <a:gd name="connsiteX396" fmla="*/ 1127983 w 4011346"/>
                <a:gd name="connsiteY396" fmla="*/ 772046 h 2020169"/>
                <a:gd name="connsiteX397" fmla="*/ 1117971 w 4011346"/>
                <a:gd name="connsiteY397" fmla="*/ 755360 h 2020169"/>
                <a:gd name="connsiteX398" fmla="*/ 1114634 w 4011346"/>
                <a:gd name="connsiteY398" fmla="*/ 705301 h 2020169"/>
                <a:gd name="connsiteX399" fmla="*/ 1104622 w 4011346"/>
                <a:gd name="connsiteY399" fmla="*/ 625208 h 2020169"/>
                <a:gd name="connsiteX400" fmla="*/ 1101285 w 4011346"/>
                <a:gd name="connsiteY400" fmla="*/ 565138 h 2020169"/>
                <a:gd name="connsiteX401" fmla="*/ 1124646 w 4011346"/>
                <a:gd name="connsiteY401" fmla="*/ 471696 h 2020169"/>
                <a:gd name="connsiteX402" fmla="*/ 1031203 w 4011346"/>
                <a:gd name="connsiteY402" fmla="*/ 461684 h 2020169"/>
                <a:gd name="connsiteX403" fmla="*/ 1014517 w 4011346"/>
                <a:gd name="connsiteY403" fmla="*/ 518417 h 2020169"/>
                <a:gd name="connsiteX404" fmla="*/ 1024529 w 4011346"/>
                <a:gd name="connsiteY404" fmla="*/ 565138 h 2020169"/>
                <a:gd name="connsiteX405" fmla="*/ 981145 w 4011346"/>
                <a:gd name="connsiteY405" fmla="*/ 618534 h 2020169"/>
                <a:gd name="connsiteX406" fmla="*/ 991157 w 4011346"/>
                <a:gd name="connsiteY406" fmla="*/ 655243 h 2020169"/>
                <a:gd name="connsiteX407" fmla="*/ 981145 w 4011346"/>
                <a:gd name="connsiteY407" fmla="*/ 701964 h 2020169"/>
                <a:gd name="connsiteX408" fmla="*/ 1001168 w 4011346"/>
                <a:gd name="connsiteY408" fmla="*/ 725325 h 2020169"/>
                <a:gd name="connsiteX409" fmla="*/ 1017854 w 4011346"/>
                <a:gd name="connsiteY409" fmla="*/ 772046 h 2020169"/>
                <a:gd name="connsiteX410" fmla="*/ 1047890 w 4011346"/>
                <a:gd name="connsiteY410" fmla="*/ 758697 h 2020169"/>
                <a:gd name="connsiteX411" fmla="*/ 1014517 w 4011346"/>
                <a:gd name="connsiteY411" fmla="*/ 812093 h 2020169"/>
                <a:gd name="connsiteX412" fmla="*/ 957784 w 4011346"/>
                <a:gd name="connsiteY412" fmla="*/ 758697 h 2020169"/>
                <a:gd name="connsiteX413" fmla="*/ 884365 w 4011346"/>
                <a:gd name="connsiteY413" fmla="*/ 721988 h 2020169"/>
                <a:gd name="connsiteX414" fmla="*/ 824295 w 4011346"/>
                <a:gd name="connsiteY414" fmla="*/ 698627 h 2020169"/>
                <a:gd name="connsiteX415" fmla="*/ 810946 w 4011346"/>
                <a:gd name="connsiteY415" fmla="*/ 735336 h 2020169"/>
                <a:gd name="connsiteX416" fmla="*/ 827633 w 4011346"/>
                <a:gd name="connsiteY416" fmla="*/ 772046 h 2020169"/>
                <a:gd name="connsiteX417" fmla="*/ 814284 w 4011346"/>
                <a:gd name="connsiteY417" fmla="*/ 795407 h 2020169"/>
                <a:gd name="connsiteX418" fmla="*/ 800935 w 4011346"/>
                <a:gd name="connsiteY418" fmla="*/ 812093 h 2020169"/>
                <a:gd name="connsiteX419" fmla="*/ 770900 w 4011346"/>
                <a:gd name="connsiteY419" fmla="*/ 755360 h 2020169"/>
                <a:gd name="connsiteX420" fmla="*/ 744202 w 4011346"/>
                <a:gd name="connsiteY420" fmla="*/ 792069 h 2020169"/>
                <a:gd name="connsiteX421" fmla="*/ 707492 w 4011346"/>
                <a:gd name="connsiteY421" fmla="*/ 785395 h 2020169"/>
                <a:gd name="connsiteX422" fmla="*/ 654097 w 4011346"/>
                <a:gd name="connsiteY422" fmla="*/ 822104 h 2020169"/>
                <a:gd name="connsiteX423" fmla="*/ 644085 w 4011346"/>
                <a:gd name="connsiteY423" fmla="*/ 798744 h 2020169"/>
                <a:gd name="connsiteX424" fmla="*/ 654097 w 4011346"/>
                <a:gd name="connsiteY424" fmla="*/ 762034 h 2020169"/>
                <a:gd name="connsiteX425" fmla="*/ 614050 w 4011346"/>
                <a:gd name="connsiteY425" fmla="*/ 798744 h 2020169"/>
                <a:gd name="connsiteX426" fmla="*/ 594027 w 4011346"/>
                <a:gd name="connsiteY426" fmla="*/ 798744 h 2020169"/>
                <a:gd name="connsiteX427" fmla="*/ 533957 w 4011346"/>
                <a:gd name="connsiteY427" fmla="*/ 832116 h 2020169"/>
                <a:gd name="connsiteX428" fmla="*/ 510596 w 4011346"/>
                <a:gd name="connsiteY428" fmla="*/ 855477 h 2020169"/>
                <a:gd name="connsiteX429" fmla="*/ 500584 w 4011346"/>
                <a:gd name="connsiteY429" fmla="*/ 902198 h 2020169"/>
                <a:gd name="connsiteX430" fmla="*/ 450526 w 4011346"/>
                <a:gd name="connsiteY430" fmla="*/ 888849 h 2020169"/>
                <a:gd name="connsiteX431" fmla="*/ 433840 w 4011346"/>
                <a:gd name="connsiteY431" fmla="*/ 852139 h 2020169"/>
                <a:gd name="connsiteX432" fmla="*/ 467212 w 4011346"/>
                <a:gd name="connsiteY432" fmla="*/ 822104 h 2020169"/>
                <a:gd name="connsiteX433" fmla="*/ 453863 w 4011346"/>
                <a:gd name="connsiteY433" fmla="*/ 798744 h 2020169"/>
                <a:gd name="connsiteX434" fmla="*/ 390456 w 4011346"/>
                <a:gd name="connsiteY434" fmla="*/ 768709 h 2020169"/>
                <a:gd name="connsiteX435" fmla="*/ 417154 w 4011346"/>
                <a:gd name="connsiteY435" fmla="*/ 818767 h 2020169"/>
                <a:gd name="connsiteX436" fmla="*/ 407142 w 4011346"/>
                <a:gd name="connsiteY436" fmla="*/ 862151 h 2020169"/>
                <a:gd name="connsiteX437" fmla="*/ 413817 w 4011346"/>
                <a:gd name="connsiteY437" fmla="*/ 898861 h 2020169"/>
                <a:gd name="connsiteX438" fmla="*/ 427165 w 4011346"/>
                <a:gd name="connsiteY438" fmla="*/ 922221 h 2020169"/>
                <a:gd name="connsiteX439" fmla="*/ 413817 w 4011346"/>
                <a:gd name="connsiteY439" fmla="*/ 952256 h 2020169"/>
                <a:gd name="connsiteX440" fmla="*/ 390456 w 4011346"/>
                <a:gd name="connsiteY440" fmla="*/ 928896 h 2020169"/>
                <a:gd name="connsiteX441" fmla="*/ 360421 w 4011346"/>
                <a:gd name="connsiteY441" fmla="*/ 925558 h 2020169"/>
                <a:gd name="connsiteX442" fmla="*/ 333723 w 4011346"/>
                <a:gd name="connsiteY442" fmla="*/ 965605 h 2020169"/>
                <a:gd name="connsiteX443" fmla="*/ 307025 w 4011346"/>
                <a:gd name="connsiteY443" fmla="*/ 985628 h 2020169"/>
                <a:gd name="connsiteX444" fmla="*/ 320374 w 4011346"/>
                <a:gd name="connsiteY444" fmla="*/ 1012326 h 2020169"/>
                <a:gd name="connsiteX445" fmla="*/ 303688 w 4011346"/>
                <a:gd name="connsiteY445" fmla="*/ 1035687 h 2020169"/>
                <a:gd name="connsiteX446" fmla="*/ 233606 w 4011346"/>
                <a:gd name="connsiteY446" fmla="*/ 998977 h 2020169"/>
                <a:gd name="connsiteX447" fmla="*/ 243618 w 4011346"/>
                <a:gd name="connsiteY447" fmla="*/ 1049036 h 2020169"/>
                <a:gd name="connsiteX448" fmla="*/ 263641 w 4011346"/>
                <a:gd name="connsiteY448" fmla="*/ 1069059 h 2020169"/>
                <a:gd name="connsiteX449" fmla="*/ 250292 w 4011346"/>
                <a:gd name="connsiteY449" fmla="*/ 1082408 h 2020169"/>
                <a:gd name="connsiteX450" fmla="*/ 193560 w 4011346"/>
                <a:gd name="connsiteY450" fmla="*/ 1045698 h 2020169"/>
                <a:gd name="connsiteX451" fmla="*/ 170199 w 4011346"/>
                <a:gd name="connsiteY451" fmla="*/ 1005652 h 2020169"/>
                <a:gd name="connsiteX452" fmla="*/ 170199 w 4011346"/>
                <a:gd name="connsiteY452" fmla="*/ 958931 h 2020169"/>
                <a:gd name="connsiteX453" fmla="*/ 133490 w 4011346"/>
                <a:gd name="connsiteY453" fmla="*/ 882174 h 2020169"/>
                <a:gd name="connsiteX454" fmla="*/ 196897 w 4011346"/>
                <a:gd name="connsiteY454" fmla="*/ 912209 h 2020169"/>
                <a:gd name="connsiteX455" fmla="*/ 256967 w 4011346"/>
                <a:gd name="connsiteY455" fmla="*/ 942244 h 2020169"/>
                <a:gd name="connsiteX456" fmla="*/ 293676 w 4011346"/>
                <a:gd name="connsiteY456" fmla="*/ 945582 h 2020169"/>
                <a:gd name="connsiteX457" fmla="*/ 327049 w 4011346"/>
                <a:gd name="connsiteY457" fmla="*/ 915547 h 2020169"/>
                <a:gd name="connsiteX458" fmla="*/ 343735 w 4011346"/>
                <a:gd name="connsiteY458" fmla="*/ 878837 h 2020169"/>
                <a:gd name="connsiteX459" fmla="*/ 333723 w 4011346"/>
                <a:gd name="connsiteY459" fmla="*/ 828779 h 2020169"/>
                <a:gd name="connsiteX460" fmla="*/ 290339 w 4011346"/>
                <a:gd name="connsiteY460" fmla="*/ 808755 h 2020169"/>
                <a:gd name="connsiteX461" fmla="*/ 236944 w 4011346"/>
                <a:gd name="connsiteY461" fmla="*/ 762034 h 2020169"/>
                <a:gd name="connsiteX462" fmla="*/ 133490 w 4011346"/>
                <a:gd name="connsiteY462" fmla="*/ 705301 h 2020169"/>
                <a:gd name="connsiteX0" fmla="*/ 133490 w 4011346"/>
                <a:gd name="connsiteY0" fmla="*/ 705301 h 2020169"/>
                <a:gd name="connsiteX1" fmla="*/ 46722 w 4011346"/>
                <a:gd name="connsiteY1" fmla="*/ 735336 h 2020169"/>
                <a:gd name="connsiteX2" fmla="*/ 33373 w 4011346"/>
                <a:gd name="connsiteY2" fmla="*/ 765371 h 2020169"/>
                <a:gd name="connsiteX3" fmla="*/ 43384 w 4011346"/>
                <a:gd name="connsiteY3" fmla="*/ 795407 h 2020169"/>
                <a:gd name="connsiteX4" fmla="*/ 60071 w 4011346"/>
                <a:gd name="connsiteY4" fmla="*/ 822104 h 2020169"/>
                <a:gd name="connsiteX5" fmla="*/ 73419 w 4011346"/>
                <a:gd name="connsiteY5" fmla="*/ 852139 h 2020169"/>
                <a:gd name="connsiteX6" fmla="*/ 56733 w 4011346"/>
                <a:gd name="connsiteY6" fmla="*/ 875500 h 2020169"/>
                <a:gd name="connsiteX7" fmla="*/ 76757 w 4011346"/>
                <a:gd name="connsiteY7" fmla="*/ 955593 h 2020169"/>
                <a:gd name="connsiteX8" fmla="*/ 66745 w 4011346"/>
                <a:gd name="connsiteY8" fmla="*/ 972280 h 2020169"/>
                <a:gd name="connsiteX9" fmla="*/ 70082 w 4011346"/>
                <a:gd name="connsiteY9" fmla="*/ 998977 h 2020169"/>
                <a:gd name="connsiteX10" fmla="*/ 70082 w 4011346"/>
                <a:gd name="connsiteY10" fmla="*/ 1039024 h 2020169"/>
                <a:gd name="connsiteX11" fmla="*/ 80094 w 4011346"/>
                <a:gd name="connsiteY11" fmla="*/ 1059047 h 2020169"/>
                <a:gd name="connsiteX12" fmla="*/ 76757 w 4011346"/>
                <a:gd name="connsiteY12" fmla="*/ 1082408 h 2020169"/>
                <a:gd name="connsiteX13" fmla="*/ 106792 w 4011346"/>
                <a:gd name="connsiteY13" fmla="*/ 1115780 h 2020169"/>
                <a:gd name="connsiteX14" fmla="*/ 93729 w 4011346"/>
                <a:gd name="connsiteY14" fmla="*/ 1145815 h 2020169"/>
                <a:gd name="connsiteX15" fmla="*/ 13349 w 4011346"/>
                <a:gd name="connsiteY15" fmla="*/ 1235920 h 2020169"/>
                <a:gd name="connsiteX16" fmla="*/ 33373 w 4011346"/>
                <a:gd name="connsiteY16" fmla="*/ 1269293 h 2020169"/>
                <a:gd name="connsiteX17" fmla="*/ 33373 w 4011346"/>
                <a:gd name="connsiteY17" fmla="*/ 1269293 h 2020169"/>
                <a:gd name="connsiteX18" fmla="*/ 16687 w 4011346"/>
                <a:gd name="connsiteY18" fmla="*/ 1299328 h 2020169"/>
                <a:gd name="connsiteX19" fmla="*/ 3338 w 4011346"/>
                <a:gd name="connsiteY19" fmla="*/ 1329363 h 2020169"/>
                <a:gd name="connsiteX20" fmla="*/ 0 w 4011346"/>
                <a:gd name="connsiteY20" fmla="*/ 1389433 h 2020169"/>
                <a:gd name="connsiteX21" fmla="*/ 16687 w 4011346"/>
                <a:gd name="connsiteY21" fmla="*/ 1432817 h 2020169"/>
                <a:gd name="connsiteX22" fmla="*/ 20024 w 4011346"/>
                <a:gd name="connsiteY22" fmla="*/ 1466189 h 2020169"/>
                <a:gd name="connsiteX23" fmla="*/ 56733 w 4011346"/>
                <a:gd name="connsiteY23" fmla="*/ 1476201 h 2020169"/>
                <a:gd name="connsiteX24" fmla="*/ 116803 w 4011346"/>
                <a:gd name="connsiteY24" fmla="*/ 1562969 h 2020169"/>
                <a:gd name="connsiteX25" fmla="*/ 96780 w 4011346"/>
                <a:gd name="connsiteY25" fmla="*/ 1586329 h 2020169"/>
                <a:gd name="connsiteX26" fmla="*/ 93443 w 4011346"/>
                <a:gd name="connsiteY26" fmla="*/ 1616364 h 2020169"/>
                <a:gd name="connsiteX27" fmla="*/ 120141 w 4011346"/>
                <a:gd name="connsiteY27" fmla="*/ 1619701 h 2020169"/>
                <a:gd name="connsiteX28" fmla="*/ 160187 w 4011346"/>
                <a:gd name="connsiteY28" fmla="*/ 1633050 h 2020169"/>
                <a:gd name="connsiteX29" fmla="*/ 186885 w 4011346"/>
                <a:gd name="connsiteY29" fmla="*/ 1646399 h 2020169"/>
                <a:gd name="connsiteX30" fmla="*/ 213583 w 4011346"/>
                <a:gd name="connsiteY30" fmla="*/ 1676434 h 2020169"/>
                <a:gd name="connsiteX31" fmla="*/ 243618 w 4011346"/>
                <a:gd name="connsiteY31" fmla="*/ 1679771 h 2020169"/>
                <a:gd name="connsiteX32" fmla="*/ 287002 w 4011346"/>
                <a:gd name="connsiteY32" fmla="*/ 1709807 h 2020169"/>
                <a:gd name="connsiteX33" fmla="*/ 310363 w 4011346"/>
                <a:gd name="connsiteY33" fmla="*/ 1719818 h 2020169"/>
                <a:gd name="connsiteX34" fmla="*/ 310363 w 4011346"/>
                <a:gd name="connsiteY34" fmla="*/ 1756528 h 2020169"/>
                <a:gd name="connsiteX35" fmla="*/ 270316 w 4011346"/>
                <a:gd name="connsiteY35" fmla="*/ 1796574 h 2020169"/>
                <a:gd name="connsiteX36" fmla="*/ 280327 w 4011346"/>
                <a:gd name="connsiteY36" fmla="*/ 1819935 h 2020169"/>
                <a:gd name="connsiteX37" fmla="*/ 273653 w 4011346"/>
                <a:gd name="connsiteY37" fmla="*/ 1839958 h 2020169"/>
                <a:gd name="connsiteX38" fmla="*/ 266979 w 4011346"/>
                <a:gd name="connsiteY38" fmla="*/ 1856644 h 2020169"/>
                <a:gd name="connsiteX39" fmla="*/ 240281 w 4011346"/>
                <a:gd name="connsiteY39" fmla="*/ 1896691 h 2020169"/>
                <a:gd name="connsiteX40" fmla="*/ 307025 w 4011346"/>
                <a:gd name="connsiteY40" fmla="*/ 1933401 h 2020169"/>
                <a:gd name="connsiteX41" fmla="*/ 337060 w 4011346"/>
                <a:gd name="connsiteY41" fmla="*/ 1940075 h 2020169"/>
                <a:gd name="connsiteX42" fmla="*/ 360421 w 4011346"/>
                <a:gd name="connsiteY42" fmla="*/ 1946750 h 2020169"/>
                <a:gd name="connsiteX43" fmla="*/ 380444 w 4011346"/>
                <a:gd name="connsiteY43" fmla="*/ 1953424 h 2020169"/>
                <a:gd name="connsiteX44" fmla="*/ 407142 w 4011346"/>
                <a:gd name="connsiteY44" fmla="*/ 1973447 h 2020169"/>
                <a:gd name="connsiteX45" fmla="*/ 437177 w 4011346"/>
                <a:gd name="connsiteY45" fmla="*/ 1970110 h 2020169"/>
                <a:gd name="connsiteX46" fmla="*/ 507259 w 4011346"/>
                <a:gd name="connsiteY46" fmla="*/ 2020169 h 2020169"/>
                <a:gd name="connsiteX47" fmla="*/ 517271 w 4011346"/>
                <a:gd name="connsiteY47" fmla="*/ 2006820 h 2020169"/>
                <a:gd name="connsiteX48" fmla="*/ 507259 w 4011346"/>
                <a:gd name="connsiteY48" fmla="*/ 1966773 h 2020169"/>
                <a:gd name="connsiteX49" fmla="*/ 500584 w 4011346"/>
                <a:gd name="connsiteY49" fmla="*/ 1933401 h 2020169"/>
                <a:gd name="connsiteX50" fmla="*/ 483898 w 4011346"/>
                <a:gd name="connsiteY50" fmla="*/ 1890017 h 2020169"/>
                <a:gd name="connsiteX51" fmla="*/ 513933 w 4011346"/>
                <a:gd name="connsiteY51" fmla="*/ 1869993 h 2020169"/>
                <a:gd name="connsiteX52" fmla="*/ 547306 w 4011346"/>
                <a:gd name="connsiteY52" fmla="*/ 1846633 h 2020169"/>
                <a:gd name="connsiteX53" fmla="*/ 527282 w 4011346"/>
                <a:gd name="connsiteY53" fmla="*/ 1829947 h 2020169"/>
                <a:gd name="connsiteX54" fmla="*/ 517271 w 4011346"/>
                <a:gd name="connsiteY54" fmla="*/ 1796574 h 2020169"/>
                <a:gd name="connsiteX55" fmla="*/ 480561 w 4011346"/>
                <a:gd name="connsiteY55" fmla="*/ 1779888 h 2020169"/>
                <a:gd name="connsiteX56" fmla="*/ 470549 w 4011346"/>
                <a:gd name="connsiteY56" fmla="*/ 1759865 h 2020169"/>
                <a:gd name="connsiteX57" fmla="*/ 480561 w 4011346"/>
                <a:gd name="connsiteY57" fmla="*/ 1729830 h 2020169"/>
                <a:gd name="connsiteX58" fmla="*/ 490573 w 4011346"/>
                <a:gd name="connsiteY58" fmla="*/ 1689783 h 2020169"/>
                <a:gd name="connsiteX59" fmla="*/ 513933 w 4011346"/>
                <a:gd name="connsiteY59" fmla="*/ 1709807 h 2020169"/>
                <a:gd name="connsiteX60" fmla="*/ 520608 w 4011346"/>
                <a:gd name="connsiteY60" fmla="*/ 1693120 h 2020169"/>
                <a:gd name="connsiteX61" fmla="*/ 543968 w 4011346"/>
                <a:gd name="connsiteY61" fmla="*/ 1656411 h 2020169"/>
                <a:gd name="connsiteX62" fmla="*/ 574003 w 4011346"/>
                <a:gd name="connsiteY62" fmla="*/ 1639725 h 2020169"/>
                <a:gd name="connsiteX63" fmla="*/ 590690 w 4011346"/>
                <a:gd name="connsiteY63" fmla="*/ 1653074 h 2020169"/>
                <a:gd name="connsiteX64" fmla="*/ 610713 w 4011346"/>
                <a:gd name="connsiteY64" fmla="*/ 1626376 h 2020169"/>
                <a:gd name="connsiteX65" fmla="*/ 630736 w 4011346"/>
                <a:gd name="connsiteY65" fmla="*/ 1653074 h 2020169"/>
                <a:gd name="connsiteX66" fmla="*/ 657434 w 4011346"/>
                <a:gd name="connsiteY66" fmla="*/ 1676434 h 2020169"/>
                <a:gd name="connsiteX67" fmla="*/ 674120 w 4011346"/>
                <a:gd name="connsiteY67" fmla="*/ 1683109 h 2020169"/>
                <a:gd name="connsiteX68" fmla="*/ 697481 w 4011346"/>
                <a:gd name="connsiteY68" fmla="*/ 1683109 h 2020169"/>
                <a:gd name="connsiteX69" fmla="*/ 717504 w 4011346"/>
                <a:gd name="connsiteY69" fmla="*/ 1669760 h 2020169"/>
                <a:gd name="connsiteX70" fmla="*/ 744202 w 4011346"/>
                <a:gd name="connsiteY70" fmla="*/ 1669760 h 2020169"/>
                <a:gd name="connsiteX71" fmla="*/ 760888 w 4011346"/>
                <a:gd name="connsiteY71" fmla="*/ 1666423 h 2020169"/>
                <a:gd name="connsiteX72" fmla="*/ 790923 w 4011346"/>
                <a:gd name="connsiteY72" fmla="*/ 1699795 h 2020169"/>
                <a:gd name="connsiteX73" fmla="*/ 797598 w 4011346"/>
                <a:gd name="connsiteY73" fmla="*/ 1673097 h 2020169"/>
                <a:gd name="connsiteX74" fmla="*/ 817621 w 4011346"/>
                <a:gd name="connsiteY74" fmla="*/ 1689783 h 2020169"/>
                <a:gd name="connsiteX75" fmla="*/ 837644 w 4011346"/>
                <a:gd name="connsiteY75" fmla="*/ 1666423 h 2020169"/>
                <a:gd name="connsiteX76" fmla="*/ 827633 w 4011346"/>
                <a:gd name="connsiteY76" fmla="*/ 1646399 h 2020169"/>
                <a:gd name="connsiteX77" fmla="*/ 810946 w 4011346"/>
                <a:gd name="connsiteY77" fmla="*/ 1633050 h 2020169"/>
                <a:gd name="connsiteX78" fmla="*/ 810946 w 4011346"/>
                <a:gd name="connsiteY78" fmla="*/ 1606353 h 2020169"/>
                <a:gd name="connsiteX79" fmla="*/ 810946 w 4011346"/>
                <a:gd name="connsiteY79" fmla="*/ 1593004 h 2020169"/>
                <a:gd name="connsiteX80" fmla="*/ 830970 w 4011346"/>
                <a:gd name="connsiteY80" fmla="*/ 1589666 h 2020169"/>
                <a:gd name="connsiteX81" fmla="*/ 840981 w 4011346"/>
                <a:gd name="connsiteY81" fmla="*/ 1586329 h 2020169"/>
                <a:gd name="connsiteX82" fmla="*/ 820958 w 4011346"/>
                <a:gd name="connsiteY82" fmla="*/ 1549620 h 2020169"/>
                <a:gd name="connsiteX83" fmla="*/ 854330 w 4011346"/>
                <a:gd name="connsiteY83" fmla="*/ 1542945 h 2020169"/>
                <a:gd name="connsiteX84" fmla="*/ 891040 w 4011346"/>
                <a:gd name="connsiteY84" fmla="*/ 1549620 h 2020169"/>
                <a:gd name="connsiteX85" fmla="*/ 964459 w 4011346"/>
                <a:gd name="connsiteY85" fmla="*/ 1506236 h 2020169"/>
                <a:gd name="connsiteX86" fmla="*/ 1001168 w 4011346"/>
                <a:gd name="connsiteY86" fmla="*/ 1506236 h 2020169"/>
                <a:gd name="connsiteX87" fmla="*/ 1027866 w 4011346"/>
                <a:gd name="connsiteY87" fmla="*/ 1482875 h 2020169"/>
                <a:gd name="connsiteX88" fmla="*/ 1047890 w 4011346"/>
                <a:gd name="connsiteY88" fmla="*/ 1492887 h 2020169"/>
                <a:gd name="connsiteX89" fmla="*/ 1067913 w 4011346"/>
                <a:gd name="connsiteY89" fmla="*/ 1502898 h 2020169"/>
                <a:gd name="connsiteX90" fmla="*/ 1087936 w 4011346"/>
                <a:gd name="connsiteY90" fmla="*/ 1529596 h 2020169"/>
                <a:gd name="connsiteX91" fmla="*/ 1074587 w 4011346"/>
                <a:gd name="connsiteY91" fmla="*/ 1542945 h 2020169"/>
                <a:gd name="connsiteX92" fmla="*/ 1104622 w 4011346"/>
                <a:gd name="connsiteY92" fmla="*/ 1542945 h 2020169"/>
                <a:gd name="connsiteX93" fmla="*/ 1107960 w 4011346"/>
                <a:gd name="connsiteY93" fmla="*/ 1559631 h 2020169"/>
                <a:gd name="connsiteX94" fmla="*/ 1121309 w 4011346"/>
                <a:gd name="connsiteY94" fmla="*/ 1542945 h 2020169"/>
                <a:gd name="connsiteX95" fmla="*/ 1134657 w 4011346"/>
                <a:gd name="connsiteY95" fmla="*/ 1556294 h 2020169"/>
                <a:gd name="connsiteX96" fmla="*/ 1134657 w 4011346"/>
                <a:gd name="connsiteY96" fmla="*/ 1576317 h 2020169"/>
                <a:gd name="connsiteX97" fmla="*/ 1148006 w 4011346"/>
                <a:gd name="connsiteY97" fmla="*/ 1572980 h 2020169"/>
                <a:gd name="connsiteX98" fmla="*/ 1208076 w 4011346"/>
                <a:gd name="connsiteY98" fmla="*/ 1526259 h 2020169"/>
                <a:gd name="connsiteX99" fmla="*/ 1211414 w 4011346"/>
                <a:gd name="connsiteY99" fmla="*/ 1546282 h 2020169"/>
                <a:gd name="connsiteX100" fmla="*/ 1244786 w 4011346"/>
                <a:gd name="connsiteY100" fmla="*/ 1566306 h 2020169"/>
                <a:gd name="connsiteX101" fmla="*/ 1264809 w 4011346"/>
                <a:gd name="connsiteY101" fmla="*/ 1596341 h 2020169"/>
                <a:gd name="connsiteX102" fmla="*/ 1298181 w 4011346"/>
                <a:gd name="connsiteY102" fmla="*/ 1703132 h 2020169"/>
                <a:gd name="connsiteX103" fmla="*/ 1308193 w 4011346"/>
                <a:gd name="connsiteY103" fmla="*/ 1659748 h 2020169"/>
                <a:gd name="connsiteX104" fmla="*/ 1344903 w 4011346"/>
                <a:gd name="connsiteY104" fmla="*/ 1679771 h 2020169"/>
                <a:gd name="connsiteX105" fmla="*/ 1388287 w 4011346"/>
                <a:gd name="connsiteY105" fmla="*/ 1679771 h 2020169"/>
                <a:gd name="connsiteX106" fmla="*/ 1394961 w 4011346"/>
                <a:gd name="connsiteY106" fmla="*/ 1703132 h 2020169"/>
                <a:gd name="connsiteX107" fmla="*/ 1435008 w 4011346"/>
                <a:gd name="connsiteY107" fmla="*/ 1726493 h 2020169"/>
                <a:gd name="connsiteX108" fmla="*/ 1465043 w 4011346"/>
                <a:gd name="connsiteY108" fmla="*/ 1726493 h 2020169"/>
                <a:gd name="connsiteX109" fmla="*/ 1491741 w 4011346"/>
                <a:gd name="connsiteY109" fmla="*/ 1739842 h 2020169"/>
                <a:gd name="connsiteX110" fmla="*/ 1535125 w 4011346"/>
                <a:gd name="connsiteY110" fmla="*/ 1696458 h 2020169"/>
                <a:gd name="connsiteX111" fmla="*/ 1571834 w 4011346"/>
                <a:gd name="connsiteY111" fmla="*/ 1676434 h 2020169"/>
                <a:gd name="connsiteX112" fmla="*/ 1608544 w 4011346"/>
                <a:gd name="connsiteY112" fmla="*/ 1679771 h 2020169"/>
                <a:gd name="connsiteX113" fmla="*/ 1655265 w 4011346"/>
                <a:gd name="connsiteY113" fmla="*/ 1693120 h 2020169"/>
                <a:gd name="connsiteX114" fmla="*/ 1681963 w 4011346"/>
                <a:gd name="connsiteY114" fmla="*/ 1709807 h 2020169"/>
                <a:gd name="connsiteX115" fmla="*/ 1735358 w 4011346"/>
                <a:gd name="connsiteY115" fmla="*/ 1703132 h 2020169"/>
                <a:gd name="connsiteX116" fmla="*/ 1745370 w 4011346"/>
                <a:gd name="connsiteY116" fmla="*/ 1683109 h 2020169"/>
                <a:gd name="connsiteX117" fmla="*/ 1738695 w 4011346"/>
                <a:gd name="connsiteY117" fmla="*/ 1663085 h 2020169"/>
                <a:gd name="connsiteX118" fmla="*/ 1765393 w 4011346"/>
                <a:gd name="connsiteY118" fmla="*/ 1636388 h 2020169"/>
                <a:gd name="connsiteX119" fmla="*/ 1778742 w 4011346"/>
                <a:gd name="connsiteY119" fmla="*/ 1633050 h 2020169"/>
                <a:gd name="connsiteX120" fmla="*/ 1812114 w 4011346"/>
                <a:gd name="connsiteY120" fmla="*/ 1649736 h 2020169"/>
                <a:gd name="connsiteX121" fmla="*/ 1852161 w 4011346"/>
                <a:gd name="connsiteY121" fmla="*/ 1663085 h 2020169"/>
                <a:gd name="connsiteX122" fmla="*/ 1858836 w 4011346"/>
                <a:gd name="connsiteY122" fmla="*/ 1689783 h 2020169"/>
                <a:gd name="connsiteX123" fmla="*/ 1872184 w 4011346"/>
                <a:gd name="connsiteY123" fmla="*/ 1696458 h 2020169"/>
                <a:gd name="connsiteX124" fmla="*/ 1902219 w 4011346"/>
                <a:gd name="connsiteY124" fmla="*/ 1699795 h 2020169"/>
                <a:gd name="connsiteX125" fmla="*/ 1932254 w 4011346"/>
                <a:gd name="connsiteY125" fmla="*/ 1683109 h 2020169"/>
                <a:gd name="connsiteX126" fmla="*/ 1962290 w 4011346"/>
                <a:gd name="connsiteY126" fmla="*/ 1696458 h 2020169"/>
                <a:gd name="connsiteX127" fmla="*/ 1985650 w 4011346"/>
                <a:gd name="connsiteY127" fmla="*/ 1709807 h 2020169"/>
                <a:gd name="connsiteX128" fmla="*/ 1995662 w 4011346"/>
                <a:gd name="connsiteY128" fmla="*/ 1719818 h 2020169"/>
                <a:gd name="connsiteX129" fmla="*/ 2032371 w 4011346"/>
                <a:gd name="connsiteY129" fmla="*/ 1739842 h 2020169"/>
                <a:gd name="connsiteX130" fmla="*/ 2069081 w 4011346"/>
                <a:gd name="connsiteY130" fmla="*/ 1736504 h 2020169"/>
                <a:gd name="connsiteX131" fmla="*/ 2142500 w 4011346"/>
                <a:gd name="connsiteY131" fmla="*/ 1693120 h 2020169"/>
                <a:gd name="connsiteX132" fmla="*/ 2195895 w 4011346"/>
                <a:gd name="connsiteY132" fmla="*/ 1706469 h 2020169"/>
                <a:gd name="connsiteX133" fmla="*/ 2225930 w 4011346"/>
                <a:gd name="connsiteY133" fmla="*/ 1716481 h 2020169"/>
                <a:gd name="connsiteX134" fmla="*/ 2259303 w 4011346"/>
                <a:gd name="connsiteY134" fmla="*/ 1703132 h 2020169"/>
                <a:gd name="connsiteX135" fmla="*/ 2262640 w 4011346"/>
                <a:gd name="connsiteY135" fmla="*/ 1676434 h 2020169"/>
                <a:gd name="connsiteX136" fmla="*/ 2282663 w 4011346"/>
                <a:gd name="connsiteY136" fmla="*/ 1646399 h 2020169"/>
                <a:gd name="connsiteX137" fmla="*/ 2299349 w 4011346"/>
                <a:gd name="connsiteY137" fmla="*/ 1593004 h 2020169"/>
                <a:gd name="connsiteX138" fmla="*/ 2282663 w 4011346"/>
                <a:gd name="connsiteY138" fmla="*/ 1596341 h 2020169"/>
                <a:gd name="connsiteX139" fmla="*/ 2312698 w 4011346"/>
                <a:gd name="connsiteY139" fmla="*/ 1569643 h 2020169"/>
                <a:gd name="connsiteX140" fmla="*/ 2339396 w 4011346"/>
                <a:gd name="connsiteY140" fmla="*/ 1566306 h 2020169"/>
                <a:gd name="connsiteX141" fmla="*/ 2396129 w 4011346"/>
                <a:gd name="connsiteY141" fmla="*/ 1576317 h 2020169"/>
                <a:gd name="connsiteX142" fmla="*/ 2436176 w 4011346"/>
                <a:gd name="connsiteY142" fmla="*/ 1603015 h 2020169"/>
                <a:gd name="connsiteX143" fmla="*/ 2462873 w 4011346"/>
                <a:gd name="connsiteY143" fmla="*/ 1633050 h 2020169"/>
                <a:gd name="connsiteX144" fmla="*/ 2469548 w 4011346"/>
                <a:gd name="connsiteY144" fmla="*/ 1669760 h 2020169"/>
                <a:gd name="connsiteX145" fmla="*/ 2476222 w 4011346"/>
                <a:gd name="connsiteY145" fmla="*/ 1709807 h 2020169"/>
                <a:gd name="connsiteX146" fmla="*/ 2486234 w 4011346"/>
                <a:gd name="connsiteY146" fmla="*/ 1729830 h 2020169"/>
                <a:gd name="connsiteX147" fmla="*/ 2529618 w 4011346"/>
                <a:gd name="connsiteY147" fmla="*/ 1743179 h 2020169"/>
                <a:gd name="connsiteX148" fmla="*/ 2549641 w 4011346"/>
                <a:gd name="connsiteY148" fmla="*/ 1763202 h 2020169"/>
                <a:gd name="connsiteX149" fmla="*/ 2562990 w 4011346"/>
                <a:gd name="connsiteY149" fmla="*/ 1796574 h 2020169"/>
                <a:gd name="connsiteX150" fmla="*/ 2586351 w 4011346"/>
                <a:gd name="connsiteY150" fmla="*/ 1789900 h 2020169"/>
                <a:gd name="connsiteX151" fmla="*/ 2606374 w 4011346"/>
                <a:gd name="connsiteY151" fmla="*/ 1779888 h 2020169"/>
                <a:gd name="connsiteX152" fmla="*/ 2639746 w 4011346"/>
                <a:gd name="connsiteY152" fmla="*/ 1763202 h 2020169"/>
                <a:gd name="connsiteX153" fmla="*/ 2643084 w 4011346"/>
                <a:gd name="connsiteY153" fmla="*/ 1779888 h 2020169"/>
                <a:gd name="connsiteX154" fmla="*/ 2626398 w 4011346"/>
                <a:gd name="connsiteY154" fmla="*/ 1809923 h 2020169"/>
                <a:gd name="connsiteX155" fmla="*/ 2616386 w 4011346"/>
                <a:gd name="connsiteY155" fmla="*/ 1846633 h 2020169"/>
                <a:gd name="connsiteX156" fmla="*/ 2603037 w 4011346"/>
                <a:gd name="connsiteY156" fmla="*/ 1900028 h 2020169"/>
                <a:gd name="connsiteX157" fmla="*/ 2579676 w 4011346"/>
                <a:gd name="connsiteY157" fmla="*/ 1873331 h 2020169"/>
                <a:gd name="connsiteX158" fmla="*/ 2552979 w 4011346"/>
                <a:gd name="connsiteY158" fmla="*/ 1896691 h 2020169"/>
                <a:gd name="connsiteX159" fmla="*/ 2559653 w 4011346"/>
                <a:gd name="connsiteY159" fmla="*/ 1923389 h 2020169"/>
                <a:gd name="connsiteX160" fmla="*/ 2559653 w 4011346"/>
                <a:gd name="connsiteY160" fmla="*/ 1960098 h 2020169"/>
                <a:gd name="connsiteX161" fmla="*/ 2549641 w 4011346"/>
                <a:gd name="connsiteY161" fmla="*/ 1980122 h 2020169"/>
                <a:gd name="connsiteX162" fmla="*/ 2589688 w 4011346"/>
                <a:gd name="connsiteY162" fmla="*/ 1960098 h 2020169"/>
                <a:gd name="connsiteX163" fmla="*/ 2626398 w 4011346"/>
                <a:gd name="connsiteY163" fmla="*/ 1970110 h 2020169"/>
                <a:gd name="connsiteX164" fmla="*/ 2653095 w 4011346"/>
                <a:gd name="connsiteY164" fmla="*/ 1946750 h 2020169"/>
                <a:gd name="connsiteX165" fmla="*/ 2683130 w 4011346"/>
                <a:gd name="connsiteY165" fmla="*/ 1893354 h 2020169"/>
                <a:gd name="connsiteX166" fmla="*/ 2753212 w 4011346"/>
                <a:gd name="connsiteY166" fmla="*/ 1806586 h 2020169"/>
                <a:gd name="connsiteX167" fmla="*/ 2783247 w 4011346"/>
                <a:gd name="connsiteY167" fmla="*/ 1736504 h 2020169"/>
                <a:gd name="connsiteX168" fmla="*/ 2803271 w 4011346"/>
                <a:gd name="connsiteY168" fmla="*/ 1633050 h 2020169"/>
                <a:gd name="connsiteX169" fmla="*/ 2793259 w 4011346"/>
                <a:gd name="connsiteY169" fmla="*/ 1582992 h 2020169"/>
                <a:gd name="connsiteX170" fmla="*/ 2769898 w 4011346"/>
                <a:gd name="connsiteY170" fmla="*/ 1549620 h 2020169"/>
                <a:gd name="connsiteX171" fmla="*/ 2726514 w 4011346"/>
                <a:gd name="connsiteY171" fmla="*/ 1549620 h 2020169"/>
                <a:gd name="connsiteX172" fmla="*/ 2699817 w 4011346"/>
                <a:gd name="connsiteY172" fmla="*/ 1549620 h 2020169"/>
                <a:gd name="connsiteX173" fmla="*/ 2683130 w 4011346"/>
                <a:gd name="connsiteY173" fmla="*/ 1529596 h 2020169"/>
                <a:gd name="connsiteX174" fmla="*/ 2669781 w 4011346"/>
                <a:gd name="connsiteY174" fmla="*/ 1509573 h 2020169"/>
                <a:gd name="connsiteX175" fmla="*/ 2763224 w 4011346"/>
                <a:gd name="connsiteY175" fmla="*/ 1392770 h 2020169"/>
                <a:gd name="connsiteX176" fmla="*/ 2846654 w 4011346"/>
                <a:gd name="connsiteY176" fmla="*/ 1326026 h 2020169"/>
                <a:gd name="connsiteX177" fmla="*/ 2890038 w 4011346"/>
                <a:gd name="connsiteY177" fmla="*/ 1302665 h 2020169"/>
                <a:gd name="connsiteX178" fmla="*/ 2933422 w 4011346"/>
                <a:gd name="connsiteY178" fmla="*/ 1322688 h 2020169"/>
                <a:gd name="connsiteX179" fmla="*/ 2950109 w 4011346"/>
                <a:gd name="connsiteY179" fmla="*/ 1306002 h 2020169"/>
                <a:gd name="connsiteX180" fmla="*/ 2993492 w 4011346"/>
                <a:gd name="connsiteY180" fmla="*/ 1322688 h 2020169"/>
                <a:gd name="connsiteX181" fmla="*/ 3006841 w 4011346"/>
                <a:gd name="connsiteY181" fmla="*/ 1289316 h 2020169"/>
                <a:gd name="connsiteX182" fmla="*/ 3053563 w 4011346"/>
                <a:gd name="connsiteY182" fmla="*/ 1299328 h 2020169"/>
                <a:gd name="connsiteX183" fmla="*/ 3070249 w 4011346"/>
                <a:gd name="connsiteY183" fmla="*/ 1316014 h 2020169"/>
                <a:gd name="connsiteX184" fmla="*/ 3060237 w 4011346"/>
                <a:gd name="connsiteY184" fmla="*/ 1336037 h 2020169"/>
                <a:gd name="connsiteX185" fmla="*/ 3123644 w 4011346"/>
                <a:gd name="connsiteY185" fmla="*/ 1319351 h 2020169"/>
                <a:gd name="connsiteX186" fmla="*/ 3140330 w 4011346"/>
                <a:gd name="connsiteY186" fmla="*/ 1306002 h 2020169"/>
                <a:gd name="connsiteX187" fmla="*/ 3123644 w 4011346"/>
                <a:gd name="connsiteY187" fmla="*/ 1292653 h 2020169"/>
                <a:gd name="connsiteX188" fmla="*/ 3143668 w 4011346"/>
                <a:gd name="connsiteY188" fmla="*/ 1252607 h 2020169"/>
                <a:gd name="connsiteX189" fmla="*/ 3190389 w 4011346"/>
                <a:gd name="connsiteY189" fmla="*/ 1182525 h 2020169"/>
                <a:gd name="connsiteX190" fmla="*/ 3233773 w 4011346"/>
                <a:gd name="connsiteY190" fmla="*/ 1179188 h 2020169"/>
                <a:gd name="connsiteX191" fmla="*/ 3273819 w 4011346"/>
                <a:gd name="connsiteY191" fmla="*/ 1189199 h 2020169"/>
                <a:gd name="connsiteX192" fmla="*/ 3277157 w 4011346"/>
                <a:gd name="connsiteY192" fmla="*/ 1245932 h 2020169"/>
                <a:gd name="connsiteX193" fmla="*/ 3320541 w 4011346"/>
                <a:gd name="connsiteY193" fmla="*/ 1202548 h 2020169"/>
                <a:gd name="connsiteX194" fmla="*/ 3343901 w 4011346"/>
                <a:gd name="connsiteY194" fmla="*/ 1185862 h 2020169"/>
                <a:gd name="connsiteX195" fmla="*/ 3350576 w 4011346"/>
                <a:gd name="connsiteY195" fmla="*/ 1152490 h 2020169"/>
                <a:gd name="connsiteX196" fmla="*/ 3377273 w 4011346"/>
                <a:gd name="connsiteY196" fmla="*/ 1135804 h 2020169"/>
                <a:gd name="connsiteX197" fmla="*/ 3407309 w 4011346"/>
                <a:gd name="connsiteY197" fmla="*/ 1145815 h 2020169"/>
                <a:gd name="connsiteX198" fmla="*/ 3373936 w 4011346"/>
                <a:gd name="connsiteY198" fmla="*/ 1175850 h 2020169"/>
                <a:gd name="connsiteX199" fmla="*/ 3360587 w 4011346"/>
                <a:gd name="connsiteY199" fmla="*/ 1225909 h 2020169"/>
                <a:gd name="connsiteX200" fmla="*/ 3323878 w 4011346"/>
                <a:gd name="connsiteY200" fmla="*/ 1265955 h 2020169"/>
                <a:gd name="connsiteX201" fmla="*/ 3210412 w 4011346"/>
                <a:gd name="connsiteY201" fmla="*/ 1362735 h 2020169"/>
                <a:gd name="connsiteX202" fmla="*/ 3163691 w 4011346"/>
                <a:gd name="connsiteY202" fmla="*/ 1432817 h 2020169"/>
                <a:gd name="connsiteX203" fmla="*/ 3160354 w 4011346"/>
                <a:gd name="connsiteY203" fmla="*/ 1506236 h 2020169"/>
                <a:gd name="connsiteX204" fmla="*/ 3170365 w 4011346"/>
                <a:gd name="connsiteY204" fmla="*/ 1596341 h 2020169"/>
                <a:gd name="connsiteX205" fmla="*/ 3190389 w 4011346"/>
                <a:gd name="connsiteY205" fmla="*/ 1659748 h 2020169"/>
                <a:gd name="connsiteX206" fmla="*/ 3217087 w 4011346"/>
                <a:gd name="connsiteY206" fmla="*/ 1649736 h 2020169"/>
                <a:gd name="connsiteX207" fmla="*/ 3240447 w 4011346"/>
                <a:gd name="connsiteY207" fmla="*/ 1582992 h 2020169"/>
                <a:gd name="connsiteX208" fmla="*/ 3270482 w 4011346"/>
                <a:gd name="connsiteY208" fmla="*/ 1579655 h 2020169"/>
                <a:gd name="connsiteX209" fmla="*/ 3287168 w 4011346"/>
                <a:gd name="connsiteY209" fmla="*/ 1519585 h 2020169"/>
                <a:gd name="connsiteX210" fmla="*/ 3313866 w 4011346"/>
                <a:gd name="connsiteY210" fmla="*/ 1509573 h 2020169"/>
                <a:gd name="connsiteX211" fmla="*/ 3313866 w 4011346"/>
                <a:gd name="connsiteY211" fmla="*/ 1479538 h 2020169"/>
                <a:gd name="connsiteX212" fmla="*/ 3337227 w 4011346"/>
                <a:gd name="connsiteY212" fmla="*/ 1442828 h 2020169"/>
                <a:gd name="connsiteX213" fmla="*/ 3330552 w 4011346"/>
                <a:gd name="connsiteY213" fmla="*/ 1399444 h 2020169"/>
                <a:gd name="connsiteX214" fmla="*/ 3333890 w 4011346"/>
                <a:gd name="connsiteY214" fmla="*/ 1369409 h 2020169"/>
                <a:gd name="connsiteX215" fmla="*/ 3323878 w 4011346"/>
                <a:gd name="connsiteY215" fmla="*/ 1359398 h 2020169"/>
                <a:gd name="connsiteX216" fmla="*/ 3363925 w 4011346"/>
                <a:gd name="connsiteY216" fmla="*/ 1272630 h 2020169"/>
                <a:gd name="connsiteX217" fmla="*/ 3383948 w 4011346"/>
                <a:gd name="connsiteY217" fmla="*/ 1282642 h 2020169"/>
                <a:gd name="connsiteX218" fmla="*/ 3410646 w 4011346"/>
                <a:gd name="connsiteY218" fmla="*/ 1255944 h 2020169"/>
                <a:gd name="connsiteX219" fmla="*/ 3420657 w 4011346"/>
                <a:gd name="connsiteY219" fmla="*/ 1282642 h 2020169"/>
                <a:gd name="connsiteX220" fmla="*/ 3447355 w 4011346"/>
                <a:gd name="connsiteY220" fmla="*/ 1265955 h 2020169"/>
                <a:gd name="connsiteX221" fmla="*/ 3477390 w 4011346"/>
                <a:gd name="connsiteY221" fmla="*/ 1255944 h 2020169"/>
                <a:gd name="connsiteX222" fmla="*/ 3514100 w 4011346"/>
                <a:gd name="connsiteY222" fmla="*/ 1282642 h 2020169"/>
                <a:gd name="connsiteX223" fmla="*/ 3574170 w 4011346"/>
                <a:gd name="connsiteY223" fmla="*/ 1215897 h 2020169"/>
                <a:gd name="connsiteX224" fmla="*/ 3637577 w 4011346"/>
                <a:gd name="connsiteY224" fmla="*/ 1169176 h 2020169"/>
                <a:gd name="connsiteX225" fmla="*/ 3690973 w 4011346"/>
                <a:gd name="connsiteY225" fmla="*/ 1132466 h 2020169"/>
                <a:gd name="connsiteX226" fmla="*/ 3741031 w 4011346"/>
                <a:gd name="connsiteY226" fmla="*/ 1159164 h 2020169"/>
                <a:gd name="connsiteX227" fmla="*/ 3751043 w 4011346"/>
                <a:gd name="connsiteY227" fmla="*/ 1132466 h 2020169"/>
                <a:gd name="connsiteX228" fmla="*/ 3727682 w 4011346"/>
                <a:gd name="connsiteY228" fmla="*/ 1065722 h 2020169"/>
                <a:gd name="connsiteX229" fmla="*/ 3700984 w 4011346"/>
                <a:gd name="connsiteY229" fmla="*/ 1049036 h 2020169"/>
                <a:gd name="connsiteX230" fmla="*/ 3697647 w 4011346"/>
                <a:gd name="connsiteY230" fmla="*/ 1019001 h 2020169"/>
                <a:gd name="connsiteX231" fmla="*/ 3751043 w 4011346"/>
                <a:gd name="connsiteY231" fmla="*/ 1025675 h 2020169"/>
                <a:gd name="connsiteX232" fmla="*/ 3774403 w 4011346"/>
                <a:gd name="connsiteY232" fmla="*/ 982291 h 2020169"/>
                <a:gd name="connsiteX233" fmla="*/ 3767729 w 4011346"/>
                <a:gd name="connsiteY233" fmla="*/ 955593 h 2020169"/>
                <a:gd name="connsiteX234" fmla="*/ 3794427 w 4011346"/>
                <a:gd name="connsiteY234" fmla="*/ 922221 h 2020169"/>
                <a:gd name="connsiteX235" fmla="*/ 3804438 w 4011346"/>
                <a:gd name="connsiteY235" fmla="*/ 965605 h 2020169"/>
                <a:gd name="connsiteX236" fmla="*/ 3827799 w 4011346"/>
                <a:gd name="connsiteY236" fmla="*/ 982291 h 2020169"/>
                <a:gd name="connsiteX237" fmla="*/ 3874520 w 4011346"/>
                <a:gd name="connsiteY237" fmla="*/ 1002315 h 2020169"/>
                <a:gd name="connsiteX238" fmla="*/ 3894544 w 4011346"/>
                <a:gd name="connsiteY238" fmla="*/ 1029012 h 2020169"/>
                <a:gd name="connsiteX239" fmla="*/ 3941265 w 4011346"/>
                <a:gd name="connsiteY239" fmla="*/ 1052373 h 2020169"/>
                <a:gd name="connsiteX240" fmla="*/ 3947939 w 4011346"/>
                <a:gd name="connsiteY240" fmla="*/ 1039024 h 2020169"/>
                <a:gd name="connsiteX241" fmla="*/ 3957951 w 4011346"/>
                <a:gd name="connsiteY241" fmla="*/ 975617 h 2020169"/>
                <a:gd name="connsiteX242" fmla="*/ 4004672 w 4011346"/>
                <a:gd name="connsiteY242" fmla="*/ 968942 h 2020169"/>
                <a:gd name="connsiteX243" fmla="*/ 4011346 w 4011346"/>
                <a:gd name="connsiteY243" fmla="*/ 935570 h 2020169"/>
                <a:gd name="connsiteX244" fmla="*/ 3967963 w 4011346"/>
                <a:gd name="connsiteY244" fmla="*/ 898861 h 2020169"/>
                <a:gd name="connsiteX245" fmla="*/ 3921241 w 4011346"/>
                <a:gd name="connsiteY245" fmla="*/ 882174 h 2020169"/>
                <a:gd name="connsiteX246" fmla="*/ 3907892 w 4011346"/>
                <a:gd name="connsiteY246" fmla="*/ 885512 h 2020169"/>
                <a:gd name="connsiteX247" fmla="*/ 3907892 w 4011346"/>
                <a:gd name="connsiteY247" fmla="*/ 918884 h 2020169"/>
                <a:gd name="connsiteX248" fmla="*/ 3887869 w 4011346"/>
                <a:gd name="connsiteY248" fmla="*/ 912209 h 2020169"/>
                <a:gd name="connsiteX249" fmla="*/ 3874520 w 4011346"/>
                <a:gd name="connsiteY249" fmla="*/ 858814 h 2020169"/>
                <a:gd name="connsiteX250" fmla="*/ 3817787 w 4011346"/>
                <a:gd name="connsiteY250" fmla="*/ 795407 h 2020169"/>
                <a:gd name="connsiteX251" fmla="*/ 3717671 w 4011346"/>
                <a:gd name="connsiteY251" fmla="*/ 718650 h 2020169"/>
                <a:gd name="connsiteX252" fmla="*/ 3664275 w 4011346"/>
                <a:gd name="connsiteY252" fmla="*/ 698627 h 2020169"/>
                <a:gd name="connsiteX253" fmla="*/ 3584181 w 4011346"/>
                <a:gd name="connsiteY253" fmla="*/ 691953 h 2020169"/>
                <a:gd name="connsiteX254" fmla="*/ 3520774 w 4011346"/>
                <a:gd name="connsiteY254" fmla="*/ 675266 h 2020169"/>
                <a:gd name="connsiteX255" fmla="*/ 3530786 w 4011346"/>
                <a:gd name="connsiteY255" fmla="*/ 715313 h 2020169"/>
                <a:gd name="connsiteX256" fmla="*/ 3537460 w 4011346"/>
                <a:gd name="connsiteY256" fmla="*/ 742011 h 2020169"/>
                <a:gd name="connsiteX257" fmla="*/ 3507425 w 4011346"/>
                <a:gd name="connsiteY257" fmla="*/ 765371 h 2020169"/>
                <a:gd name="connsiteX258" fmla="*/ 3477390 w 4011346"/>
                <a:gd name="connsiteY258" fmla="*/ 738674 h 2020169"/>
                <a:gd name="connsiteX259" fmla="*/ 3477390 w 4011346"/>
                <a:gd name="connsiteY259" fmla="*/ 718650 h 2020169"/>
                <a:gd name="connsiteX260" fmla="*/ 3504088 w 4011346"/>
                <a:gd name="connsiteY260" fmla="*/ 698627 h 2020169"/>
                <a:gd name="connsiteX261" fmla="*/ 3467379 w 4011346"/>
                <a:gd name="connsiteY261" fmla="*/ 685278 h 2020169"/>
                <a:gd name="connsiteX262" fmla="*/ 3450692 w 4011346"/>
                <a:gd name="connsiteY262" fmla="*/ 711976 h 2020169"/>
                <a:gd name="connsiteX263" fmla="*/ 3440681 w 4011346"/>
                <a:gd name="connsiteY263" fmla="*/ 725325 h 2020169"/>
                <a:gd name="connsiteX264" fmla="*/ 3357250 w 4011346"/>
                <a:gd name="connsiteY264" fmla="*/ 711976 h 2020169"/>
                <a:gd name="connsiteX265" fmla="*/ 3297180 w 4011346"/>
                <a:gd name="connsiteY265" fmla="*/ 718650 h 2020169"/>
                <a:gd name="connsiteX266" fmla="*/ 3267145 w 4011346"/>
                <a:gd name="connsiteY266" fmla="*/ 695290 h 2020169"/>
                <a:gd name="connsiteX267" fmla="*/ 3267145 w 4011346"/>
                <a:gd name="connsiteY267" fmla="*/ 658580 h 2020169"/>
                <a:gd name="connsiteX268" fmla="*/ 3203738 w 4011346"/>
                <a:gd name="connsiteY268" fmla="*/ 601847 h 2020169"/>
                <a:gd name="connsiteX269" fmla="*/ 3076923 w 4011346"/>
                <a:gd name="connsiteY269" fmla="*/ 608522 h 2020169"/>
                <a:gd name="connsiteX270" fmla="*/ 3043551 w 4011346"/>
                <a:gd name="connsiteY270" fmla="*/ 585161 h 2020169"/>
                <a:gd name="connsiteX271" fmla="*/ 3000167 w 4011346"/>
                <a:gd name="connsiteY271" fmla="*/ 538440 h 2020169"/>
                <a:gd name="connsiteX272" fmla="*/ 3013516 w 4011346"/>
                <a:gd name="connsiteY272" fmla="*/ 531766 h 2020169"/>
                <a:gd name="connsiteX273" fmla="*/ 3000167 w 4011346"/>
                <a:gd name="connsiteY273" fmla="*/ 511742 h 2020169"/>
                <a:gd name="connsiteX274" fmla="*/ 2970132 w 4011346"/>
                <a:gd name="connsiteY274" fmla="*/ 508405 h 2020169"/>
                <a:gd name="connsiteX275" fmla="*/ 2920073 w 4011346"/>
                <a:gd name="connsiteY275" fmla="*/ 555126 h 2020169"/>
                <a:gd name="connsiteX276" fmla="*/ 2920073 w 4011346"/>
                <a:gd name="connsiteY276" fmla="*/ 555126 h 2020169"/>
                <a:gd name="connsiteX277" fmla="*/ 2916736 w 4011346"/>
                <a:gd name="connsiteY277" fmla="*/ 505068 h 2020169"/>
                <a:gd name="connsiteX278" fmla="*/ 2936760 w 4011346"/>
                <a:gd name="connsiteY278" fmla="*/ 501731 h 2020169"/>
                <a:gd name="connsiteX279" fmla="*/ 2866678 w 4011346"/>
                <a:gd name="connsiteY279" fmla="*/ 471696 h 2020169"/>
                <a:gd name="connsiteX280" fmla="*/ 2813282 w 4011346"/>
                <a:gd name="connsiteY280" fmla="*/ 468358 h 2020169"/>
                <a:gd name="connsiteX281" fmla="*/ 2793259 w 4011346"/>
                <a:gd name="connsiteY281" fmla="*/ 491719 h 2020169"/>
                <a:gd name="connsiteX282" fmla="*/ 2743200 w 4011346"/>
                <a:gd name="connsiteY282" fmla="*/ 501731 h 2020169"/>
                <a:gd name="connsiteX283" fmla="*/ 2786584 w 4011346"/>
                <a:gd name="connsiteY283" fmla="*/ 511742 h 2020169"/>
                <a:gd name="connsiteX284" fmla="*/ 2763224 w 4011346"/>
                <a:gd name="connsiteY284" fmla="*/ 531766 h 2020169"/>
                <a:gd name="connsiteX285" fmla="*/ 2769898 w 4011346"/>
                <a:gd name="connsiteY285" fmla="*/ 581824 h 2020169"/>
                <a:gd name="connsiteX286" fmla="*/ 2749875 w 4011346"/>
                <a:gd name="connsiteY286" fmla="*/ 565138 h 2020169"/>
                <a:gd name="connsiteX287" fmla="*/ 2733189 w 4011346"/>
                <a:gd name="connsiteY287" fmla="*/ 578487 h 2020169"/>
                <a:gd name="connsiteX288" fmla="*/ 2666444 w 4011346"/>
                <a:gd name="connsiteY288" fmla="*/ 568475 h 2020169"/>
                <a:gd name="connsiteX289" fmla="*/ 2636409 w 4011346"/>
                <a:gd name="connsiteY289" fmla="*/ 578487 h 2020169"/>
                <a:gd name="connsiteX290" fmla="*/ 2603037 w 4011346"/>
                <a:gd name="connsiteY290" fmla="*/ 538440 h 2020169"/>
                <a:gd name="connsiteX291" fmla="*/ 2569665 w 4011346"/>
                <a:gd name="connsiteY291" fmla="*/ 621871 h 2020169"/>
                <a:gd name="connsiteX292" fmla="*/ 2552979 w 4011346"/>
                <a:gd name="connsiteY292" fmla="*/ 641894 h 2020169"/>
                <a:gd name="connsiteX293" fmla="*/ 2469548 w 4011346"/>
                <a:gd name="connsiteY293" fmla="*/ 505068 h 2020169"/>
                <a:gd name="connsiteX294" fmla="*/ 2446187 w 4011346"/>
                <a:gd name="connsiteY294" fmla="*/ 521754 h 2020169"/>
                <a:gd name="connsiteX295" fmla="*/ 2442850 w 4011346"/>
                <a:gd name="connsiteY295" fmla="*/ 488382 h 2020169"/>
                <a:gd name="connsiteX296" fmla="*/ 2449525 w 4011346"/>
                <a:gd name="connsiteY296" fmla="*/ 418300 h 2020169"/>
                <a:gd name="connsiteX297" fmla="*/ 2386117 w 4011346"/>
                <a:gd name="connsiteY297" fmla="*/ 391602 h 2020169"/>
                <a:gd name="connsiteX298" fmla="*/ 2369431 w 4011346"/>
                <a:gd name="connsiteY298" fmla="*/ 431649 h 2020169"/>
                <a:gd name="connsiteX299" fmla="*/ 2379443 w 4011346"/>
                <a:gd name="connsiteY299" fmla="*/ 455009 h 2020169"/>
                <a:gd name="connsiteX300" fmla="*/ 2376106 w 4011346"/>
                <a:gd name="connsiteY300" fmla="*/ 475033 h 2020169"/>
                <a:gd name="connsiteX301" fmla="*/ 2352745 w 4011346"/>
                <a:gd name="connsiteY301" fmla="*/ 451672 h 2020169"/>
                <a:gd name="connsiteX302" fmla="*/ 2316036 w 4011346"/>
                <a:gd name="connsiteY302" fmla="*/ 458347 h 2020169"/>
                <a:gd name="connsiteX303" fmla="*/ 2272652 w 4011346"/>
                <a:gd name="connsiteY303" fmla="*/ 444998 h 2020169"/>
                <a:gd name="connsiteX304" fmla="*/ 2245954 w 4011346"/>
                <a:gd name="connsiteY304" fmla="*/ 404951 h 2020169"/>
                <a:gd name="connsiteX305" fmla="*/ 2209244 w 4011346"/>
                <a:gd name="connsiteY305" fmla="*/ 401614 h 2020169"/>
                <a:gd name="connsiteX306" fmla="*/ 2159186 w 4011346"/>
                <a:gd name="connsiteY306" fmla="*/ 391602 h 2020169"/>
                <a:gd name="connsiteX307" fmla="*/ 2132488 w 4011346"/>
                <a:gd name="connsiteY307" fmla="*/ 408288 h 2020169"/>
                <a:gd name="connsiteX308" fmla="*/ 2115802 w 4011346"/>
                <a:gd name="connsiteY308" fmla="*/ 421637 h 2020169"/>
                <a:gd name="connsiteX309" fmla="*/ 2115802 w 4011346"/>
                <a:gd name="connsiteY309" fmla="*/ 391602 h 2020169"/>
                <a:gd name="connsiteX310" fmla="*/ 2082430 w 4011346"/>
                <a:gd name="connsiteY310" fmla="*/ 388265 h 2020169"/>
                <a:gd name="connsiteX311" fmla="*/ 2045720 w 4011346"/>
                <a:gd name="connsiteY311" fmla="*/ 361567 h 2020169"/>
                <a:gd name="connsiteX312" fmla="*/ 2025697 w 4011346"/>
                <a:gd name="connsiteY312" fmla="*/ 391602 h 2020169"/>
                <a:gd name="connsiteX313" fmla="*/ 2055732 w 4011346"/>
                <a:gd name="connsiteY313" fmla="*/ 388265 h 2020169"/>
                <a:gd name="connsiteX314" fmla="*/ 2045720 w 4011346"/>
                <a:gd name="connsiteY314" fmla="*/ 414963 h 2020169"/>
                <a:gd name="connsiteX315" fmla="*/ 1988987 w 4011346"/>
                <a:gd name="connsiteY315" fmla="*/ 434986 h 2020169"/>
                <a:gd name="connsiteX316" fmla="*/ 1935592 w 4011346"/>
                <a:gd name="connsiteY316" fmla="*/ 444998 h 2020169"/>
                <a:gd name="connsiteX317" fmla="*/ 1995662 w 4011346"/>
                <a:gd name="connsiteY317" fmla="*/ 388265 h 2020169"/>
                <a:gd name="connsiteX318" fmla="*/ 2055732 w 4011346"/>
                <a:gd name="connsiteY318" fmla="*/ 318183 h 2020169"/>
                <a:gd name="connsiteX319" fmla="*/ 2055732 w 4011346"/>
                <a:gd name="connsiteY319" fmla="*/ 318183 h 2020169"/>
                <a:gd name="connsiteX320" fmla="*/ 2129860 w 4011346"/>
                <a:gd name="connsiteY320" fmla="*/ 248603 h 2020169"/>
                <a:gd name="connsiteX321" fmla="*/ 2127003 w 4011346"/>
                <a:gd name="connsiteY321" fmla="*/ 174309 h 2020169"/>
                <a:gd name="connsiteX322" fmla="*/ 2092713 w 4011346"/>
                <a:gd name="connsiteY322" fmla="*/ 105729 h 2020169"/>
                <a:gd name="connsiteX323" fmla="*/ 2018418 w 4011346"/>
                <a:gd name="connsiteY323" fmla="*/ 105729 h 2020169"/>
                <a:gd name="connsiteX324" fmla="*/ 1952696 w 4011346"/>
                <a:gd name="connsiteY324" fmla="*/ 137160 h 2020169"/>
                <a:gd name="connsiteX325" fmla="*/ 1961267 w 4011346"/>
                <a:gd name="connsiteY325" fmla="*/ 82869 h 2020169"/>
                <a:gd name="connsiteX326" fmla="*/ 1955552 w 4011346"/>
                <a:gd name="connsiteY326" fmla="*/ 65725 h 2020169"/>
                <a:gd name="connsiteX327" fmla="*/ 1895546 w 4011346"/>
                <a:gd name="connsiteY327" fmla="*/ 60008 h 2020169"/>
                <a:gd name="connsiteX328" fmla="*/ 1926978 w 4011346"/>
                <a:gd name="connsiteY328" fmla="*/ 31434 h 2020169"/>
                <a:gd name="connsiteX329" fmla="*/ 1909833 w 4011346"/>
                <a:gd name="connsiteY329" fmla="*/ 0 h 2020169"/>
                <a:gd name="connsiteX330" fmla="*/ 1877440 w 4011346"/>
                <a:gd name="connsiteY330" fmla="*/ 3067 h 2020169"/>
                <a:gd name="connsiteX331" fmla="*/ 1835474 w 4011346"/>
                <a:gd name="connsiteY331" fmla="*/ 41195 h 2020169"/>
                <a:gd name="connsiteX332" fmla="*/ 1818788 w 4011346"/>
                <a:gd name="connsiteY332" fmla="*/ 81242 h 2020169"/>
                <a:gd name="connsiteX333" fmla="*/ 1838813 w 4011346"/>
                <a:gd name="connsiteY333" fmla="*/ 134636 h 2020169"/>
                <a:gd name="connsiteX334" fmla="*/ 1782079 w 4011346"/>
                <a:gd name="connsiteY334" fmla="*/ 121287 h 2020169"/>
                <a:gd name="connsiteX335" fmla="*/ 1768731 w 4011346"/>
                <a:gd name="connsiteY335" fmla="*/ 168009 h 2020169"/>
                <a:gd name="connsiteX336" fmla="*/ 1705322 w 4011346"/>
                <a:gd name="connsiteY336" fmla="*/ 191369 h 2020169"/>
                <a:gd name="connsiteX337" fmla="*/ 1685300 w 4011346"/>
                <a:gd name="connsiteY337" fmla="*/ 164671 h 2020169"/>
                <a:gd name="connsiteX338" fmla="*/ 1615218 w 4011346"/>
                <a:gd name="connsiteY338" fmla="*/ 168009 h 2020169"/>
                <a:gd name="connsiteX339" fmla="*/ 1638579 w 4011346"/>
                <a:gd name="connsiteY339" fmla="*/ 198044 h 2020169"/>
                <a:gd name="connsiteX340" fmla="*/ 1528449 w 4011346"/>
                <a:gd name="connsiteY340" fmla="*/ 224740 h 2020169"/>
                <a:gd name="connsiteX341" fmla="*/ 1465043 w 4011346"/>
                <a:gd name="connsiteY341" fmla="*/ 308171 h 2020169"/>
                <a:gd name="connsiteX342" fmla="*/ 1448357 w 4011346"/>
                <a:gd name="connsiteY342" fmla="*/ 334869 h 2020169"/>
                <a:gd name="connsiteX343" fmla="*/ 1481729 w 4011346"/>
                <a:gd name="connsiteY343" fmla="*/ 368242 h 2020169"/>
                <a:gd name="connsiteX344" fmla="*/ 1481729 w 4011346"/>
                <a:gd name="connsiteY344" fmla="*/ 398277 h 2020169"/>
                <a:gd name="connsiteX345" fmla="*/ 1458368 w 4011346"/>
                <a:gd name="connsiteY345" fmla="*/ 401614 h 2020169"/>
                <a:gd name="connsiteX346" fmla="*/ 1458368 w 4011346"/>
                <a:gd name="connsiteY346" fmla="*/ 381590 h 2020169"/>
                <a:gd name="connsiteX347" fmla="*/ 1418322 w 4011346"/>
                <a:gd name="connsiteY347" fmla="*/ 391602 h 2020169"/>
                <a:gd name="connsiteX348" fmla="*/ 1368263 w 4011346"/>
                <a:gd name="connsiteY348" fmla="*/ 398277 h 2020169"/>
                <a:gd name="connsiteX349" fmla="*/ 1321542 w 4011346"/>
                <a:gd name="connsiteY349" fmla="*/ 404951 h 2020169"/>
                <a:gd name="connsiteX350" fmla="*/ 1318205 w 4011346"/>
                <a:gd name="connsiteY350" fmla="*/ 491719 h 2020169"/>
                <a:gd name="connsiteX351" fmla="*/ 1358252 w 4011346"/>
                <a:gd name="connsiteY351" fmla="*/ 515080 h 2020169"/>
                <a:gd name="connsiteX352" fmla="*/ 1374938 w 4011346"/>
                <a:gd name="connsiteY352" fmla="*/ 545115 h 2020169"/>
                <a:gd name="connsiteX353" fmla="*/ 1384949 w 4011346"/>
                <a:gd name="connsiteY353" fmla="*/ 568475 h 2020169"/>
                <a:gd name="connsiteX354" fmla="*/ 1394961 w 4011346"/>
                <a:gd name="connsiteY354" fmla="*/ 618534 h 2020169"/>
                <a:gd name="connsiteX355" fmla="*/ 1384949 w 4011346"/>
                <a:gd name="connsiteY355" fmla="*/ 648569 h 2020169"/>
                <a:gd name="connsiteX356" fmla="*/ 1358252 w 4011346"/>
                <a:gd name="connsiteY356" fmla="*/ 615196 h 2020169"/>
                <a:gd name="connsiteX357" fmla="*/ 1361589 w 4011346"/>
                <a:gd name="connsiteY357" fmla="*/ 585161 h 2020169"/>
                <a:gd name="connsiteX358" fmla="*/ 1351577 w 4011346"/>
                <a:gd name="connsiteY358" fmla="*/ 545115 h 2020169"/>
                <a:gd name="connsiteX359" fmla="*/ 1328217 w 4011346"/>
                <a:gd name="connsiteY359" fmla="*/ 551789 h 2020169"/>
                <a:gd name="connsiteX360" fmla="*/ 1281495 w 4011346"/>
                <a:gd name="connsiteY360" fmla="*/ 515080 h 2020169"/>
                <a:gd name="connsiteX361" fmla="*/ 1241449 w 4011346"/>
                <a:gd name="connsiteY361" fmla="*/ 511742 h 2020169"/>
                <a:gd name="connsiteX362" fmla="*/ 1241449 w 4011346"/>
                <a:gd name="connsiteY362" fmla="*/ 558463 h 2020169"/>
                <a:gd name="connsiteX363" fmla="*/ 1201402 w 4011346"/>
                <a:gd name="connsiteY363" fmla="*/ 538440 h 2020169"/>
                <a:gd name="connsiteX364" fmla="*/ 1228100 w 4011346"/>
                <a:gd name="connsiteY364" fmla="*/ 588498 h 2020169"/>
                <a:gd name="connsiteX365" fmla="*/ 1258135 w 4011346"/>
                <a:gd name="connsiteY365" fmla="*/ 598510 h 2020169"/>
                <a:gd name="connsiteX366" fmla="*/ 1258135 w 4011346"/>
                <a:gd name="connsiteY366" fmla="*/ 618534 h 2020169"/>
                <a:gd name="connsiteX367" fmla="*/ 1198065 w 4011346"/>
                <a:gd name="connsiteY367" fmla="*/ 595173 h 2020169"/>
                <a:gd name="connsiteX368" fmla="*/ 1181379 w 4011346"/>
                <a:gd name="connsiteY368" fmla="*/ 595173 h 2020169"/>
                <a:gd name="connsiteX369" fmla="*/ 1178041 w 4011346"/>
                <a:gd name="connsiteY369" fmla="*/ 551789 h 2020169"/>
                <a:gd name="connsiteX370" fmla="*/ 1171367 w 4011346"/>
                <a:gd name="connsiteY370" fmla="*/ 465021 h 2020169"/>
                <a:gd name="connsiteX371" fmla="*/ 1161355 w 4011346"/>
                <a:gd name="connsiteY371" fmla="*/ 535103 h 2020169"/>
                <a:gd name="connsiteX372" fmla="*/ 1137995 w 4011346"/>
                <a:gd name="connsiteY372" fmla="*/ 565138 h 2020169"/>
                <a:gd name="connsiteX373" fmla="*/ 1158018 w 4011346"/>
                <a:gd name="connsiteY373" fmla="*/ 611859 h 2020169"/>
                <a:gd name="connsiteX374" fmla="*/ 1158018 w 4011346"/>
                <a:gd name="connsiteY374" fmla="*/ 645231 h 2020169"/>
                <a:gd name="connsiteX375" fmla="*/ 1141332 w 4011346"/>
                <a:gd name="connsiteY375" fmla="*/ 695290 h 2020169"/>
                <a:gd name="connsiteX376" fmla="*/ 1154681 w 4011346"/>
                <a:gd name="connsiteY376" fmla="*/ 728662 h 2020169"/>
                <a:gd name="connsiteX377" fmla="*/ 1184716 w 4011346"/>
                <a:gd name="connsiteY377" fmla="*/ 735336 h 2020169"/>
                <a:gd name="connsiteX378" fmla="*/ 1221425 w 4011346"/>
                <a:gd name="connsiteY378" fmla="*/ 742011 h 2020169"/>
                <a:gd name="connsiteX379" fmla="*/ 1241449 w 4011346"/>
                <a:gd name="connsiteY379" fmla="*/ 765371 h 2020169"/>
                <a:gd name="connsiteX380" fmla="*/ 1258135 w 4011346"/>
                <a:gd name="connsiteY380" fmla="*/ 808755 h 2020169"/>
                <a:gd name="connsiteX381" fmla="*/ 1258135 w 4011346"/>
                <a:gd name="connsiteY381" fmla="*/ 808755 h 2020169"/>
                <a:gd name="connsiteX382" fmla="*/ 1254798 w 4011346"/>
                <a:gd name="connsiteY382" fmla="*/ 842128 h 2020169"/>
                <a:gd name="connsiteX383" fmla="*/ 1274821 w 4011346"/>
                <a:gd name="connsiteY383" fmla="*/ 862151 h 2020169"/>
                <a:gd name="connsiteX384" fmla="*/ 1244786 w 4011346"/>
                <a:gd name="connsiteY384" fmla="*/ 868826 h 2020169"/>
                <a:gd name="connsiteX385" fmla="*/ 1224763 w 4011346"/>
                <a:gd name="connsiteY385" fmla="*/ 828779 h 2020169"/>
                <a:gd name="connsiteX386" fmla="*/ 1224763 w 4011346"/>
                <a:gd name="connsiteY386" fmla="*/ 788732 h 2020169"/>
                <a:gd name="connsiteX387" fmla="*/ 1194727 w 4011346"/>
                <a:gd name="connsiteY387" fmla="*/ 752023 h 2020169"/>
                <a:gd name="connsiteX388" fmla="*/ 1164692 w 4011346"/>
                <a:gd name="connsiteY388" fmla="*/ 795407 h 2020169"/>
                <a:gd name="connsiteX389" fmla="*/ 1178041 w 4011346"/>
                <a:gd name="connsiteY389" fmla="*/ 838790 h 2020169"/>
                <a:gd name="connsiteX390" fmla="*/ 1137995 w 4011346"/>
                <a:gd name="connsiteY390" fmla="*/ 895523 h 2020169"/>
                <a:gd name="connsiteX391" fmla="*/ 1097948 w 4011346"/>
                <a:gd name="connsiteY391" fmla="*/ 952256 h 2020169"/>
                <a:gd name="connsiteX392" fmla="*/ 1007843 w 4011346"/>
                <a:gd name="connsiteY392" fmla="*/ 915547 h 2020169"/>
                <a:gd name="connsiteX393" fmla="*/ 1074587 w 4011346"/>
                <a:gd name="connsiteY393" fmla="*/ 912209 h 2020169"/>
                <a:gd name="connsiteX394" fmla="*/ 1107960 w 4011346"/>
                <a:gd name="connsiteY394" fmla="*/ 848802 h 2020169"/>
                <a:gd name="connsiteX395" fmla="*/ 1121309 w 4011346"/>
                <a:gd name="connsiteY395" fmla="*/ 805418 h 2020169"/>
                <a:gd name="connsiteX396" fmla="*/ 1127983 w 4011346"/>
                <a:gd name="connsiteY396" fmla="*/ 772046 h 2020169"/>
                <a:gd name="connsiteX397" fmla="*/ 1117971 w 4011346"/>
                <a:gd name="connsiteY397" fmla="*/ 755360 h 2020169"/>
                <a:gd name="connsiteX398" fmla="*/ 1114634 w 4011346"/>
                <a:gd name="connsiteY398" fmla="*/ 705301 h 2020169"/>
                <a:gd name="connsiteX399" fmla="*/ 1104622 w 4011346"/>
                <a:gd name="connsiteY399" fmla="*/ 625208 h 2020169"/>
                <a:gd name="connsiteX400" fmla="*/ 1101285 w 4011346"/>
                <a:gd name="connsiteY400" fmla="*/ 565138 h 2020169"/>
                <a:gd name="connsiteX401" fmla="*/ 1124646 w 4011346"/>
                <a:gd name="connsiteY401" fmla="*/ 471696 h 2020169"/>
                <a:gd name="connsiteX402" fmla="*/ 1031203 w 4011346"/>
                <a:gd name="connsiteY402" fmla="*/ 461684 h 2020169"/>
                <a:gd name="connsiteX403" fmla="*/ 1014517 w 4011346"/>
                <a:gd name="connsiteY403" fmla="*/ 518417 h 2020169"/>
                <a:gd name="connsiteX404" fmla="*/ 1024529 w 4011346"/>
                <a:gd name="connsiteY404" fmla="*/ 565138 h 2020169"/>
                <a:gd name="connsiteX405" fmla="*/ 981145 w 4011346"/>
                <a:gd name="connsiteY405" fmla="*/ 618534 h 2020169"/>
                <a:gd name="connsiteX406" fmla="*/ 991157 w 4011346"/>
                <a:gd name="connsiteY406" fmla="*/ 655243 h 2020169"/>
                <a:gd name="connsiteX407" fmla="*/ 981145 w 4011346"/>
                <a:gd name="connsiteY407" fmla="*/ 701964 h 2020169"/>
                <a:gd name="connsiteX408" fmla="*/ 1001168 w 4011346"/>
                <a:gd name="connsiteY408" fmla="*/ 725325 h 2020169"/>
                <a:gd name="connsiteX409" fmla="*/ 1017854 w 4011346"/>
                <a:gd name="connsiteY409" fmla="*/ 772046 h 2020169"/>
                <a:gd name="connsiteX410" fmla="*/ 1047890 w 4011346"/>
                <a:gd name="connsiteY410" fmla="*/ 758697 h 2020169"/>
                <a:gd name="connsiteX411" fmla="*/ 1014517 w 4011346"/>
                <a:gd name="connsiteY411" fmla="*/ 812093 h 2020169"/>
                <a:gd name="connsiteX412" fmla="*/ 957784 w 4011346"/>
                <a:gd name="connsiteY412" fmla="*/ 758697 h 2020169"/>
                <a:gd name="connsiteX413" fmla="*/ 884365 w 4011346"/>
                <a:gd name="connsiteY413" fmla="*/ 721988 h 2020169"/>
                <a:gd name="connsiteX414" fmla="*/ 824295 w 4011346"/>
                <a:gd name="connsiteY414" fmla="*/ 698627 h 2020169"/>
                <a:gd name="connsiteX415" fmla="*/ 810946 w 4011346"/>
                <a:gd name="connsiteY415" fmla="*/ 735336 h 2020169"/>
                <a:gd name="connsiteX416" fmla="*/ 827633 w 4011346"/>
                <a:gd name="connsiteY416" fmla="*/ 772046 h 2020169"/>
                <a:gd name="connsiteX417" fmla="*/ 814284 w 4011346"/>
                <a:gd name="connsiteY417" fmla="*/ 795407 h 2020169"/>
                <a:gd name="connsiteX418" fmla="*/ 800935 w 4011346"/>
                <a:gd name="connsiteY418" fmla="*/ 812093 h 2020169"/>
                <a:gd name="connsiteX419" fmla="*/ 770900 w 4011346"/>
                <a:gd name="connsiteY419" fmla="*/ 755360 h 2020169"/>
                <a:gd name="connsiteX420" fmla="*/ 744202 w 4011346"/>
                <a:gd name="connsiteY420" fmla="*/ 792069 h 2020169"/>
                <a:gd name="connsiteX421" fmla="*/ 707492 w 4011346"/>
                <a:gd name="connsiteY421" fmla="*/ 785395 h 2020169"/>
                <a:gd name="connsiteX422" fmla="*/ 654097 w 4011346"/>
                <a:gd name="connsiteY422" fmla="*/ 822104 h 2020169"/>
                <a:gd name="connsiteX423" fmla="*/ 644085 w 4011346"/>
                <a:gd name="connsiteY423" fmla="*/ 798744 h 2020169"/>
                <a:gd name="connsiteX424" fmla="*/ 654097 w 4011346"/>
                <a:gd name="connsiteY424" fmla="*/ 762034 h 2020169"/>
                <a:gd name="connsiteX425" fmla="*/ 614050 w 4011346"/>
                <a:gd name="connsiteY425" fmla="*/ 798744 h 2020169"/>
                <a:gd name="connsiteX426" fmla="*/ 594027 w 4011346"/>
                <a:gd name="connsiteY426" fmla="*/ 798744 h 2020169"/>
                <a:gd name="connsiteX427" fmla="*/ 533957 w 4011346"/>
                <a:gd name="connsiteY427" fmla="*/ 832116 h 2020169"/>
                <a:gd name="connsiteX428" fmla="*/ 510596 w 4011346"/>
                <a:gd name="connsiteY428" fmla="*/ 855477 h 2020169"/>
                <a:gd name="connsiteX429" fmla="*/ 500584 w 4011346"/>
                <a:gd name="connsiteY429" fmla="*/ 902198 h 2020169"/>
                <a:gd name="connsiteX430" fmla="*/ 450526 w 4011346"/>
                <a:gd name="connsiteY430" fmla="*/ 888849 h 2020169"/>
                <a:gd name="connsiteX431" fmla="*/ 433840 w 4011346"/>
                <a:gd name="connsiteY431" fmla="*/ 852139 h 2020169"/>
                <a:gd name="connsiteX432" fmla="*/ 467212 w 4011346"/>
                <a:gd name="connsiteY432" fmla="*/ 822104 h 2020169"/>
                <a:gd name="connsiteX433" fmla="*/ 453863 w 4011346"/>
                <a:gd name="connsiteY433" fmla="*/ 798744 h 2020169"/>
                <a:gd name="connsiteX434" fmla="*/ 390456 w 4011346"/>
                <a:gd name="connsiteY434" fmla="*/ 768709 h 2020169"/>
                <a:gd name="connsiteX435" fmla="*/ 417154 w 4011346"/>
                <a:gd name="connsiteY435" fmla="*/ 818767 h 2020169"/>
                <a:gd name="connsiteX436" fmla="*/ 407142 w 4011346"/>
                <a:gd name="connsiteY436" fmla="*/ 862151 h 2020169"/>
                <a:gd name="connsiteX437" fmla="*/ 413817 w 4011346"/>
                <a:gd name="connsiteY437" fmla="*/ 898861 h 2020169"/>
                <a:gd name="connsiteX438" fmla="*/ 427165 w 4011346"/>
                <a:gd name="connsiteY438" fmla="*/ 922221 h 2020169"/>
                <a:gd name="connsiteX439" fmla="*/ 413817 w 4011346"/>
                <a:gd name="connsiteY439" fmla="*/ 952256 h 2020169"/>
                <a:gd name="connsiteX440" fmla="*/ 390456 w 4011346"/>
                <a:gd name="connsiteY440" fmla="*/ 928896 h 2020169"/>
                <a:gd name="connsiteX441" fmla="*/ 360421 w 4011346"/>
                <a:gd name="connsiteY441" fmla="*/ 925558 h 2020169"/>
                <a:gd name="connsiteX442" fmla="*/ 333723 w 4011346"/>
                <a:gd name="connsiteY442" fmla="*/ 965605 h 2020169"/>
                <a:gd name="connsiteX443" fmla="*/ 307025 w 4011346"/>
                <a:gd name="connsiteY443" fmla="*/ 985628 h 2020169"/>
                <a:gd name="connsiteX444" fmla="*/ 320374 w 4011346"/>
                <a:gd name="connsiteY444" fmla="*/ 1012326 h 2020169"/>
                <a:gd name="connsiteX445" fmla="*/ 303688 w 4011346"/>
                <a:gd name="connsiteY445" fmla="*/ 1035687 h 2020169"/>
                <a:gd name="connsiteX446" fmla="*/ 233606 w 4011346"/>
                <a:gd name="connsiteY446" fmla="*/ 998977 h 2020169"/>
                <a:gd name="connsiteX447" fmla="*/ 243618 w 4011346"/>
                <a:gd name="connsiteY447" fmla="*/ 1049036 h 2020169"/>
                <a:gd name="connsiteX448" fmla="*/ 263641 w 4011346"/>
                <a:gd name="connsiteY448" fmla="*/ 1069059 h 2020169"/>
                <a:gd name="connsiteX449" fmla="*/ 250292 w 4011346"/>
                <a:gd name="connsiteY449" fmla="*/ 1082408 h 2020169"/>
                <a:gd name="connsiteX450" fmla="*/ 193560 w 4011346"/>
                <a:gd name="connsiteY450" fmla="*/ 1045698 h 2020169"/>
                <a:gd name="connsiteX451" fmla="*/ 170199 w 4011346"/>
                <a:gd name="connsiteY451" fmla="*/ 1005652 h 2020169"/>
                <a:gd name="connsiteX452" fmla="*/ 170199 w 4011346"/>
                <a:gd name="connsiteY452" fmla="*/ 958931 h 2020169"/>
                <a:gd name="connsiteX453" fmla="*/ 133490 w 4011346"/>
                <a:gd name="connsiteY453" fmla="*/ 882174 h 2020169"/>
                <a:gd name="connsiteX454" fmla="*/ 196897 w 4011346"/>
                <a:gd name="connsiteY454" fmla="*/ 912209 h 2020169"/>
                <a:gd name="connsiteX455" fmla="*/ 256967 w 4011346"/>
                <a:gd name="connsiteY455" fmla="*/ 942244 h 2020169"/>
                <a:gd name="connsiteX456" fmla="*/ 293676 w 4011346"/>
                <a:gd name="connsiteY456" fmla="*/ 945582 h 2020169"/>
                <a:gd name="connsiteX457" fmla="*/ 327049 w 4011346"/>
                <a:gd name="connsiteY457" fmla="*/ 915547 h 2020169"/>
                <a:gd name="connsiteX458" fmla="*/ 343735 w 4011346"/>
                <a:gd name="connsiteY458" fmla="*/ 878837 h 2020169"/>
                <a:gd name="connsiteX459" fmla="*/ 333723 w 4011346"/>
                <a:gd name="connsiteY459" fmla="*/ 828779 h 2020169"/>
                <a:gd name="connsiteX460" fmla="*/ 290339 w 4011346"/>
                <a:gd name="connsiteY460" fmla="*/ 808755 h 2020169"/>
                <a:gd name="connsiteX461" fmla="*/ 236944 w 4011346"/>
                <a:gd name="connsiteY461" fmla="*/ 762034 h 2020169"/>
                <a:gd name="connsiteX462" fmla="*/ 133490 w 4011346"/>
                <a:gd name="connsiteY462" fmla="*/ 705301 h 202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</a:cxnLst>
              <a:rect l="l" t="t" r="r" b="b"/>
              <a:pathLst>
                <a:path w="4011346" h="2020169">
                  <a:moveTo>
                    <a:pt x="133490" y="705301"/>
                  </a:moveTo>
                  <a:lnTo>
                    <a:pt x="46722" y="735336"/>
                  </a:lnTo>
                  <a:lnTo>
                    <a:pt x="33373" y="765371"/>
                  </a:lnTo>
                  <a:lnTo>
                    <a:pt x="43384" y="795407"/>
                  </a:lnTo>
                  <a:lnTo>
                    <a:pt x="60071" y="822104"/>
                  </a:lnTo>
                  <a:lnTo>
                    <a:pt x="73419" y="852139"/>
                  </a:lnTo>
                  <a:lnTo>
                    <a:pt x="56733" y="875500"/>
                  </a:lnTo>
                  <a:lnTo>
                    <a:pt x="76757" y="955593"/>
                  </a:lnTo>
                  <a:lnTo>
                    <a:pt x="66745" y="972280"/>
                  </a:lnTo>
                  <a:lnTo>
                    <a:pt x="70082" y="998977"/>
                  </a:lnTo>
                  <a:lnTo>
                    <a:pt x="70082" y="1039024"/>
                  </a:lnTo>
                  <a:lnTo>
                    <a:pt x="80094" y="1059047"/>
                  </a:lnTo>
                  <a:lnTo>
                    <a:pt x="76757" y="1082408"/>
                  </a:lnTo>
                  <a:lnTo>
                    <a:pt x="106792" y="1115780"/>
                  </a:lnTo>
                  <a:lnTo>
                    <a:pt x="93729" y="1145815"/>
                  </a:lnTo>
                  <a:lnTo>
                    <a:pt x="13349" y="1235920"/>
                  </a:lnTo>
                  <a:lnTo>
                    <a:pt x="33373" y="1269293"/>
                  </a:lnTo>
                  <a:lnTo>
                    <a:pt x="33373" y="1269293"/>
                  </a:lnTo>
                  <a:lnTo>
                    <a:pt x="16687" y="1299328"/>
                  </a:lnTo>
                  <a:lnTo>
                    <a:pt x="3338" y="1329363"/>
                  </a:lnTo>
                  <a:lnTo>
                    <a:pt x="0" y="1389433"/>
                  </a:lnTo>
                  <a:lnTo>
                    <a:pt x="16687" y="1432817"/>
                  </a:lnTo>
                  <a:lnTo>
                    <a:pt x="20024" y="1466189"/>
                  </a:lnTo>
                  <a:lnTo>
                    <a:pt x="56733" y="1476201"/>
                  </a:lnTo>
                  <a:lnTo>
                    <a:pt x="116803" y="1562969"/>
                  </a:lnTo>
                  <a:lnTo>
                    <a:pt x="96780" y="1586329"/>
                  </a:lnTo>
                  <a:lnTo>
                    <a:pt x="93443" y="1616364"/>
                  </a:lnTo>
                  <a:lnTo>
                    <a:pt x="120141" y="1619701"/>
                  </a:lnTo>
                  <a:lnTo>
                    <a:pt x="160187" y="1633050"/>
                  </a:lnTo>
                  <a:lnTo>
                    <a:pt x="186885" y="1646399"/>
                  </a:lnTo>
                  <a:lnTo>
                    <a:pt x="213583" y="1676434"/>
                  </a:lnTo>
                  <a:lnTo>
                    <a:pt x="243618" y="1679771"/>
                  </a:lnTo>
                  <a:lnTo>
                    <a:pt x="287002" y="1709807"/>
                  </a:lnTo>
                  <a:lnTo>
                    <a:pt x="310363" y="1719818"/>
                  </a:lnTo>
                  <a:lnTo>
                    <a:pt x="310363" y="1756528"/>
                  </a:lnTo>
                  <a:lnTo>
                    <a:pt x="270316" y="1796574"/>
                  </a:lnTo>
                  <a:lnTo>
                    <a:pt x="280327" y="1819935"/>
                  </a:lnTo>
                  <a:lnTo>
                    <a:pt x="273653" y="1839958"/>
                  </a:lnTo>
                  <a:lnTo>
                    <a:pt x="266979" y="1856644"/>
                  </a:lnTo>
                  <a:lnTo>
                    <a:pt x="240281" y="1896691"/>
                  </a:lnTo>
                  <a:lnTo>
                    <a:pt x="307025" y="1933401"/>
                  </a:lnTo>
                  <a:lnTo>
                    <a:pt x="337060" y="1940075"/>
                  </a:lnTo>
                  <a:lnTo>
                    <a:pt x="360421" y="1946750"/>
                  </a:lnTo>
                  <a:lnTo>
                    <a:pt x="380444" y="1953424"/>
                  </a:lnTo>
                  <a:lnTo>
                    <a:pt x="407142" y="1973447"/>
                  </a:lnTo>
                  <a:lnTo>
                    <a:pt x="437177" y="1970110"/>
                  </a:lnTo>
                  <a:lnTo>
                    <a:pt x="507259" y="2020169"/>
                  </a:lnTo>
                  <a:lnTo>
                    <a:pt x="517271" y="2006820"/>
                  </a:lnTo>
                  <a:lnTo>
                    <a:pt x="507259" y="1966773"/>
                  </a:lnTo>
                  <a:lnTo>
                    <a:pt x="500584" y="1933401"/>
                  </a:lnTo>
                  <a:lnTo>
                    <a:pt x="483898" y="1890017"/>
                  </a:lnTo>
                  <a:lnTo>
                    <a:pt x="513933" y="1869993"/>
                  </a:lnTo>
                  <a:lnTo>
                    <a:pt x="547306" y="1846633"/>
                  </a:lnTo>
                  <a:lnTo>
                    <a:pt x="527282" y="1829947"/>
                  </a:lnTo>
                  <a:lnTo>
                    <a:pt x="517271" y="1796574"/>
                  </a:lnTo>
                  <a:lnTo>
                    <a:pt x="480561" y="1779888"/>
                  </a:lnTo>
                  <a:lnTo>
                    <a:pt x="470549" y="1759865"/>
                  </a:lnTo>
                  <a:lnTo>
                    <a:pt x="480561" y="1729830"/>
                  </a:lnTo>
                  <a:lnTo>
                    <a:pt x="490573" y="1689783"/>
                  </a:lnTo>
                  <a:lnTo>
                    <a:pt x="513933" y="1709807"/>
                  </a:lnTo>
                  <a:lnTo>
                    <a:pt x="520608" y="1693120"/>
                  </a:lnTo>
                  <a:lnTo>
                    <a:pt x="543968" y="1656411"/>
                  </a:lnTo>
                  <a:lnTo>
                    <a:pt x="574003" y="1639725"/>
                  </a:lnTo>
                  <a:lnTo>
                    <a:pt x="590690" y="1653074"/>
                  </a:lnTo>
                  <a:lnTo>
                    <a:pt x="610713" y="1626376"/>
                  </a:lnTo>
                  <a:lnTo>
                    <a:pt x="630736" y="1653074"/>
                  </a:lnTo>
                  <a:lnTo>
                    <a:pt x="657434" y="1676434"/>
                  </a:lnTo>
                  <a:lnTo>
                    <a:pt x="674120" y="1683109"/>
                  </a:lnTo>
                  <a:lnTo>
                    <a:pt x="697481" y="1683109"/>
                  </a:lnTo>
                  <a:lnTo>
                    <a:pt x="717504" y="1669760"/>
                  </a:lnTo>
                  <a:lnTo>
                    <a:pt x="744202" y="1669760"/>
                  </a:lnTo>
                  <a:lnTo>
                    <a:pt x="760888" y="1666423"/>
                  </a:lnTo>
                  <a:lnTo>
                    <a:pt x="790923" y="1699795"/>
                  </a:lnTo>
                  <a:lnTo>
                    <a:pt x="797598" y="1673097"/>
                  </a:lnTo>
                  <a:lnTo>
                    <a:pt x="817621" y="1689783"/>
                  </a:lnTo>
                  <a:lnTo>
                    <a:pt x="837644" y="1666423"/>
                  </a:lnTo>
                  <a:lnTo>
                    <a:pt x="827633" y="1646399"/>
                  </a:lnTo>
                  <a:lnTo>
                    <a:pt x="810946" y="1633050"/>
                  </a:lnTo>
                  <a:lnTo>
                    <a:pt x="810946" y="1606353"/>
                  </a:lnTo>
                  <a:lnTo>
                    <a:pt x="810946" y="1593004"/>
                  </a:lnTo>
                  <a:lnTo>
                    <a:pt x="830970" y="1589666"/>
                  </a:lnTo>
                  <a:lnTo>
                    <a:pt x="840981" y="1586329"/>
                  </a:lnTo>
                  <a:lnTo>
                    <a:pt x="820958" y="1549620"/>
                  </a:lnTo>
                  <a:lnTo>
                    <a:pt x="854330" y="1542945"/>
                  </a:lnTo>
                  <a:lnTo>
                    <a:pt x="891040" y="1549620"/>
                  </a:lnTo>
                  <a:lnTo>
                    <a:pt x="964459" y="1506236"/>
                  </a:lnTo>
                  <a:lnTo>
                    <a:pt x="1001168" y="1506236"/>
                  </a:lnTo>
                  <a:lnTo>
                    <a:pt x="1027866" y="1482875"/>
                  </a:lnTo>
                  <a:lnTo>
                    <a:pt x="1047890" y="1492887"/>
                  </a:lnTo>
                  <a:lnTo>
                    <a:pt x="1067913" y="1502898"/>
                  </a:lnTo>
                  <a:lnTo>
                    <a:pt x="1087936" y="1529596"/>
                  </a:lnTo>
                  <a:lnTo>
                    <a:pt x="1074587" y="1542945"/>
                  </a:lnTo>
                  <a:lnTo>
                    <a:pt x="1104622" y="1542945"/>
                  </a:lnTo>
                  <a:lnTo>
                    <a:pt x="1107960" y="1559631"/>
                  </a:lnTo>
                  <a:lnTo>
                    <a:pt x="1121309" y="1542945"/>
                  </a:lnTo>
                  <a:lnTo>
                    <a:pt x="1134657" y="1556294"/>
                  </a:lnTo>
                  <a:lnTo>
                    <a:pt x="1134657" y="1576317"/>
                  </a:lnTo>
                  <a:lnTo>
                    <a:pt x="1148006" y="1572980"/>
                  </a:lnTo>
                  <a:lnTo>
                    <a:pt x="1208076" y="1526259"/>
                  </a:lnTo>
                  <a:lnTo>
                    <a:pt x="1211414" y="1546282"/>
                  </a:lnTo>
                  <a:lnTo>
                    <a:pt x="1244786" y="1566306"/>
                  </a:lnTo>
                  <a:lnTo>
                    <a:pt x="1264809" y="1596341"/>
                  </a:lnTo>
                  <a:lnTo>
                    <a:pt x="1298181" y="1703132"/>
                  </a:lnTo>
                  <a:lnTo>
                    <a:pt x="1308193" y="1659748"/>
                  </a:lnTo>
                  <a:lnTo>
                    <a:pt x="1344903" y="1679771"/>
                  </a:lnTo>
                  <a:lnTo>
                    <a:pt x="1388287" y="1679771"/>
                  </a:lnTo>
                  <a:lnTo>
                    <a:pt x="1394961" y="1703132"/>
                  </a:lnTo>
                  <a:lnTo>
                    <a:pt x="1435008" y="1726493"/>
                  </a:lnTo>
                  <a:lnTo>
                    <a:pt x="1465043" y="1726493"/>
                  </a:lnTo>
                  <a:lnTo>
                    <a:pt x="1491741" y="1739842"/>
                  </a:lnTo>
                  <a:lnTo>
                    <a:pt x="1535125" y="1696458"/>
                  </a:lnTo>
                  <a:lnTo>
                    <a:pt x="1571834" y="1676434"/>
                  </a:lnTo>
                  <a:lnTo>
                    <a:pt x="1608544" y="1679771"/>
                  </a:lnTo>
                  <a:lnTo>
                    <a:pt x="1655265" y="1693120"/>
                  </a:lnTo>
                  <a:lnTo>
                    <a:pt x="1681963" y="1709807"/>
                  </a:lnTo>
                  <a:lnTo>
                    <a:pt x="1735358" y="1703132"/>
                  </a:lnTo>
                  <a:lnTo>
                    <a:pt x="1745370" y="1683109"/>
                  </a:lnTo>
                  <a:lnTo>
                    <a:pt x="1738695" y="1663085"/>
                  </a:lnTo>
                  <a:lnTo>
                    <a:pt x="1765393" y="1636388"/>
                  </a:lnTo>
                  <a:lnTo>
                    <a:pt x="1778742" y="1633050"/>
                  </a:lnTo>
                  <a:lnTo>
                    <a:pt x="1812114" y="1649736"/>
                  </a:lnTo>
                  <a:lnTo>
                    <a:pt x="1852161" y="1663085"/>
                  </a:lnTo>
                  <a:lnTo>
                    <a:pt x="1858836" y="1689783"/>
                  </a:lnTo>
                  <a:lnTo>
                    <a:pt x="1872184" y="1696458"/>
                  </a:lnTo>
                  <a:lnTo>
                    <a:pt x="1902219" y="1699795"/>
                  </a:lnTo>
                  <a:lnTo>
                    <a:pt x="1932254" y="1683109"/>
                  </a:lnTo>
                  <a:lnTo>
                    <a:pt x="1962290" y="1696458"/>
                  </a:lnTo>
                  <a:lnTo>
                    <a:pt x="1985650" y="1709807"/>
                  </a:lnTo>
                  <a:lnTo>
                    <a:pt x="1995662" y="1719818"/>
                  </a:lnTo>
                  <a:lnTo>
                    <a:pt x="2032371" y="1739842"/>
                  </a:lnTo>
                  <a:lnTo>
                    <a:pt x="2069081" y="1736504"/>
                  </a:lnTo>
                  <a:lnTo>
                    <a:pt x="2142500" y="1693120"/>
                  </a:lnTo>
                  <a:lnTo>
                    <a:pt x="2195895" y="1706469"/>
                  </a:lnTo>
                  <a:lnTo>
                    <a:pt x="2225930" y="1716481"/>
                  </a:lnTo>
                  <a:lnTo>
                    <a:pt x="2259303" y="1703132"/>
                  </a:lnTo>
                  <a:lnTo>
                    <a:pt x="2262640" y="1676434"/>
                  </a:lnTo>
                  <a:lnTo>
                    <a:pt x="2282663" y="1646399"/>
                  </a:lnTo>
                  <a:lnTo>
                    <a:pt x="2299349" y="1593004"/>
                  </a:lnTo>
                  <a:lnTo>
                    <a:pt x="2282663" y="1596341"/>
                  </a:lnTo>
                  <a:lnTo>
                    <a:pt x="2312698" y="1569643"/>
                  </a:lnTo>
                  <a:lnTo>
                    <a:pt x="2339396" y="1566306"/>
                  </a:lnTo>
                  <a:lnTo>
                    <a:pt x="2396129" y="1576317"/>
                  </a:lnTo>
                  <a:lnTo>
                    <a:pt x="2436176" y="1603015"/>
                  </a:lnTo>
                  <a:lnTo>
                    <a:pt x="2462873" y="1633050"/>
                  </a:lnTo>
                  <a:lnTo>
                    <a:pt x="2469548" y="1669760"/>
                  </a:lnTo>
                  <a:lnTo>
                    <a:pt x="2476222" y="1709807"/>
                  </a:lnTo>
                  <a:lnTo>
                    <a:pt x="2486234" y="1729830"/>
                  </a:lnTo>
                  <a:lnTo>
                    <a:pt x="2529618" y="1743179"/>
                  </a:lnTo>
                  <a:lnTo>
                    <a:pt x="2549641" y="1763202"/>
                  </a:lnTo>
                  <a:lnTo>
                    <a:pt x="2562990" y="1796574"/>
                  </a:lnTo>
                  <a:lnTo>
                    <a:pt x="2586351" y="1789900"/>
                  </a:lnTo>
                  <a:lnTo>
                    <a:pt x="2606374" y="1779888"/>
                  </a:lnTo>
                  <a:lnTo>
                    <a:pt x="2639746" y="1763202"/>
                  </a:lnTo>
                  <a:lnTo>
                    <a:pt x="2643084" y="1779888"/>
                  </a:lnTo>
                  <a:lnTo>
                    <a:pt x="2626398" y="1809923"/>
                  </a:lnTo>
                  <a:lnTo>
                    <a:pt x="2616386" y="1846633"/>
                  </a:lnTo>
                  <a:lnTo>
                    <a:pt x="2603037" y="1900028"/>
                  </a:lnTo>
                  <a:lnTo>
                    <a:pt x="2579676" y="1873331"/>
                  </a:lnTo>
                  <a:lnTo>
                    <a:pt x="2552979" y="1896691"/>
                  </a:lnTo>
                  <a:lnTo>
                    <a:pt x="2559653" y="1923389"/>
                  </a:lnTo>
                  <a:lnTo>
                    <a:pt x="2559653" y="1960098"/>
                  </a:lnTo>
                  <a:lnTo>
                    <a:pt x="2549641" y="1980122"/>
                  </a:lnTo>
                  <a:lnTo>
                    <a:pt x="2589688" y="1960098"/>
                  </a:lnTo>
                  <a:lnTo>
                    <a:pt x="2626398" y="1970110"/>
                  </a:lnTo>
                  <a:lnTo>
                    <a:pt x="2653095" y="1946750"/>
                  </a:lnTo>
                  <a:lnTo>
                    <a:pt x="2683130" y="1893354"/>
                  </a:lnTo>
                  <a:lnTo>
                    <a:pt x="2753212" y="1806586"/>
                  </a:lnTo>
                  <a:lnTo>
                    <a:pt x="2783247" y="1736504"/>
                  </a:lnTo>
                  <a:lnTo>
                    <a:pt x="2803271" y="1633050"/>
                  </a:lnTo>
                  <a:lnTo>
                    <a:pt x="2793259" y="1582992"/>
                  </a:lnTo>
                  <a:lnTo>
                    <a:pt x="2769898" y="1549620"/>
                  </a:lnTo>
                  <a:lnTo>
                    <a:pt x="2726514" y="1549620"/>
                  </a:lnTo>
                  <a:lnTo>
                    <a:pt x="2699817" y="1549620"/>
                  </a:lnTo>
                  <a:lnTo>
                    <a:pt x="2683130" y="1529596"/>
                  </a:lnTo>
                  <a:lnTo>
                    <a:pt x="2669781" y="1509573"/>
                  </a:lnTo>
                  <a:lnTo>
                    <a:pt x="2763224" y="1392770"/>
                  </a:lnTo>
                  <a:lnTo>
                    <a:pt x="2846654" y="1326026"/>
                  </a:lnTo>
                  <a:lnTo>
                    <a:pt x="2890038" y="1302665"/>
                  </a:lnTo>
                  <a:lnTo>
                    <a:pt x="2933422" y="1322688"/>
                  </a:lnTo>
                  <a:lnTo>
                    <a:pt x="2950109" y="1306002"/>
                  </a:lnTo>
                  <a:lnTo>
                    <a:pt x="2993492" y="1322688"/>
                  </a:lnTo>
                  <a:lnTo>
                    <a:pt x="3006841" y="1289316"/>
                  </a:lnTo>
                  <a:lnTo>
                    <a:pt x="3053563" y="1299328"/>
                  </a:lnTo>
                  <a:lnTo>
                    <a:pt x="3070249" y="1316014"/>
                  </a:lnTo>
                  <a:lnTo>
                    <a:pt x="3060237" y="1336037"/>
                  </a:lnTo>
                  <a:lnTo>
                    <a:pt x="3123644" y="1319351"/>
                  </a:lnTo>
                  <a:lnTo>
                    <a:pt x="3140330" y="1306002"/>
                  </a:lnTo>
                  <a:lnTo>
                    <a:pt x="3123644" y="1292653"/>
                  </a:lnTo>
                  <a:lnTo>
                    <a:pt x="3143668" y="1252607"/>
                  </a:lnTo>
                  <a:lnTo>
                    <a:pt x="3190389" y="1182525"/>
                  </a:lnTo>
                  <a:lnTo>
                    <a:pt x="3233773" y="1179188"/>
                  </a:lnTo>
                  <a:lnTo>
                    <a:pt x="3273819" y="1189199"/>
                  </a:lnTo>
                  <a:lnTo>
                    <a:pt x="3277157" y="1245932"/>
                  </a:lnTo>
                  <a:lnTo>
                    <a:pt x="3320541" y="1202548"/>
                  </a:lnTo>
                  <a:lnTo>
                    <a:pt x="3343901" y="1185862"/>
                  </a:lnTo>
                  <a:lnTo>
                    <a:pt x="3350576" y="1152490"/>
                  </a:lnTo>
                  <a:lnTo>
                    <a:pt x="3377273" y="1135804"/>
                  </a:lnTo>
                  <a:lnTo>
                    <a:pt x="3407309" y="1145815"/>
                  </a:lnTo>
                  <a:lnTo>
                    <a:pt x="3373936" y="1175850"/>
                  </a:lnTo>
                  <a:lnTo>
                    <a:pt x="3360587" y="1225909"/>
                  </a:lnTo>
                  <a:lnTo>
                    <a:pt x="3323878" y="1265955"/>
                  </a:lnTo>
                  <a:lnTo>
                    <a:pt x="3210412" y="1362735"/>
                  </a:lnTo>
                  <a:lnTo>
                    <a:pt x="3163691" y="1432817"/>
                  </a:lnTo>
                  <a:lnTo>
                    <a:pt x="3160354" y="1506236"/>
                  </a:lnTo>
                  <a:lnTo>
                    <a:pt x="3170365" y="1596341"/>
                  </a:lnTo>
                  <a:lnTo>
                    <a:pt x="3190389" y="1659748"/>
                  </a:lnTo>
                  <a:lnTo>
                    <a:pt x="3217087" y="1649736"/>
                  </a:lnTo>
                  <a:lnTo>
                    <a:pt x="3240447" y="1582992"/>
                  </a:lnTo>
                  <a:lnTo>
                    <a:pt x="3270482" y="1579655"/>
                  </a:lnTo>
                  <a:lnTo>
                    <a:pt x="3287168" y="1519585"/>
                  </a:lnTo>
                  <a:lnTo>
                    <a:pt x="3313866" y="1509573"/>
                  </a:lnTo>
                  <a:lnTo>
                    <a:pt x="3313866" y="1479538"/>
                  </a:lnTo>
                  <a:lnTo>
                    <a:pt x="3337227" y="1442828"/>
                  </a:lnTo>
                  <a:lnTo>
                    <a:pt x="3330552" y="1399444"/>
                  </a:lnTo>
                  <a:lnTo>
                    <a:pt x="3333890" y="1369409"/>
                  </a:lnTo>
                  <a:lnTo>
                    <a:pt x="3323878" y="1359398"/>
                  </a:lnTo>
                  <a:lnTo>
                    <a:pt x="3363925" y="1272630"/>
                  </a:lnTo>
                  <a:lnTo>
                    <a:pt x="3383948" y="1282642"/>
                  </a:lnTo>
                  <a:lnTo>
                    <a:pt x="3410646" y="1255944"/>
                  </a:lnTo>
                  <a:lnTo>
                    <a:pt x="3420657" y="1282642"/>
                  </a:lnTo>
                  <a:lnTo>
                    <a:pt x="3447355" y="1265955"/>
                  </a:lnTo>
                  <a:lnTo>
                    <a:pt x="3477390" y="1255944"/>
                  </a:lnTo>
                  <a:lnTo>
                    <a:pt x="3514100" y="1282642"/>
                  </a:lnTo>
                  <a:lnTo>
                    <a:pt x="3574170" y="1215897"/>
                  </a:lnTo>
                  <a:lnTo>
                    <a:pt x="3637577" y="1169176"/>
                  </a:lnTo>
                  <a:lnTo>
                    <a:pt x="3690973" y="1132466"/>
                  </a:lnTo>
                  <a:lnTo>
                    <a:pt x="3741031" y="1159164"/>
                  </a:lnTo>
                  <a:lnTo>
                    <a:pt x="3751043" y="1132466"/>
                  </a:lnTo>
                  <a:lnTo>
                    <a:pt x="3727682" y="1065722"/>
                  </a:lnTo>
                  <a:lnTo>
                    <a:pt x="3700984" y="1049036"/>
                  </a:lnTo>
                  <a:lnTo>
                    <a:pt x="3697647" y="1019001"/>
                  </a:lnTo>
                  <a:lnTo>
                    <a:pt x="3751043" y="1025675"/>
                  </a:lnTo>
                  <a:lnTo>
                    <a:pt x="3774403" y="982291"/>
                  </a:lnTo>
                  <a:lnTo>
                    <a:pt x="3767729" y="955593"/>
                  </a:lnTo>
                  <a:lnTo>
                    <a:pt x="3794427" y="922221"/>
                  </a:lnTo>
                  <a:lnTo>
                    <a:pt x="3804438" y="965605"/>
                  </a:lnTo>
                  <a:lnTo>
                    <a:pt x="3827799" y="982291"/>
                  </a:lnTo>
                  <a:lnTo>
                    <a:pt x="3874520" y="1002315"/>
                  </a:lnTo>
                  <a:lnTo>
                    <a:pt x="3894544" y="1029012"/>
                  </a:lnTo>
                  <a:lnTo>
                    <a:pt x="3941265" y="1052373"/>
                  </a:lnTo>
                  <a:lnTo>
                    <a:pt x="3947939" y="1039024"/>
                  </a:lnTo>
                  <a:lnTo>
                    <a:pt x="3957951" y="975617"/>
                  </a:lnTo>
                  <a:lnTo>
                    <a:pt x="4004672" y="968942"/>
                  </a:lnTo>
                  <a:lnTo>
                    <a:pt x="4011346" y="935570"/>
                  </a:lnTo>
                  <a:lnTo>
                    <a:pt x="3967963" y="898861"/>
                  </a:lnTo>
                  <a:lnTo>
                    <a:pt x="3921241" y="882174"/>
                  </a:lnTo>
                  <a:lnTo>
                    <a:pt x="3907892" y="885512"/>
                  </a:lnTo>
                  <a:lnTo>
                    <a:pt x="3907892" y="918884"/>
                  </a:lnTo>
                  <a:lnTo>
                    <a:pt x="3887869" y="912209"/>
                  </a:lnTo>
                  <a:lnTo>
                    <a:pt x="3874520" y="858814"/>
                  </a:lnTo>
                  <a:lnTo>
                    <a:pt x="3817787" y="795407"/>
                  </a:lnTo>
                  <a:lnTo>
                    <a:pt x="3717671" y="718650"/>
                  </a:lnTo>
                  <a:lnTo>
                    <a:pt x="3664275" y="698627"/>
                  </a:lnTo>
                  <a:lnTo>
                    <a:pt x="3584181" y="691953"/>
                  </a:lnTo>
                  <a:lnTo>
                    <a:pt x="3520774" y="675266"/>
                  </a:lnTo>
                  <a:lnTo>
                    <a:pt x="3530786" y="715313"/>
                  </a:lnTo>
                  <a:lnTo>
                    <a:pt x="3537460" y="742011"/>
                  </a:lnTo>
                  <a:lnTo>
                    <a:pt x="3507425" y="765371"/>
                  </a:lnTo>
                  <a:lnTo>
                    <a:pt x="3477390" y="738674"/>
                  </a:lnTo>
                  <a:lnTo>
                    <a:pt x="3477390" y="718650"/>
                  </a:lnTo>
                  <a:lnTo>
                    <a:pt x="3504088" y="698627"/>
                  </a:lnTo>
                  <a:lnTo>
                    <a:pt x="3467379" y="685278"/>
                  </a:lnTo>
                  <a:lnTo>
                    <a:pt x="3450692" y="711976"/>
                  </a:lnTo>
                  <a:lnTo>
                    <a:pt x="3440681" y="725325"/>
                  </a:lnTo>
                  <a:lnTo>
                    <a:pt x="3357250" y="711976"/>
                  </a:lnTo>
                  <a:lnTo>
                    <a:pt x="3297180" y="718650"/>
                  </a:lnTo>
                  <a:lnTo>
                    <a:pt x="3267145" y="695290"/>
                  </a:lnTo>
                  <a:lnTo>
                    <a:pt x="3267145" y="658580"/>
                  </a:lnTo>
                  <a:lnTo>
                    <a:pt x="3203738" y="601847"/>
                  </a:lnTo>
                  <a:lnTo>
                    <a:pt x="3076923" y="608522"/>
                  </a:lnTo>
                  <a:lnTo>
                    <a:pt x="3043551" y="585161"/>
                  </a:lnTo>
                  <a:lnTo>
                    <a:pt x="3000167" y="538440"/>
                  </a:lnTo>
                  <a:lnTo>
                    <a:pt x="3013516" y="531766"/>
                  </a:lnTo>
                  <a:lnTo>
                    <a:pt x="3000167" y="511742"/>
                  </a:lnTo>
                  <a:lnTo>
                    <a:pt x="2970132" y="508405"/>
                  </a:lnTo>
                  <a:lnTo>
                    <a:pt x="2920073" y="555126"/>
                  </a:lnTo>
                  <a:lnTo>
                    <a:pt x="2920073" y="555126"/>
                  </a:lnTo>
                  <a:lnTo>
                    <a:pt x="2916736" y="505068"/>
                  </a:lnTo>
                  <a:lnTo>
                    <a:pt x="2936760" y="501731"/>
                  </a:lnTo>
                  <a:lnTo>
                    <a:pt x="2866678" y="471696"/>
                  </a:lnTo>
                  <a:lnTo>
                    <a:pt x="2813282" y="468358"/>
                  </a:lnTo>
                  <a:lnTo>
                    <a:pt x="2793259" y="491719"/>
                  </a:lnTo>
                  <a:lnTo>
                    <a:pt x="2743200" y="501731"/>
                  </a:lnTo>
                  <a:lnTo>
                    <a:pt x="2786584" y="511742"/>
                  </a:lnTo>
                  <a:lnTo>
                    <a:pt x="2763224" y="531766"/>
                  </a:lnTo>
                  <a:lnTo>
                    <a:pt x="2769898" y="581824"/>
                  </a:lnTo>
                  <a:lnTo>
                    <a:pt x="2749875" y="565138"/>
                  </a:lnTo>
                  <a:lnTo>
                    <a:pt x="2733189" y="578487"/>
                  </a:lnTo>
                  <a:lnTo>
                    <a:pt x="2666444" y="568475"/>
                  </a:lnTo>
                  <a:lnTo>
                    <a:pt x="2636409" y="578487"/>
                  </a:lnTo>
                  <a:lnTo>
                    <a:pt x="2603037" y="538440"/>
                  </a:lnTo>
                  <a:lnTo>
                    <a:pt x="2569665" y="621871"/>
                  </a:lnTo>
                  <a:lnTo>
                    <a:pt x="2552979" y="641894"/>
                  </a:lnTo>
                  <a:lnTo>
                    <a:pt x="2469548" y="505068"/>
                  </a:lnTo>
                  <a:lnTo>
                    <a:pt x="2446187" y="521754"/>
                  </a:lnTo>
                  <a:lnTo>
                    <a:pt x="2442850" y="488382"/>
                  </a:lnTo>
                  <a:lnTo>
                    <a:pt x="2449525" y="418300"/>
                  </a:lnTo>
                  <a:lnTo>
                    <a:pt x="2386117" y="391602"/>
                  </a:lnTo>
                  <a:lnTo>
                    <a:pt x="2369431" y="431649"/>
                  </a:lnTo>
                  <a:lnTo>
                    <a:pt x="2379443" y="455009"/>
                  </a:lnTo>
                  <a:lnTo>
                    <a:pt x="2376106" y="475033"/>
                  </a:lnTo>
                  <a:lnTo>
                    <a:pt x="2352745" y="451672"/>
                  </a:lnTo>
                  <a:lnTo>
                    <a:pt x="2316036" y="458347"/>
                  </a:lnTo>
                  <a:lnTo>
                    <a:pt x="2272652" y="444998"/>
                  </a:lnTo>
                  <a:lnTo>
                    <a:pt x="2245954" y="404951"/>
                  </a:lnTo>
                  <a:lnTo>
                    <a:pt x="2209244" y="401614"/>
                  </a:lnTo>
                  <a:lnTo>
                    <a:pt x="2159186" y="391602"/>
                  </a:lnTo>
                  <a:lnTo>
                    <a:pt x="2132488" y="408288"/>
                  </a:lnTo>
                  <a:lnTo>
                    <a:pt x="2115802" y="421637"/>
                  </a:lnTo>
                  <a:lnTo>
                    <a:pt x="2115802" y="391602"/>
                  </a:lnTo>
                  <a:lnTo>
                    <a:pt x="2082430" y="388265"/>
                  </a:lnTo>
                  <a:lnTo>
                    <a:pt x="2045720" y="361567"/>
                  </a:lnTo>
                  <a:lnTo>
                    <a:pt x="2025697" y="391602"/>
                  </a:lnTo>
                  <a:lnTo>
                    <a:pt x="2055732" y="388265"/>
                  </a:lnTo>
                  <a:lnTo>
                    <a:pt x="2045720" y="414963"/>
                  </a:lnTo>
                  <a:lnTo>
                    <a:pt x="1988987" y="434986"/>
                  </a:lnTo>
                  <a:lnTo>
                    <a:pt x="1935592" y="444998"/>
                  </a:lnTo>
                  <a:lnTo>
                    <a:pt x="1995662" y="388265"/>
                  </a:lnTo>
                  <a:lnTo>
                    <a:pt x="2055732" y="318183"/>
                  </a:lnTo>
                  <a:lnTo>
                    <a:pt x="2055732" y="318183"/>
                  </a:lnTo>
                  <a:lnTo>
                    <a:pt x="2129860" y="248603"/>
                  </a:lnTo>
                  <a:lnTo>
                    <a:pt x="2127003" y="174309"/>
                  </a:lnTo>
                  <a:lnTo>
                    <a:pt x="2092713" y="105729"/>
                  </a:lnTo>
                  <a:lnTo>
                    <a:pt x="2018418" y="105729"/>
                  </a:lnTo>
                  <a:lnTo>
                    <a:pt x="1952696" y="137160"/>
                  </a:lnTo>
                  <a:lnTo>
                    <a:pt x="1961267" y="82869"/>
                  </a:lnTo>
                  <a:lnTo>
                    <a:pt x="1955552" y="65725"/>
                  </a:lnTo>
                  <a:lnTo>
                    <a:pt x="1895546" y="60008"/>
                  </a:lnTo>
                  <a:lnTo>
                    <a:pt x="1926978" y="31434"/>
                  </a:lnTo>
                  <a:cubicBezTo>
                    <a:pt x="1927930" y="-952"/>
                    <a:pt x="1908881" y="32386"/>
                    <a:pt x="1909833" y="0"/>
                  </a:cubicBezTo>
                  <a:lnTo>
                    <a:pt x="1877440" y="3067"/>
                  </a:lnTo>
                  <a:lnTo>
                    <a:pt x="1835474" y="41195"/>
                  </a:lnTo>
                  <a:lnTo>
                    <a:pt x="1818788" y="81242"/>
                  </a:lnTo>
                  <a:cubicBezTo>
                    <a:pt x="1818788" y="101265"/>
                    <a:pt x="1838813" y="114613"/>
                    <a:pt x="1838813" y="134636"/>
                  </a:cubicBezTo>
                  <a:lnTo>
                    <a:pt x="1782079" y="121287"/>
                  </a:lnTo>
                  <a:lnTo>
                    <a:pt x="1768731" y="168009"/>
                  </a:lnTo>
                  <a:lnTo>
                    <a:pt x="1705322" y="191369"/>
                  </a:lnTo>
                  <a:lnTo>
                    <a:pt x="1685300" y="164671"/>
                  </a:lnTo>
                  <a:lnTo>
                    <a:pt x="1615218" y="168009"/>
                  </a:lnTo>
                  <a:lnTo>
                    <a:pt x="1638579" y="198044"/>
                  </a:lnTo>
                  <a:lnTo>
                    <a:pt x="1528449" y="224740"/>
                  </a:lnTo>
                  <a:lnTo>
                    <a:pt x="1465043" y="308171"/>
                  </a:lnTo>
                  <a:lnTo>
                    <a:pt x="1448357" y="334869"/>
                  </a:lnTo>
                  <a:lnTo>
                    <a:pt x="1481729" y="368242"/>
                  </a:lnTo>
                  <a:lnTo>
                    <a:pt x="1481729" y="398277"/>
                  </a:lnTo>
                  <a:lnTo>
                    <a:pt x="1458368" y="401614"/>
                  </a:lnTo>
                  <a:lnTo>
                    <a:pt x="1458368" y="381590"/>
                  </a:lnTo>
                  <a:lnTo>
                    <a:pt x="1418322" y="391602"/>
                  </a:lnTo>
                  <a:lnTo>
                    <a:pt x="1368263" y="398277"/>
                  </a:lnTo>
                  <a:lnTo>
                    <a:pt x="1321542" y="404951"/>
                  </a:lnTo>
                  <a:lnTo>
                    <a:pt x="1318205" y="491719"/>
                  </a:lnTo>
                  <a:lnTo>
                    <a:pt x="1358252" y="515080"/>
                  </a:lnTo>
                  <a:lnTo>
                    <a:pt x="1374938" y="545115"/>
                  </a:lnTo>
                  <a:lnTo>
                    <a:pt x="1384949" y="568475"/>
                  </a:lnTo>
                  <a:lnTo>
                    <a:pt x="1394961" y="618534"/>
                  </a:lnTo>
                  <a:lnTo>
                    <a:pt x="1384949" y="648569"/>
                  </a:lnTo>
                  <a:lnTo>
                    <a:pt x="1358252" y="615196"/>
                  </a:lnTo>
                  <a:lnTo>
                    <a:pt x="1361589" y="585161"/>
                  </a:lnTo>
                  <a:lnTo>
                    <a:pt x="1351577" y="545115"/>
                  </a:lnTo>
                  <a:lnTo>
                    <a:pt x="1328217" y="551789"/>
                  </a:lnTo>
                  <a:lnTo>
                    <a:pt x="1281495" y="515080"/>
                  </a:lnTo>
                  <a:lnTo>
                    <a:pt x="1241449" y="511742"/>
                  </a:lnTo>
                  <a:lnTo>
                    <a:pt x="1241449" y="558463"/>
                  </a:lnTo>
                  <a:lnTo>
                    <a:pt x="1201402" y="538440"/>
                  </a:lnTo>
                  <a:lnTo>
                    <a:pt x="1228100" y="588498"/>
                  </a:lnTo>
                  <a:lnTo>
                    <a:pt x="1258135" y="598510"/>
                  </a:lnTo>
                  <a:lnTo>
                    <a:pt x="1258135" y="618534"/>
                  </a:lnTo>
                  <a:lnTo>
                    <a:pt x="1198065" y="595173"/>
                  </a:lnTo>
                  <a:lnTo>
                    <a:pt x="1181379" y="595173"/>
                  </a:lnTo>
                  <a:lnTo>
                    <a:pt x="1178041" y="551789"/>
                  </a:lnTo>
                  <a:lnTo>
                    <a:pt x="1171367" y="465021"/>
                  </a:lnTo>
                  <a:lnTo>
                    <a:pt x="1161355" y="535103"/>
                  </a:lnTo>
                  <a:lnTo>
                    <a:pt x="1137995" y="565138"/>
                  </a:lnTo>
                  <a:lnTo>
                    <a:pt x="1158018" y="611859"/>
                  </a:lnTo>
                  <a:lnTo>
                    <a:pt x="1158018" y="645231"/>
                  </a:lnTo>
                  <a:lnTo>
                    <a:pt x="1141332" y="695290"/>
                  </a:lnTo>
                  <a:lnTo>
                    <a:pt x="1154681" y="728662"/>
                  </a:lnTo>
                  <a:lnTo>
                    <a:pt x="1184716" y="735336"/>
                  </a:lnTo>
                  <a:lnTo>
                    <a:pt x="1221425" y="742011"/>
                  </a:lnTo>
                  <a:lnTo>
                    <a:pt x="1241449" y="765371"/>
                  </a:lnTo>
                  <a:lnTo>
                    <a:pt x="1258135" y="808755"/>
                  </a:lnTo>
                  <a:lnTo>
                    <a:pt x="1258135" y="808755"/>
                  </a:lnTo>
                  <a:lnTo>
                    <a:pt x="1254798" y="842128"/>
                  </a:lnTo>
                  <a:lnTo>
                    <a:pt x="1274821" y="862151"/>
                  </a:lnTo>
                  <a:lnTo>
                    <a:pt x="1244786" y="868826"/>
                  </a:lnTo>
                  <a:lnTo>
                    <a:pt x="1224763" y="828779"/>
                  </a:lnTo>
                  <a:lnTo>
                    <a:pt x="1224763" y="788732"/>
                  </a:lnTo>
                  <a:lnTo>
                    <a:pt x="1194727" y="752023"/>
                  </a:lnTo>
                  <a:lnTo>
                    <a:pt x="1164692" y="795407"/>
                  </a:lnTo>
                  <a:lnTo>
                    <a:pt x="1178041" y="838790"/>
                  </a:lnTo>
                  <a:lnTo>
                    <a:pt x="1137995" y="895523"/>
                  </a:lnTo>
                  <a:lnTo>
                    <a:pt x="1097948" y="952256"/>
                  </a:lnTo>
                  <a:lnTo>
                    <a:pt x="1007843" y="915547"/>
                  </a:lnTo>
                  <a:lnTo>
                    <a:pt x="1074587" y="912209"/>
                  </a:lnTo>
                  <a:lnTo>
                    <a:pt x="1107960" y="848802"/>
                  </a:lnTo>
                  <a:lnTo>
                    <a:pt x="1121309" y="805418"/>
                  </a:lnTo>
                  <a:lnTo>
                    <a:pt x="1127983" y="772046"/>
                  </a:lnTo>
                  <a:lnTo>
                    <a:pt x="1117971" y="755360"/>
                  </a:lnTo>
                  <a:lnTo>
                    <a:pt x="1114634" y="705301"/>
                  </a:lnTo>
                  <a:lnTo>
                    <a:pt x="1104622" y="625208"/>
                  </a:lnTo>
                  <a:lnTo>
                    <a:pt x="1101285" y="565138"/>
                  </a:lnTo>
                  <a:lnTo>
                    <a:pt x="1124646" y="471696"/>
                  </a:lnTo>
                  <a:lnTo>
                    <a:pt x="1031203" y="461684"/>
                  </a:lnTo>
                  <a:lnTo>
                    <a:pt x="1014517" y="518417"/>
                  </a:lnTo>
                  <a:lnTo>
                    <a:pt x="1024529" y="565138"/>
                  </a:lnTo>
                  <a:lnTo>
                    <a:pt x="981145" y="618534"/>
                  </a:lnTo>
                  <a:lnTo>
                    <a:pt x="991157" y="655243"/>
                  </a:lnTo>
                  <a:lnTo>
                    <a:pt x="981145" y="701964"/>
                  </a:lnTo>
                  <a:lnTo>
                    <a:pt x="1001168" y="725325"/>
                  </a:lnTo>
                  <a:lnTo>
                    <a:pt x="1017854" y="772046"/>
                  </a:lnTo>
                  <a:lnTo>
                    <a:pt x="1047890" y="758697"/>
                  </a:lnTo>
                  <a:lnTo>
                    <a:pt x="1014517" y="812093"/>
                  </a:lnTo>
                  <a:lnTo>
                    <a:pt x="957784" y="758697"/>
                  </a:lnTo>
                  <a:lnTo>
                    <a:pt x="884365" y="721988"/>
                  </a:lnTo>
                  <a:lnTo>
                    <a:pt x="824295" y="698627"/>
                  </a:lnTo>
                  <a:lnTo>
                    <a:pt x="810946" y="735336"/>
                  </a:lnTo>
                  <a:lnTo>
                    <a:pt x="827633" y="772046"/>
                  </a:lnTo>
                  <a:lnTo>
                    <a:pt x="814284" y="795407"/>
                  </a:lnTo>
                  <a:lnTo>
                    <a:pt x="800935" y="812093"/>
                  </a:lnTo>
                  <a:lnTo>
                    <a:pt x="770900" y="755360"/>
                  </a:lnTo>
                  <a:lnTo>
                    <a:pt x="744202" y="792069"/>
                  </a:lnTo>
                  <a:lnTo>
                    <a:pt x="707492" y="785395"/>
                  </a:lnTo>
                  <a:lnTo>
                    <a:pt x="654097" y="822104"/>
                  </a:lnTo>
                  <a:lnTo>
                    <a:pt x="644085" y="798744"/>
                  </a:lnTo>
                  <a:lnTo>
                    <a:pt x="654097" y="762034"/>
                  </a:lnTo>
                  <a:lnTo>
                    <a:pt x="614050" y="798744"/>
                  </a:lnTo>
                  <a:lnTo>
                    <a:pt x="594027" y="798744"/>
                  </a:lnTo>
                  <a:lnTo>
                    <a:pt x="533957" y="832116"/>
                  </a:lnTo>
                  <a:lnTo>
                    <a:pt x="510596" y="855477"/>
                  </a:lnTo>
                  <a:lnTo>
                    <a:pt x="500584" y="902198"/>
                  </a:lnTo>
                  <a:lnTo>
                    <a:pt x="450526" y="888849"/>
                  </a:lnTo>
                  <a:lnTo>
                    <a:pt x="433840" y="852139"/>
                  </a:lnTo>
                  <a:lnTo>
                    <a:pt x="467212" y="822104"/>
                  </a:lnTo>
                  <a:lnTo>
                    <a:pt x="453863" y="798744"/>
                  </a:lnTo>
                  <a:lnTo>
                    <a:pt x="390456" y="768709"/>
                  </a:lnTo>
                  <a:lnTo>
                    <a:pt x="417154" y="818767"/>
                  </a:lnTo>
                  <a:lnTo>
                    <a:pt x="407142" y="862151"/>
                  </a:lnTo>
                  <a:lnTo>
                    <a:pt x="413817" y="898861"/>
                  </a:lnTo>
                  <a:lnTo>
                    <a:pt x="427165" y="922221"/>
                  </a:lnTo>
                  <a:lnTo>
                    <a:pt x="413817" y="952256"/>
                  </a:lnTo>
                  <a:lnTo>
                    <a:pt x="390456" y="928896"/>
                  </a:lnTo>
                  <a:lnTo>
                    <a:pt x="360421" y="925558"/>
                  </a:lnTo>
                  <a:lnTo>
                    <a:pt x="333723" y="965605"/>
                  </a:lnTo>
                  <a:lnTo>
                    <a:pt x="307025" y="985628"/>
                  </a:lnTo>
                  <a:lnTo>
                    <a:pt x="320374" y="1012326"/>
                  </a:lnTo>
                  <a:lnTo>
                    <a:pt x="303688" y="1035687"/>
                  </a:lnTo>
                  <a:lnTo>
                    <a:pt x="233606" y="998977"/>
                  </a:lnTo>
                  <a:lnTo>
                    <a:pt x="243618" y="1049036"/>
                  </a:lnTo>
                  <a:lnTo>
                    <a:pt x="263641" y="1069059"/>
                  </a:lnTo>
                  <a:lnTo>
                    <a:pt x="250292" y="1082408"/>
                  </a:lnTo>
                  <a:lnTo>
                    <a:pt x="193560" y="1045698"/>
                  </a:lnTo>
                  <a:lnTo>
                    <a:pt x="170199" y="1005652"/>
                  </a:lnTo>
                  <a:lnTo>
                    <a:pt x="170199" y="958931"/>
                  </a:lnTo>
                  <a:lnTo>
                    <a:pt x="133490" y="882174"/>
                  </a:lnTo>
                  <a:lnTo>
                    <a:pt x="196897" y="912209"/>
                  </a:lnTo>
                  <a:lnTo>
                    <a:pt x="256967" y="942244"/>
                  </a:lnTo>
                  <a:lnTo>
                    <a:pt x="293676" y="945582"/>
                  </a:lnTo>
                  <a:lnTo>
                    <a:pt x="327049" y="915547"/>
                  </a:lnTo>
                  <a:lnTo>
                    <a:pt x="343735" y="878837"/>
                  </a:lnTo>
                  <a:lnTo>
                    <a:pt x="333723" y="828779"/>
                  </a:lnTo>
                  <a:lnTo>
                    <a:pt x="290339" y="808755"/>
                  </a:lnTo>
                  <a:lnTo>
                    <a:pt x="236944" y="762034"/>
                  </a:lnTo>
                  <a:lnTo>
                    <a:pt x="133490" y="70530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3" name="Freeform: Shape 110"/>
            <p:cNvSpPr/>
            <p:nvPr/>
          </p:nvSpPr>
          <p:spPr bwMode="auto">
            <a:xfrm>
              <a:off x="4737735" y="1174433"/>
              <a:ext cx="225743" cy="185737"/>
            </a:xfrm>
            <a:custGeom>
              <a:avLst/>
              <a:gdLst>
                <a:gd name="connsiteX0" fmla="*/ 54293 w 225743"/>
                <a:gd name="connsiteY0" fmla="*/ 145732 h 185737"/>
                <a:gd name="connsiteX1" fmla="*/ 134303 w 225743"/>
                <a:gd name="connsiteY1" fmla="*/ 185737 h 185737"/>
                <a:gd name="connsiteX2" fmla="*/ 160020 w 225743"/>
                <a:gd name="connsiteY2" fmla="*/ 162877 h 185737"/>
                <a:gd name="connsiteX3" fmla="*/ 188595 w 225743"/>
                <a:gd name="connsiteY3" fmla="*/ 151447 h 185737"/>
                <a:gd name="connsiteX4" fmla="*/ 188595 w 225743"/>
                <a:gd name="connsiteY4" fmla="*/ 131445 h 185737"/>
                <a:gd name="connsiteX5" fmla="*/ 225743 w 225743"/>
                <a:gd name="connsiteY5" fmla="*/ 97155 h 185737"/>
                <a:gd name="connsiteX6" fmla="*/ 222885 w 225743"/>
                <a:gd name="connsiteY6" fmla="*/ 48577 h 185737"/>
                <a:gd name="connsiteX7" fmla="*/ 162878 w 225743"/>
                <a:gd name="connsiteY7" fmla="*/ 31432 h 185737"/>
                <a:gd name="connsiteX8" fmla="*/ 108585 w 225743"/>
                <a:gd name="connsiteY8" fmla="*/ 65722 h 185737"/>
                <a:gd name="connsiteX9" fmla="*/ 122873 w 225743"/>
                <a:gd name="connsiteY9" fmla="*/ 2857 h 185737"/>
                <a:gd name="connsiteX10" fmla="*/ 100013 w 225743"/>
                <a:gd name="connsiteY10" fmla="*/ 51435 h 185737"/>
                <a:gd name="connsiteX11" fmla="*/ 71438 w 225743"/>
                <a:gd name="connsiteY11" fmla="*/ 45720 h 185737"/>
                <a:gd name="connsiteX12" fmla="*/ 37148 w 225743"/>
                <a:gd name="connsiteY12" fmla="*/ 0 h 185737"/>
                <a:gd name="connsiteX13" fmla="*/ 48578 w 225743"/>
                <a:gd name="connsiteY13" fmla="*/ 54292 h 185737"/>
                <a:gd name="connsiteX14" fmla="*/ 25718 w 225743"/>
                <a:gd name="connsiteY14" fmla="*/ 42862 h 185737"/>
                <a:gd name="connsiteX15" fmla="*/ 0 w 225743"/>
                <a:gd name="connsiteY15" fmla="*/ 62865 h 185737"/>
                <a:gd name="connsiteX16" fmla="*/ 22860 w 225743"/>
                <a:gd name="connsiteY16" fmla="*/ 85725 h 185737"/>
                <a:gd name="connsiteX17" fmla="*/ 11430 w 225743"/>
                <a:gd name="connsiteY17" fmla="*/ 114300 h 185737"/>
                <a:gd name="connsiteX18" fmla="*/ 54293 w 225743"/>
                <a:gd name="connsiteY18" fmla="*/ 145732 h 185737"/>
                <a:gd name="connsiteX0" fmla="*/ 102871 w 225743"/>
                <a:gd name="connsiteY0" fmla="*/ 105727 h 185737"/>
                <a:gd name="connsiteX1" fmla="*/ 134303 w 225743"/>
                <a:gd name="connsiteY1" fmla="*/ 185737 h 185737"/>
                <a:gd name="connsiteX2" fmla="*/ 160020 w 225743"/>
                <a:gd name="connsiteY2" fmla="*/ 162877 h 185737"/>
                <a:gd name="connsiteX3" fmla="*/ 188595 w 225743"/>
                <a:gd name="connsiteY3" fmla="*/ 151447 h 185737"/>
                <a:gd name="connsiteX4" fmla="*/ 188595 w 225743"/>
                <a:gd name="connsiteY4" fmla="*/ 131445 h 185737"/>
                <a:gd name="connsiteX5" fmla="*/ 225743 w 225743"/>
                <a:gd name="connsiteY5" fmla="*/ 97155 h 185737"/>
                <a:gd name="connsiteX6" fmla="*/ 222885 w 225743"/>
                <a:gd name="connsiteY6" fmla="*/ 48577 h 185737"/>
                <a:gd name="connsiteX7" fmla="*/ 162878 w 225743"/>
                <a:gd name="connsiteY7" fmla="*/ 31432 h 185737"/>
                <a:gd name="connsiteX8" fmla="*/ 108585 w 225743"/>
                <a:gd name="connsiteY8" fmla="*/ 65722 h 185737"/>
                <a:gd name="connsiteX9" fmla="*/ 122873 w 225743"/>
                <a:gd name="connsiteY9" fmla="*/ 2857 h 185737"/>
                <a:gd name="connsiteX10" fmla="*/ 100013 w 225743"/>
                <a:gd name="connsiteY10" fmla="*/ 51435 h 185737"/>
                <a:gd name="connsiteX11" fmla="*/ 71438 w 225743"/>
                <a:gd name="connsiteY11" fmla="*/ 45720 h 185737"/>
                <a:gd name="connsiteX12" fmla="*/ 37148 w 225743"/>
                <a:gd name="connsiteY12" fmla="*/ 0 h 185737"/>
                <a:gd name="connsiteX13" fmla="*/ 48578 w 225743"/>
                <a:gd name="connsiteY13" fmla="*/ 54292 h 185737"/>
                <a:gd name="connsiteX14" fmla="*/ 25718 w 225743"/>
                <a:gd name="connsiteY14" fmla="*/ 42862 h 185737"/>
                <a:gd name="connsiteX15" fmla="*/ 0 w 225743"/>
                <a:gd name="connsiteY15" fmla="*/ 62865 h 185737"/>
                <a:gd name="connsiteX16" fmla="*/ 22860 w 225743"/>
                <a:gd name="connsiteY16" fmla="*/ 85725 h 185737"/>
                <a:gd name="connsiteX17" fmla="*/ 11430 w 225743"/>
                <a:gd name="connsiteY17" fmla="*/ 114300 h 185737"/>
                <a:gd name="connsiteX18" fmla="*/ 102871 w 225743"/>
                <a:gd name="connsiteY18" fmla="*/ 105727 h 185737"/>
                <a:gd name="connsiteX0" fmla="*/ 102871 w 225743"/>
                <a:gd name="connsiteY0" fmla="*/ 105727 h 185737"/>
                <a:gd name="connsiteX1" fmla="*/ 125730 w 225743"/>
                <a:gd name="connsiteY1" fmla="*/ 157162 h 185737"/>
                <a:gd name="connsiteX2" fmla="*/ 134303 w 225743"/>
                <a:gd name="connsiteY2" fmla="*/ 185737 h 185737"/>
                <a:gd name="connsiteX3" fmla="*/ 160020 w 225743"/>
                <a:gd name="connsiteY3" fmla="*/ 162877 h 185737"/>
                <a:gd name="connsiteX4" fmla="*/ 188595 w 225743"/>
                <a:gd name="connsiteY4" fmla="*/ 151447 h 185737"/>
                <a:gd name="connsiteX5" fmla="*/ 188595 w 225743"/>
                <a:gd name="connsiteY5" fmla="*/ 131445 h 185737"/>
                <a:gd name="connsiteX6" fmla="*/ 225743 w 225743"/>
                <a:gd name="connsiteY6" fmla="*/ 97155 h 185737"/>
                <a:gd name="connsiteX7" fmla="*/ 222885 w 225743"/>
                <a:gd name="connsiteY7" fmla="*/ 48577 h 185737"/>
                <a:gd name="connsiteX8" fmla="*/ 162878 w 225743"/>
                <a:gd name="connsiteY8" fmla="*/ 31432 h 185737"/>
                <a:gd name="connsiteX9" fmla="*/ 108585 w 225743"/>
                <a:gd name="connsiteY9" fmla="*/ 65722 h 185737"/>
                <a:gd name="connsiteX10" fmla="*/ 122873 w 225743"/>
                <a:gd name="connsiteY10" fmla="*/ 2857 h 185737"/>
                <a:gd name="connsiteX11" fmla="*/ 100013 w 225743"/>
                <a:gd name="connsiteY11" fmla="*/ 51435 h 185737"/>
                <a:gd name="connsiteX12" fmla="*/ 71438 w 225743"/>
                <a:gd name="connsiteY12" fmla="*/ 45720 h 185737"/>
                <a:gd name="connsiteX13" fmla="*/ 37148 w 225743"/>
                <a:gd name="connsiteY13" fmla="*/ 0 h 185737"/>
                <a:gd name="connsiteX14" fmla="*/ 48578 w 225743"/>
                <a:gd name="connsiteY14" fmla="*/ 54292 h 185737"/>
                <a:gd name="connsiteX15" fmla="*/ 25718 w 225743"/>
                <a:gd name="connsiteY15" fmla="*/ 42862 h 185737"/>
                <a:gd name="connsiteX16" fmla="*/ 0 w 225743"/>
                <a:gd name="connsiteY16" fmla="*/ 62865 h 185737"/>
                <a:gd name="connsiteX17" fmla="*/ 22860 w 225743"/>
                <a:gd name="connsiteY17" fmla="*/ 85725 h 185737"/>
                <a:gd name="connsiteX18" fmla="*/ 11430 w 225743"/>
                <a:gd name="connsiteY18" fmla="*/ 114300 h 185737"/>
                <a:gd name="connsiteX19" fmla="*/ 102871 w 225743"/>
                <a:gd name="connsiteY19" fmla="*/ 105727 h 185737"/>
                <a:gd name="connsiteX0" fmla="*/ 102871 w 225743"/>
                <a:gd name="connsiteY0" fmla="*/ 105727 h 185737"/>
                <a:gd name="connsiteX1" fmla="*/ 45720 w 225743"/>
                <a:gd name="connsiteY1" fmla="*/ 148589 h 185737"/>
                <a:gd name="connsiteX2" fmla="*/ 134303 w 225743"/>
                <a:gd name="connsiteY2" fmla="*/ 185737 h 185737"/>
                <a:gd name="connsiteX3" fmla="*/ 160020 w 225743"/>
                <a:gd name="connsiteY3" fmla="*/ 162877 h 185737"/>
                <a:gd name="connsiteX4" fmla="*/ 188595 w 225743"/>
                <a:gd name="connsiteY4" fmla="*/ 151447 h 185737"/>
                <a:gd name="connsiteX5" fmla="*/ 188595 w 225743"/>
                <a:gd name="connsiteY5" fmla="*/ 131445 h 185737"/>
                <a:gd name="connsiteX6" fmla="*/ 225743 w 225743"/>
                <a:gd name="connsiteY6" fmla="*/ 97155 h 185737"/>
                <a:gd name="connsiteX7" fmla="*/ 222885 w 225743"/>
                <a:gd name="connsiteY7" fmla="*/ 48577 h 185737"/>
                <a:gd name="connsiteX8" fmla="*/ 162878 w 225743"/>
                <a:gd name="connsiteY8" fmla="*/ 31432 h 185737"/>
                <a:gd name="connsiteX9" fmla="*/ 108585 w 225743"/>
                <a:gd name="connsiteY9" fmla="*/ 65722 h 185737"/>
                <a:gd name="connsiteX10" fmla="*/ 122873 w 225743"/>
                <a:gd name="connsiteY10" fmla="*/ 2857 h 185737"/>
                <a:gd name="connsiteX11" fmla="*/ 100013 w 225743"/>
                <a:gd name="connsiteY11" fmla="*/ 51435 h 185737"/>
                <a:gd name="connsiteX12" fmla="*/ 71438 w 225743"/>
                <a:gd name="connsiteY12" fmla="*/ 45720 h 185737"/>
                <a:gd name="connsiteX13" fmla="*/ 37148 w 225743"/>
                <a:gd name="connsiteY13" fmla="*/ 0 h 185737"/>
                <a:gd name="connsiteX14" fmla="*/ 48578 w 225743"/>
                <a:gd name="connsiteY14" fmla="*/ 54292 h 185737"/>
                <a:gd name="connsiteX15" fmla="*/ 25718 w 225743"/>
                <a:gd name="connsiteY15" fmla="*/ 42862 h 185737"/>
                <a:gd name="connsiteX16" fmla="*/ 0 w 225743"/>
                <a:gd name="connsiteY16" fmla="*/ 62865 h 185737"/>
                <a:gd name="connsiteX17" fmla="*/ 22860 w 225743"/>
                <a:gd name="connsiteY17" fmla="*/ 85725 h 185737"/>
                <a:gd name="connsiteX18" fmla="*/ 11430 w 225743"/>
                <a:gd name="connsiteY18" fmla="*/ 114300 h 185737"/>
                <a:gd name="connsiteX19" fmla="*/ 102871 w 225743"/>
                <a:gd name="connsiteY19" fmla="*/ 105727 h 185737"/>
                <a:gd name="connsiteX0" fmla="*/ 102871 w 225743"/>
                <a:gd name="connsiteY0" fmla="*/ 105727 h 185737"/>
                <a:gd name="connsiteX1" fmla="*/ 45720 w 225743"/>
                <a:gd name="connsiteY1" fmla="*/ 148589 h 185737"/>
                <a:gd name="connsiteX2" fmla="*/ 103346 w 225743"/>
                <a:gd name="connsiteY2" fmla="*/ 175736 h 185737"/>
                <a:gd name="connsiteX3" fmla="*/ 134303 w 225743"/>
                <a:gd name="connsiteY3" fmla="*/ 185737 h 185737"/>
                <a:gd name="connsiteX4" fmla="*/ 160020 w 225743"/>
                <a:gd name="connsiteY4" fmla="*/ 162877 h 185737"/>
                <a:gd name="connsiteX5" fmla="*/ 188595 w 225743"/>
                <a:gd name="connsiteY5" fmla="*/ 151447 h 185737"/>
                <a:gd name="connsiteX6" fmla="*/ 188595 w 225743"/>
                <a:gd name="connsiteY6" fmla="*/ 131445 h 185737"/>
                <a:gd name="connsiteX7" fmla="*/ 225743 w 225743"/>
                <a:gd name="connsiteY7" fmla="*/ 97155 h 185737"/>
                <a:gd name="connsiteX8" fmla="*/ 222885 w 225743"/>
                <a:gd name="connsiteY8" fmla="*/ 48577 h 185737"/>
                <a:gd name="connsiteX9" fmla="*/ 162878 w 225743"/>
                <a:gd name="connsiteY9" fmla="*/ 31432 h 185737"/>
                <a:gd name="connsiteX10" fmla="*/ 108585 w 225743"/>
                <a:gd name="connsiteY10" fmla="*/ 65722 h 185737"/>
                <a:gd name="connsiteX11" fmla="*/ 122873 w 225743"/>
                <a:gd name="connsiteY11" fmla="*/ 2857 h 185737"/>
                <a:gd name="connsiteX12" fmla="*/ 100013 w 225743"/>
                <a:gd name="connsiteY12" fmla="*/ 51435 h 185737"/>
                <a:gd name="connsiteX13" fmla="*/ 71438 w 225743"/>
                <a:gd name="connsiteY13" fmla="*/ 45720 h 185737"/>
                <a:gd name="connsiteX14" fmla="*/ 37148 w 225743"/>
                <a:gd name="connsiteY14" fmla="*/ 0 h 185737"/>
                <a:gd name="connsiteX15" fmla="*/ 48578 w 225743"/>
                <a:gd name="connsiteY15" fmla="*/ 54292 h 185737"/>
                <a:gd name="connsiteX16" fmla="*/ 25718 w 225743"/>
                <a:gd name="connsiteY16" fmla="*/ 42862 h 185737"/>
                <a:gd name="connsiteX17" fmla="*/ 0 w 225743"/>
                <a:gd name="connsiteY17" fmla="*/ 62865 h 185737"/>
                <a:gd name="connsiteX18" fmla="*/ 22860 w 225743"/>
                <a:gd name="connsiteY18" fmla="*/ 85725 h 185737"/>
                <a:gd name="connsiteX19" fmla="*/ 11430 w 225743"/>
                <a:gd name="connsiteY19" fmla="*/ 114300 h 185737"/>
                <a:gd name="connsiteX20" fmla="*/ 102871 w 225743"/>
                <a:gd name="connsiteY20" fmla="*/ 105727 h 185737"/>
                <a:gd name="connsiteX0" fmla="*/ 102871 w 225743"/>
                <a:gd name="connsiteY0" fmla="*/ 105727 h 185737"/>
                <a:gd name="connsiteX1" fmla="*/ 45720 w 225743"/>
                <a:gd name="connsiteY1" fmla="*/ 148589 h 185737"/>
                <a:gd name="connsiteX2" fmla="*/ 108109 w 225743"/>
                <a:gd name="connsiteY2" fmla="*/ 144780 h 185737"/>
                <a:gd name="connsiteX3" fmla="*/ 134303 w 225743"/>
                <a:gd name="connsiteY3" fmla="*/ 185737 h 185737"/>
                <a:gd name="connsiteX4" fmla="*/ 160020 w 225743"/>
                <a:gd name="connsiteY4" fmla="*/ 162877 h 185737"/>
                <a:gd name="connsiteX5" fmla="*/ 188595 w 225743"/>
                <a:gd name="connsiteY5" fmla="*/ 151447 h 185737"/>
                <a:gd name="connsiteX6" fmla="*/ 188595 w 225743"/>
                <a:gd name="connsiteY6" fmla="*/ 131445 h 185737"/>
                <a:gd name="connsiteX7" fmla="*/ 225743 w 225743"/>
                <a:gd name="connsiteY7" fmla="*/ 97155 h 185737"/>
                <a:gd name="connsiteX8" fmla="*/ 222885 w 225743"/>
                <a:gd name="connsiteY8" fmla="*/ 48577 h 185737"/>
                <a:gd name="connsiteX9" fmla="*/ 162878 w 225743"/>
                <a:gd name="connsiteY9" fmla="*/ 31432 h 185737"/>
                <a:gd name="connsiteX10" fmla="*/ 108585 w 225743"/>
                <a:gd name="connsiteY10" fmla="*/ 65722 h 185737"/>
                <a:gd name="connsiteX11" fmla="*/ 122873 w 225743"/>
                <a:gd name="connsiteY11" fmla="*/ 2857 h 185737"/>
                <a:gd name="connsiteX12" fmla="*/ 100013 w 225743"/>
                <a:gd name="connsiteY12" fmla="*/ 51435 h 185737"/>
                <a:gd name="connsiteX13" fmla="*/ 71438 w 225743"/>
                <a:gd name="connsiteY13" fmla="*/ 45720 h 185737"/>
                <a:gd name="connsiteX14" fmla="*/ 37148 w 225743"/>
                <a:gd name="connsiteY14" fmla="*/ 0 h 185737"/>
                <a:gd name="connsiteX15" fmla="*/ 48578 w 225743"/>
                <a:gd name="connsiteY15" fmla="*/ 54292 h 185737"/>
                <a:gd name="connsiteX16" fmla="*/ 25718 w 225743"/>
                <a:gd name="connsiteY16" fmla="*/ 42862 h 185737"/>
                <a:gd name="connsiteX17" fmla="*/ 0 w 225743"/>
                <a:gd name="connsiteY17" fmla="*/ 62865 h 185737"/>
                <a:gd name="connsiteX18" fmla="*/ 22860 w 225743"/>
                <a:gd name="connsiteY18" fmla="*/ 85725 h 185737"/>
                <a:gd name="connsiteX19" fmla="*/ 11430 w 225743"/>
                <a:gd name="connsiteY19" fmla="*/ 114300 h 185737"/>
                <a:gd name="connsiteX20" fmla="*/ 102871 w 225743"/>
                <a:gd name="connsiteY20" fmla="*/ 105727 h 18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5743" h="185737">
                  <a:moveTo>
                    <a:pt x="102871" y="105727"/>
                  </a:moveTo>
                  <a:lnTo>
                    <a:pt x="45720" y="148589"/>
                  </a:lnTo>
                  <a:lnTo>
                    <a:pt x="108109" y="144780"/>
                  </a:lnTo>
                  <a:lnTo>
                    <a:pt x="134303" y="185737"/>
                  </a:lnTo>
                  <a:lnTo>
                    <a:pt x="160020" y="162877"/>
                  </a:lnTo>
                  <a:lnTo>
                    <a:pt x="188595" y="151447"/>
                  </a:lnTo>
                  <a:lnTo>
                    <a:pt x="188595" y="131445"/>
                  </a:lnTo>
                  <a:lnTo>
                    <a:pt x="225743" y="97155"/>
                  </a:lnTo>
                  <a:lnTo>
                    <a:pt x="222885" y="48577"/>
                  </a:lnTo>
                  <a:lnTo>
                    <a:pt x="162878" y="31432"/>
                  </a:lnTo>
                  <a:lnTo>
                    <a:pt x="108585" y="65722"/>
                  </a:lnTo>
                  <a:lnTo>
                    <a:pt x="122873" y="2857"/>
                  </a:lnTo>
                  <a:lnTo>
                    <a:pt x="100013" y="51435"/>
                  </a:lnTo>
                  <a:lnTo>
                    <a:pt x="71438" y="45720"/>
                  </a:lnTo>
                  <a:lnTo>
                    <a:pt x="37148" y="0"/>
                  </a:lnTo>
                  <a:lnTo>
                    <a:pt x="48578" y="54292"/>
                  </a:lnTo>
                  <a:lnTo>
                    <a:pt x="25718" y="42862"/>
                  </a:lnTo>
                  <a:lnTo>
                    <a:pt x="0" y="62865"/>
                  </a:lnTo>
                  <a:lnTo>
                    <a:pt x="22860" y="85725"/>
                  </a:lnTo>
                  <a:lnTo>
                    <a:pt x="11430" y="114300"/>
                  </a:lnTo>
                  <a:lnTo>
                    <a:pt x="102871" y="10572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4" name="Freeform: Shape 111"/>
            <p:cNvSpPr/>
            <p:nvPr/>
          </p:nvSpPr>
          <p:spPr bwMode="auto">
            <a:xfrm>
              <a:off x="4555331" y="1247775"/>
              <a:ext cx="254794" cy="433388"/>
            </a:xfrm>
            <a:custGeom>
              <a:avLst/>
              <a:gdLst>
                <a:gd name="connsiteX0" fmla="*/ 145257 w 254794"/>
                <a:gd name="connsiteY0" fmla="*/ 433388 h 433388"/>
                <a:gd name="connsiteX1" fmla="*/ 166688 w 254794"/>
                <a:gd name="connsiteY1" fmla="*/ 316706 h 433388"/>
                <a:gd name="connsiteX2" fmla="*/ 185738 w 254794"/>
                <a:gd name="connsiteY2" fmla="*/ 297656 h 433388"/>
                <a:gd name="connsiteX3" fmla="*/ 183357 w 254794"/>
                <a:gd name="connsiteY3" fmla="*/ 266700 h 433388"/>
                <a:gd name="connsiteX4" fmla="*/ 200025 w 254794"/>
                <a:gd name="connsiteY4" fmla="*/ 245269 h 433388"/>
                <a:gd name="connsiteX5" fmla="*/ 200025 w 254794"/>
                <a:gd name="connsiteY5" fmla="*/ 214313 h 433388"/>
                <a:gd name="connsiteX6" fmla="*/ 254794 w 254794"/>
                <a:gd name="connsiteY6" fmla="*/ 171450 h 433388"/>
                <a:gd name="connsiteX7" fmla="*/ 228600 w 254794"/>
                <a:gd name="connsiteY7" fmla="*/ 147638 h 433388"/>
                <a:gd name="connsiteX8" fmla="*/ 204788 w 254794"/>
                <a:gd name="connsiteY8" fmla="*/ 119063 h 433388"/>
                <a:gd name="connsiteX9" fmla="*/ 197644 w 254794"/>
                <a:gd name="connsiteY9" fmla="*/ 102394 h 433388"/>
                <a:gd name="connsiteX10" fmla="*/ 185738 w 254794"/>
                <a:gd name="connsiteY10" fmla="*/ 66675 h 433388"/>
                <a:gd name="connsiteX11" fmla="*/ 171450 w 254794"/>
                <a:gd name="connsiteY11" fmla="*/ 95250 h 433388"/>
                <a:gd name="connsiteX12" fmla="*/ 164307 w 254794"/>
                <a:gd name="connsiteY12" fmla="*/ 66675 h 433388"/>
                <a:gd name="connsiteX13" fmla="*/ 169069 w 254794"/>
                <a:gd name="connsiteY13" fmla="*/ 42863 h 433388"/>
                <a:gd name="connsiteX14" fmla="*/ 159544 w 254794"/>
                <a:gd name="connsiteY14" fmla="*/ 11906 h 433388"/>
                <a:gd name="connsiteX15" fmla="*/ 145257 w 254794"/>
                <a:gd name="connsiteY15" fmla="*/ 14288 h 433388"/>
                <a:gd name="connsiteX16" fmla="*/ 138113 w 254794"/>
                <a:gd name="connsiteY16" fmla="*/ 0 h 433388"/>
                <a:gd name="connsiteX17" fmla="*/ 126207 w 254794"/>
                <a:gd name="connsiteY17" fmla="*/ 28575 h 433388"/>
                <a:gd name="connsiteX18" fmla="*/ 140494 w 254794"/>
                <a:gd name="connsiteY18" fmla="*/ 154781 h 433388"/>
                <a:gd name="connsiteX19" fmla="*/ 126207 w 254794"/>
                <a:gd name="connsiteY19" fmla="*/ 147638 h 433388"/>
                <a:gd name="connsiteX20" fmla="*/ 95250 w 254794"/>
                <a:gd name="connsiteY20" fmla="*/ 38100 h 433388"/>
                <a:gd name="connsiteX21" fmla="*/ 83344 w 254794"/>
                <a:gd name="connsiteY21" fmla="*/ 107156 h 433388"/>
                <a:gd name="connsiteX22" fmla="*/ 54769 w 254794"/>
                <a:gd name="connsiteY22" fmla="*/ 71438 h 433388"/>
                <a:gd name="connsiteX23" fmla="*/ 33338 w 254794"/>
                <a:gd name="connsiteY23" fmla="*/ 61913 h 433388"/>
                <a:gd name="connsiteX24" fmla="*/ 73819 w 254794"/>
                <a:gd name="connsiteY24" fmla="*/ 28575 h 433388"/>
                <a:gd name="connsiteX25" fmla="*/ 30957 w 254794"/>
                <a:gd name="connsiteY25" fmla="*/ 42863 h 433388"/>
                <a:gd name="connsiteX26" fmla="*/ 16669 w 254794"/>
                <a:gd name="connsiteY26" fmla="*/ 30956 h 433388"/>
                <a:gd name="connsiteX27" fmla="*/ 0 w 254794"/>
                <a:gd name="connsiteY27" fmla="*/ 59531 h 433388"/>
                <a:gd name="connsiteX28" fmla="*/ 7144 w 254794"/>
                <a:gd name="connsiteY28" fmla="*/ 90488 h 433388"/>
                <a:gd name="connsiteX29" fmla="*/ 26194 w 254794"/>
                <a:gd name="connsiteY29" fmla="*/ 102394 h 433388"/>
                <a:gd name="connsiteX30" fmla="*/ 38100 w 254794"/>
                <a:gd name="connsiteY30" fmla="*/ 138113 h 433388"/>
                <a:gd name="connsiteX31" fmla="*/ 47625 w 254794"/>
                <a:gd name="connsiteY31" fmla="*/ 152400 h 433388"/>
                <a:gd name="connsiteX32" fmla="*/ 23813 w 254794"/>
                <a:gd name="connsiteY32" fmla="*/ 145256 h 433388"/>
                <a:gd name="connsiteX33" fmla="*/ 45244 w 254794"/>
                <a:gd name="connsiteY33" fmla="*/ 202406 h 433388"/>
                <a:gd name="connsiteX34" fmla="*/ 54769 w 254794"/>
                <a:gd name="connsiteY34" fmla="*/ 200025 h 433388"/>
                <a:gd name="connsiteX35" fmla="*/ 54769 w 254794"/>
                <a:gd name="connsiteY35" fmla="*/ 230981 h 433388"/>
                <a:gd name="connsiteX36" fmla="*/ 76200 w 254794"/>
                <a:gd name="connsiteY36" fmla="*/ 245269 h 433388"/>
                <a:gd name="connsiteX37" fmla="*/ 88107 w 254794"/>
                <a:gd name="connsiteY37" fmla="*/ 214313 h 433388"/>
                <a:gd name="connsiteX38" fmla="*/ 85725 w 254794"/>
                <a:gd name="connsiteY38" fmla="*/ 183356 h 433388"/>
                <a:gd name="connsiteX39" fmla="*/ 100013 w 254794"/>
                <a:gd name="connsiteY39" fmla="*/ 164306 h 433388"/>
                <a:gd name="connsiteX40" fmla="*/ 114300 w 254794"/>
                <a:gd name="connsiteY40" fmla="*/ 157163 h 433388"/>
                <a:gd name="connsiteX41" fmla="*/ 116682 w 254794"/>
                <a:gd name="connsiteY41" fmla="*/ 197644 h 433388"/>
                <a:gd name="connsiteX42" fmla="*/ 140494 w 254794"/>
                <a:gd name="connsiteY42" fmla="*/ 173831 h 433388"/>
                <a:gd name="connsiteX43" fmla="*/ 150019 w 254794"/>
                <a:gd name="connsiteY43" fmla="*/ 197644 h 433388"/>
                <a:gd name="connsiteX44" fmla="*/ 164307 w 254794"/>
                <a:gd name="connsiteY44" fmla="*/ 219075 h 433388"/>
                <a:gd name="connsiteX45" fmla="*/ 135732 w 254794"/>
                <a:gd name="connsiteY45" fmla="*/ 233363 h 433388"/>
                <a:gd name="connsiteX46" fmla="*/ 123825 w 254794"/>
                <a:gd name="connsiteY46" fmla="*/ 257175 h 433388"/>
                <a:gd name="connsiteX47" fmla="*/ 102394 w 254794"/>
                <a:gd name="connsiteY47" fmla="*/ 259556 h 433388"/>
                <a:gd name="connsiteX48" fmla="*/ 71438 w 254794"/>
                <a:gd name="connsiteY48" fmla="*/ 273844 h 433388"/>
                <a:gd name="connsiteX49" fmla="*/ 95250 w 254794"/>
                <a:gd name="connsiteY49" fmla="*/ 295275 h 433388"/>
                <a:gd name="connsiteX50" fmla="*/ 126207 w 254794"/>
                <a:gd name="connsiteY50" fmla="*/ 278606 h 433388"/>
                <a:gd name="connsiteX51" fmla="*/ 145257 w 254794"/>
                <a:gd name="connsiteY51" fmla="*/ 269081 h 433388"/>
                <a:gd name="connsiteX52" fmla="*/ 147638 w 254794"/>
                <a:gd name="connsiteY52" fmla="*/ 292894 h 433388"/>
                <a:gd name="connsiteX53" fmla="*/ 121444 w 254794"/>
                <a:gd name="connsiteY53" fmla="*/ 307181 h 433388"/>
                <a:gd name="connsiteX54" fmla="*/ 133350 w 254794"/>
                <a:gd name="connsiteY54" fmla="*/ 319088 h 433388"/>
                <a:gd name="connsiteX55" fmla="*/ 133350 w 254794"/>
                <a:gd name="connsiteY55" fmla="*/ 319088 h 433388"/>
                <a:gd name="connsiteX56" fmla="*/ 78582 w 254794"/>
                <a:gd name="connsiteY56" fmla="*/ 314325 h 433388"/>
                <a:gd name="connsiteX57" fmla="*/ 97632 w 254794"/>
                <a:gd name="connsiteY57" fmla="*/ 350044 h 433388"/>
                <a:gd name="connsiteX58" fmla="*/ 121444 w 254794"/>
                <a:gd name="connsiteY58" fmla="*/ 383381 h 433388"/>
                <a:gd name="connsiteX59" fmla="*/ 145257 w 254794"/>
                <a:gd name="connsiteY59" fmla="*/ 433388 h 433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54794" h="433388">
                  <a:moveTo>
                    <a:pt x="145257" y="433388"/>
                  </a:moveTo>
                  <a:lnTo>
                    <a:pt x="166688" y="316706"/>
                  </a:lnTo>
                  <a:lnTo>
                    <a:pt x="185738" y="297656"/>
                  </a:lnTo>
                  <a:lnTo>
                    <a:pt x="183357" y="266700"/>
                  </a:lnTo>
                  <a:lnTo>
                    <a:pt x="200025" y="245269"/>
                  </a:lnTo>
                  <a:lnTo>
                    <a:pt x="200025" y="214313"/>
                  </a:lnTo>
                  <a:lnTo>
                    <a:pt x="254794" y="171450"/>
                  </a:lnTo>
                  <a:lnTo>
                    <a:pt x="228600" y="147638"/>
                  </a:lnTo>
                  <a:lnTo>
                    <a:pt x="204788" y="119063"/>
                  </a:lnTo>
                  <a:lnTo>
                    <a:pt x="197644" y="102394"/>
                  </a:lnTo>
                  <a:lnTo>
                    <a:pt x="185738" y="66675"/>
                  </a:lnTo>
                  <a:lnTo>
                    <a:pt x="171450" y="95250"/>
                  </a:lnTo>
                  <a:lnTo>
                    <a:pt x="164307" y="66675"/>
                  </a:lnTo>
                  <a:lnTo>
                    <a:pt x="169069" y="42863"/>
                  </a:lnTo>
                  <a:lnTo>
                    <a:pt x="159544" y="11906"/>
                  </a:lnTo>
                  <a:lnTo>
                    <a:pt x="145257" y="14288"/>
                  </a:lnTo>
                  <a:lnTo>
                    <a:pt x="138113" y="0"/>
                  </a:lnTo>
                  <a:lnTo>
                    <a:pt x="126207" y="28575"/>
                  </a:lnTo>
                  <a:lnTo>
                    <a:pt x="140494" y="154781"/>
                  </a:lnTo>
                  <a:lnTo>
                    <a:pt x="126207" y="147638"/>
                  </a:lnTo>
                  <a:lnTo>
                    <a:pt x="95250" y="38100"/>
                  </a:lnTo>
                  <a:lnTo>
                    <a:pt x="83344" y="107156"/>
                  </a:lnTo>
                  <a:lnTo>
                    <a:pt x="54769" y="71438"/>
                  </a:lnTo>
                  <a:lnTo>
                    <a:pt x="33338" y="61913"/>
                  </a:lnTo>
                  <a:lnTo>
                    <a:pt x="73819" y="28575"/>
                  </a:lnTo>
                  <a:lnTo>
                    <a:pt x="30957" y="42863"/>
                  </a:lnTo>
                  <a:lnTo>
                    <a:pt x="16669" y="30956"/>
                  </a:lnTo>
                  <a:lnTo>
                    <a:pt x="0" y="59531"/>
                  </a:lnTo>
                  <a:lnTo>
                    <a:pt x="7144" y="90488"/>
                  </a:lnTo>
                  <a:lnTo>
                    <a:pt x="26194" y="102394"/>
                  </a:lnTo>
                  <a:lnTo>
                    <a:pt x="38100" y="138113"/>
                  </a:lnTo>
                  <a:lnTo>
                    <a:pt x="47625" y="152400"/>
                  </a:lnTo>
                  <a:lnTo>
                    <a:pt x="23813" y="145256"/>
                  </a:lnTo>
                  <a:lnTo>
                    <a:pt x="45244" y="202406"/>
                  </a:lnTo>
                  <a:lnTo>
                    <a:pt x="54769" y="200025"/>
                  </a:lnTo>
                  <a:lnTo>
                    <a:pt x="54769" y="230981"/>
                  </a:lnTo>
                  <a:lnTo>
                    <a:pt x="76200" y="245269"/>
                  </a:lnTo>
                  <a:lnTo>
                    <a:pt x="88107" y="214313"/>
                  </a:lnTo>
                  <a:lnTo>
                    <a:pt x="85725" y="183356"/>
                  </a:lnTo>
                  <a:lnTo>
                    <a:pt x="100013" y="164306"/>
                  </a:lnTo>
                  <a:lnTo>
                    <a:pt x="114300" y="157163"/>
                  </a:lnTo>
                  <a:lnTo>
                    <a:pt x="116682" y="197644"/>
                  </a:lnTo>
                  <a:lnTo>
                    <a:pt x="140494" y="173831"/>
                  </a:lnTo>
                  <a:lnTo>
                    <a:pt x="150019" y="197644"/>
                  </a:lnTo>
                  <a:lnTo>
                    <a:pt x="164307" y="219075"/>
                  </a:lnTo>
                  <a:lnTo>
                    <a:pt x="135732" y="233363"/>
                  </a:lnTo>
                  <a:lnTo>
                    <a:pt x="123825" y="257175"/>
                  </a:lnTo>
                  <a:lnTo>
                    <a:pt x="102394" y="259556"/>
                  </a:lnTo>
                  <a:lnTo>
                    <a:pt x="71438" y="273844"/>
                  </a:lnTo>
                  <a:lnTo>
                    <a:pt x="95250" y="295275"/>
                  </a:lnTo>
                  <a:lnTo>
                    <a:pt x="126207" y="278606"/>
                  </a:lnTo>
                  <a:lnTo>
                    <a:pt x="145257" y="269081"/>
                  </a:lnTo>
                  <a:lnTo>
                    <a:pt x="147638" y="292894"/>
                  </a:lnTo>
                  <a:lnTo>
                    <a:pt x="121444" y="307181"/>
                  </a:lnTo>
                  <a:lnTo>
                    <a:pt x="133350" y="319088"/>
                  </a:lnTo>
                  <a:lnTo>
                    <a:pt x="133350" y="319088"/>
                  </a:lnTo>
                  <a:lnTo>
                    <a:pt x="78582" y="314325"/>
                  </a:lnTo>
                  <a:lnTo>
                    <a:pt x="97632" y="350044"/>
                  </a:lnTo>
                  <a:lnTo>
                    <a:pt x="121444" y="383381"/>
                  </a:lnTo>
                  <a:lnTo>
                    <a:pt x="145257" y="43338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5" name="Freeform: Shape 112"/>
            <p:cNvSpPr/>
            <p:nvPr/>
          </p:nvSpPr>
          <p:spPr bwMode="auto">
            <a:xfrm>
              <a:off x="4810125" y="1490663"/>
              <a:ext cx="83344" cy="104775"/>
            </a:xfrm>
            <a:custGeom>
              <a:avLst/>
              <a:gdLst>
                <a:gd name="connsiteX0" fmla="*/ 0 w 83344"/>
                <a:gd name="connsiteY0" fmla="*/ 4762 h 104775"/>
                <a:gd name="connsiteX1" fmla="*/ 0 w 83344"/>
                <a:gd name="connsiteY1" fmla="*/ 83343 h 104775"/>
                <a:gd name="connsiteX2" fmla="*/ 40481 w 83344"/>
                <a:gd name="connsiteY2" fmla="*/ 66675 h 104775"/>
                <a:gd name="connsiteX3" fmla="*/ 40481 w 83344"/>
                <a:gd name="connsiteY3" fmla="*/ 104775 h 104775"/>
                <a:gd name="connsiteX4" fmla="*/ 83344 w 83344"/>
                <a:gd name="connsiteY4" fmla="*/ 52387 h 104775"/>
                <a:gd name="connsiteX5" fmla="*/ 78581 w 83344"/>
                <a:gd name="connsiteY5" fmla="*/ 33337 h 104775"/>
                <a:gd name="connsiteX6" fmla="*/ 45244 w 83344"/>
                <a:gd name="connsiteY6" fmla="*/ 35718 h 104775"/>
                <a:gd name="connsiteX7" fmla="*/ 61913 w 83344"/>
                <a:gd name="connsiteY7" fmla="*/ 0 h 104775"/>
                <a:gd name="connsiteX8" fmla="*/ 0 w 83344"/>
                <a:gd name="connsiteY8" fmla="*/ 4762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344" h="104775">
                  <a:moveTo>
                    <a:pt x="0" y="4762"/>
                  </a:moveTo>
                  <a:lnTo>
                    <a:pt x="0" y="83343"/>
                  </a:lnTo>
                  <a:lnTo>
                    <a:pt x="40481" y="66675"/>
                  </a:lnTo>
                  <a:lnTo>
                    <a:pt x="40481" y="104775"/>
                  </a:lnTo>
                  <a:lnTo>
                    <a:pt x="83344" y="52387"/>
                  </a:lnTo>
                  <a:lnTo>
                    <a:pt x="78581" y="33337"/>
                  </a:lnTo>
                  <a:lnTo>
                    <a:pt x="45244" y="35718"/>
                  </a:lnTo>
                  <a:lnTo>
                    <a:pt x="61913" y="0"/>
                  </a:lnTo>
                  <a:lnTo>
                    <a:pt x="0" y="476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6" name="Rectangle 215"/>
            <p:cNvSpPr/>
            <p:nvPr/>
          </p:nvSpPr>
          <p:spPr bwMode="auto">
            <a:xfrm>
              <a:off x="4798932" y="1440656"/>
              <a:ext cx="45719" cy="45719"/>
            </a:xfrm>
            <a:custGeom>
              <a:avLst/>
              <a:gdLst>
                <a:gd name="connsiteX0" fmla="*/ 0 w 45719"/>
                <a:gd name="connsiteY0" fmla="*/ 0 h 45719"/>
                <a:gd name="connsiteX1" fmla="*/ 45719 w 45719"/>
                <a:gd name="connsiteY1" fmla="*/ 0 h 45719"/>
                <a:gd name="connsiteX2" fmla="*/ 45719 w 45719"/>
                <a:gd name="connsiteY2" fmla="*/ 45719 h 45719"/>
                <a:gd name="connsiteX3" fmla="*/ 0 w 45719"/>
                <a:gd name="connsiteY3" fmla="*/ 45719 h 45719"/>
                <a:gd name="connsiteX4" fmla="*/ 0 w 45719"/>
                <a:gd name="connsiteY4" fmla="*/ 0 h 45719"/>
                <a:gd name="connsiteX0" fmla="*/ 0 w 45719"/>
                <a:gd name="connsiteY0" fmla="*/ 0 h 45719"/>
                <a:gd name="connsiteX1" fmla="*/ 45719 w 45719"/>
                <a:gd name="connsiteY1" fmla="*/ 0 h 45719"/>
                <a:gd name="connsiteX2" fmla="*/ 29050 w 45719"/>
                <a:gd name="connsiteY2" fmla="*/ 24288 h 45719"/>
                <a:gd name="connsiteX3" fmla="*/ 0 w 45719"/>
                <a:gd name="connsiteY3" fmla="*/ 45719 h 45719"/>
                <a:gd name="connsiteX4" fmla="*/ 0 w 45719"/>
                <a:gd name="connsiteY4" fmla="*/ 0 h 4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19" h="45719">
                  <a:moveTo>
                    <a:pt x="0" y="0"/>
                  </a:moveTo>
                  <a:lnTo>
                    <a:pt x="45719" y="0"/>
                  </a:lnTo>
                  <a:lnTo>
                    <a:pt x="29050" y="24288"/>
                  </a:lnTo>
                  <a:lnTo>
                    <a:pt x="0" y="45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7" name="Freeform: Shape 114"/>
            <p:cNvSpPr/>
            <p:nvPr/>
          </p:nvSpPr>
          <p:spPr bwMode="auto">
            <a:xfrm>
              <a:off x="6738938" y="1340644"/>
              <a:ext cx="138112" cy="173831"/>
            </a:xfrm>
            <a:custGeom>
              <a:avLst/>
              <a:gdLst>
                <a:gd name="connsiteX0" fmla="*/ 0 w 138112"/>
                <a:gd name="connsiteY0" fmla="*/ 173831 h 173831"/>
                <a:gd name="connsiteX1" fmla="*/ 0 w 138112"/>
                <a:gd name="connsiteY1" fmla="*/ 173831 h 173831"/>
                <a:gd name="connsiteX2" fmla="*/ 88106 w 138112"/>
                <a:gd name="connsiteY2" fmla="*/ 145256 h 173831"/>
                <a:gd name="connsiteX3" fmla="*/ 138112 w 138112"/>
                <a:gd name="connsiteY3" fmla="*/ 83344 h 173831"/>
                <a:gd name="connsiteX4" fmla="*/ 107156 w 138112"/>
                <a:gd name="connsiteY4" fmla="*/ 47625 h 173831"/>
                <a:gd name="connsiteX5" fmla="*/ 85725 w 138112"/>
                <a:gd name="connsiteY5" fmla="*/ 33337 h 173831"/>
                <a:gd name="connsiteX6" fmla="*/ 76200 w 138112"/>
                <a:gd name="connsiteY6" fmla="*/ 0 h 173831"/>
                <a:gd name="connsiteX7" fmla="*/ 45243 w 138112"/>
                <a:gd name="connsiteY7" fmla="*/ 28575 h 173831"/>
                <a:gd name="connsiteX8" fmla="*/ 40481 w 138112"/>
                <a:gd name="connsiteY8" fmla="*/ 66675 h 173831"/>
                <a:gd name="connsiteX9" fmla="*/ 0 w 138112"/>
                <a:gd name="connsiteY9" fmla="*/ 173831 h 173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" h="173831">
                  <a:moveTo>
                    <a:pt x="0" y="173831"/>
                  </a:moveTo>
                  <a:lnTo>
                    <a:pt x="0" y="173831"/>
                  </a:lnTo>
                  <a:lnTo>
                    <a:pt x="88106" y="145256"/>
                  </a:lnTo>
                  <a:lnTo>
                    <a:pt x="138112" y="83344"/>
                  </a:lnTo>
                  <a:lnTo>
                    <a:pt x="107156" y="47625"/>
                  </a:lnTo>
                  <a:lnTo>
                    <a:pt x="85725" y="33337"/>
                  </a:lnTo>
                  <a:lnTo>
                    <a:pt x="76200" y="0"/>
                  </a:lnTo>
                  <a:lnTo>
                    <a:pt x="45243" y="28575"/>
                  </a:lnTo>
                  <a:lnTo>
                    <a:pt x="40481" y="66675"/>
                  </a:lnTo>
                  <a:lnTo>
                    <a:pt x="0" y="17383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8" name="Freeform: Shape 115"/>
            <p:cNvSpPr/>
            <p:nvPr/>
          </p:nvSpPr>
          <p:spPr bwMode="auto">
            <a:xfrm>
              <a:off x="6550819" y="1045369"/>
              <a:ext cx="157162" cy="192881"/>
            </a:xfrm>
            <a:custGeom>
              <a:avLst/>
              <a:gdLst>
                <a:gd name="connsiteX0" fmla="*/ 150019 w 157162"/>
                <a:gd name="connsiteY0" fmla="*/ 166687 h 192881"/>
                <a:gd name="connsiteX1" fmla="*/ 142875 w 157162"/>
                <a:gd name="connsiteY1" fmla="*/ 116681 h 192881"/>
                <a:gd name="connsiteX2" fmla="*/ 157162 w 157162"/>
                <a:gd name="connsiteY2" fmla="*/ 85725 h 192881"/>
                <a:gd name="connsiteX3" fmla="*/ 130969 w 157162"/>
                <a:gd name="connsiteY3" fmla="*/ 54769 h 192881"/>
                <a:gd name="connsiteX4" fmla="*/ 102394 w 157162"/>
                <a:gd name="connsiteY4" fmla="*/ 0 h 192881"/>
                <a:gd name="connsiteX5" fmla="*/ 61912 w 157162"/>
                <a:gd name="connsiteY5" fmla="*/ 45244 h 192881"/>
                <a:gd name="connsiteX6" fmla="*/ 30956 w 157162"/>
                <a:gd name="connsiteY6" fmla="*/ 73819 h 192881"/>
                <a:gd name="connsiteX7" fmla="*/ 57150 w 157162"/>
                <a:gd name="connsiteY7" fmla="*/ 92869 h 192881"/>
                <a:gd name="connsiteX8" fmla="*/ 38100 w 157162"/>
                <a:gd name="connsiteY8" fmla="*/ 123825 h 192881"/>
                <a:gd name="connsiteX9" fmla="*/ 0 w 157162"/>
                <a:gd name="connsiteY9" fmla="*/ 157162 h 192881"/>
                <a:gd name="connsiteX10" fmla="*/ 23812 w 157162"/>
                <a:gd name="connsiteY10" fmla="*/ 173831 h 192881"/>
                <a:gd name="connsiteX11" fmla="*/ 57150 w 157162"/>
                <a:gd name="connsiteY11" fmla="*/ 192881 h 192881"/>
                <a:gd name="connsiteX12" fmla="*/ 150019 w 157162"/>
                <a:gd name="connsiteY12" fmla="*/ 166687 h 192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162" h="192881">
                  <a:moveTo>
                    <a:pt x="150019" y="166687"/>
                  </a:moveTo>
                  <a:lnTo>
                    <a:pt x="142875" y="116681"/>
                  </a:lnTo>
                  <a:lnTo>
                    <a:pt x="157162" y="85725"/>
                  </a:lnTo>
                  <a:lnTo>
                    <a:pt x="130969" y="54769"/>
                  </a:lnTo>
                  <a:lnTo>
                    <a:pt x="102394" y="0"/>
                  </a:lnTo>
                  <a:lnTo>
                    <a:pt x="61912" y="45244"/>
                  </a:lnTo>
                  <a:lnTo>
                    <a:pt x="30956" y="73819"/>
                  </a:lnTo>
                  <a:lnTo>
                    <a:pt x="57150" y="92869"/>
                  </a:lnTo>
                  <a:lnTo>
                    <a:pt x="38100" y="123825"/>
                  </a:lnTo>
                  <a:lnTo>
                    <a:pt x="0" y="157162"/>
                  </a:lnTo>
                  <a:lnTo>
                    <a:pt x="23812" y="173831"/>
                  </a:lnTo>
                  <a:lnTo>
                    <a:pt x="57150" y="192881"/>
                  </a:lnTo>
                  <a:lnTo>
                    <a:pt x="150019" y="16668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09" name="Freeform: Shape 116"/>
            <p:cNvSpPr/>
            <p:nvPr/>
          </p:nvSpPr>
          <p:spPr bwMode="auto">
            <a:xfrm>
              <a:off x="6598444" y="1228725"/>
              <a:ext cx="171450" cy="190500"/>
            </a:xfrm>
            <a:custGeom>
              <a:avLst/>
              <a:gdLst>
                <a:gd name="connsiteX0" fmla="*/ 0 w 171450"/>
                <a:gd name="connsiteY0" fmla="*/ 80963 h 190500"/>
                <a:gd name="connsiteX1" fmla="*/ 40481 w 171450"/>
                <a:gd name="connsiteY1" fmla="*/ 147638 h 190500"/>
                <a:gd name="connsiteX2" fmla="*/ 69056 w 171450"/>
                <a:gd name="connsiteY2" fmla="*/ 133350 h 190500"/>
                <a:gd name="connsiteX3" fmla="*/ 85725 w 171450"/>
                <a:gd name="connsiteY3" fmla="*/ 161925 h 190500"/>
                <a:gd name="connsiteX4" fmla="*/ 116681 w 171450"/>
                <a:gd name="connsiteY4" fmla="*/ 178594 h 190500"/>
                <a:gd name="connsiteX5" fmla="*/ 150019 w 171450"/>
                <a:gd name="connsiteY5" fmla="*/ 190500 h 190500"/>
                <a:gd name="connsiteX6" fmla="*/ 159544 w 171450"/>
                <a:gd name="connsiteY6" fmla="*/ 166688 h 190500"/>
                <a:gd name="connsiteX7" fmla="*/ 133350 w 171450"/>
                <a:gd name="connsiteY7" fmla="*/ 109538 h 190500"/>
                <a:gd name="connsiteX8" fmla="*/ 159544 w 171450"/>
                <a:gd name="connsiteY8" fmla="*/ 114300 h 190500"/>
                <a:gd name="connsiteX9" fmla="*/ 171450 w 171450"/>
                <a:gd name="connsiteY9" fmla="*/ 45244 h 190500"/>
                <a:gd name="connsiteX10" fmla="*/ 142875 w 171450"/>
                <a:gd name="connsiteY10" fmla="*/ 4763 h 190500"/>
                <a:gd name="connsiteX11" fmla="*/ 119062 w 171450"/>
                <a:gd name="connsiteY11" fmla="*/ 64294 h 190500"/>
                <a:gd name="connsiteX12" fmla="*/ 90487 w 171450"/>
                <a:gd name="connsiteY12" fmla="*/ 71438 h 190500"/>
                <a:gd name="connsiteX13" fmla="*/ 111919 w 171450"/>
                <a:gd name="connsiteY13" fmla="*/ 19050 h 190500"/>
                <a:gd name="connsiteX14" fmla="*/ 109537 w 171450"/>
                <a:gd name="connsiteY14" fmla="*/ 0 h 190500"/>
                <a:gd name="connsiteX15" fmla="*/ 52387 w 171450"/>
                <a:gd name="connsiteY15" fmla="*/ 7144 h 190500"/>
                <a:gd name="connsiteX16" fmla="*/ 0 w 171450"/>
                <a:gd name="connsiteY16" fmla="*/ 809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1450" h="190500">
                  <a:moveTo>
                    <a:pt x="0" y="80963"/>
                  </a:moveTo>
                  <a:lnTo>
                    <a:pt x="40481" y="147638"/>
                  </a:lnTo>
                  <a:lnTo>
                    <a:pt x="69056" y="133350"/>
                  </a:lnTo>
                  <a:lnTo>
                    <a:pt x="85725" y="161925"/>
                  </a:lnTo>
                  <a:lnTo>
                    <a:pt x="116681" y="178594"/>
                  </a:lnTo>
                  <a:lnTo>
                    <a:pt x="150019" y="190500"/>
                  </a:lnTo>
                  <a:lnTo>
                    <a:pt x="159544" y="166688"/>
                  </a:lnTo>
                  <a:lnTo>
                    <a:pt x="133350" y="109538"/>
                  </a:lnTo>
                  <a:lnTo>
                    <a:pt x="159544" y="114300"/>
                  </a:lnTo>
                  <a:lnTo>
                    <a:pt x="171450" y="45244"/>
                  </a:lnTo>
                  <a:lnTo>
                    <a:pt x="142875" y="4763"/>
                  </a:lnTo>
                  <a:lnTo>
                    <a:pt x="119062" y="64294"/>
                  </a:lnTo>
                  <a:lnTo>
                    <a:pt x="90487" y="71438"/>
                  </a:lnTo>
                  <a:lnTo>
                    <a:pt x="111919" y="19050"/>
                  </a:lnTo>
                  <a:lnTo>
                    <a:pt x="109537" y="0"/>
                  </a:lnTo>
                  <a:lnTo>
                    <a:pt x="52387" y="7144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0" name="Freeform: Shape 117"/>
            <p:cNvSpPr/>
            <p:nvPr/>
          </p:nvSpPr>
          <p:spPr bwMode="auto">
            <a:xfrm>
              <a:off x="6548438" y="1233488"/>
              <a:ext cx="61912" cy="64293"/>
            </a:xfrm>
            <a:custGeom>
              <a:avLst/>
              <a:gdLst>
                <a:gd name="connsiteX0" fmla="*/ 0 w 61912"/>
                <a:gd name="connsiteY0" fmla="*/ 0 h 64293"/>
                <a:gd name="connsiteX1" fmla="*/ 61912 w 61912"/>
                <a:gd name="connsiteY1" fmla="*/ 30956 h 64293"/>
                <a:gd name="connsiteX2" fmla="*/ 35718 w 61912"/>
                <a:gd name="connsiteY2" fmla="*/ 64293 h 64293"/>
                <a:gd name="connsiteX3" fmla="*/ 0 w 61912"/>
                <a:gd name="connsiteY3" fmla="*/ 0 h 6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912" h="64293">
                  <a:moveTo>
                    <a:pt x="0" y="0"/>
                  </a:moveTo>
                  <a:lnTo>
                    <a:pt x="61912" y="30956"/>
                  </a:lnTo>
                  <a:lnTo>
                    <a:pt x="35718" y="642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1" name="Freeform: Shape 118"/>
            <p:cNvSpPr/>
            <p:nvPr/>
          </p:nvSpPr>
          <p:spPr bwMode="auto">
            <a:xfrm>
              <a:off x="5829300" y="1062038"/>
              <a:ext cx="90488" cy="104775"/>
            </a:xfrm>
            <a:custGeom>
              <a:avLst/>
              <a:gdLst>
                <a:gd name="connsiteX0" fmla="*/ 38100 w 90488"/>
                <a:gd name="connsiteY0" fmla="*/ 104775 h 104775"/>
                <a:gd name="connsiteX1" fmla="*/ 90488 w 90488"/>
                <a:gd name="connsiteY1" fmla="*/ 33337 h 104775"/>
                <a:gd name="connsiteX2" fmla="*/ 57150 w 90488"/>
                <a:gd name="connsiteY2" fmla="*/ 0 h 104775"/>
                <a:gd name="connsiteX3" fmla="*/ 30956 w 90488"/>
                <a:gd name="connsiteY3" fmla="*/ 38100 h 104775"/>
                <a:gd name="connsiteX4" fmla="*/ 0 w 90488"/>
                <a:gd name="connsiteY4" fmla="*/ 54768 h 104775"/>
                <a:gd name="connsiteX5" fmla="*/ 38100 w 90488"/>
                <a:gd name="connsiteY5" fmla="*/ 104775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488" h="104775">
                  <a:moveTo>
                    <a:pt x="38100" y="104775"/>
                  </a:moveTo>
                  <a:lnTo>
                    <a:pt x="90488" y="33337"/>
                  </a:lnTo>
                  <a:lnTo>
                    <a:pt x="57150" y="0"/>
                  </a:lnTo>
                  <a:lnTo>
                    <a:pt x="30956" y="38100"/>
                  </a:lnTo>
                  <a:lnTo>
                    <a:pt x="0" y="54768"/>
                  </a:lnTo>
                  <a:lnTo>
                    <a:pt x="38100" y="10477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2" name="Freeform: Shape 119"/>
            <p:cNvSpPr/>
            <p:nvPr/>
          </p:nvSpPr>
          <p:spPr bwMode="auto">
            <a:xfrm>
              <a:off x="5755481" y="1119188"/>
              <a:ext cx="64294" cy="71437"/>
            </a:xfrm>
            <a:custGeom>
              <a:avLst/>
              <a:gdLst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16669 w 57150"/>
                <a:gd name="connsiteY4" fmla="*/ 0 h 71437"/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35719 w 57150"/>
                <a:gd name="connsiteY4" fmla="*/ 21431 h 71437"/>
                <a:gd name="connsiteX5" fmla="*/ 16669 w 57150"/>
                <a:gd name="connsiteY5" fmla="*/ 0 h 71437"/>
                <a:gd name="connsiteX0" fmla="*/ 16669 w 64294"/>
                <a:gd name="connsiteY0" fmla="*/ 0 h 71437"/>
                <a:gd name="connsiteX1" fmla="*/ 0 w 64294"/>
                <a:gd name="connsiteY1" fmla="*/ 52387 h 71437"/>
                <a:gd name="connsiteX2" fmla="*/ 45244 w 64294"/>
                <a:gd name="connsiteY2" fmla="*/ 71437 h 71437"/>
                <a:gd name="connsiteX3" fmla="*/ 57150 w 64294"/>
                <a:gd name="connsiteY3" fmla="*/ 38100 h 71437"/>
                <a:gd name="connsiteX4" fmla="*/ 64294 w 64294"/>
                <a:gd name="connsiteY4" fmla="*/ 14288 h 71437"/>
                <a:gd name="connsiteX5" fmla="*/ 16669 w 64294"/>
                <a:gd name="connsiteY5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294" h="71437">
                  <a:moveTo>
                    <a:pt x="16669" y="0"/>
                  </a:moveTo>
                  <a:lnTo>
                    <a:pt x="0" y="52387"/>
                  </a:lnTo>
                  <a:lnTo>
                    <a:pt x="45244" y="71437"/>
                  </a:lnTo>
                  <a:lnTo>
                    <a:pt x="57150" y="38100"/>
                  </a:lnTo>
                  <a:lnTo>
                    <a:pt x="64294" y="14288"/>
                  </a:lnTo>
                  <a:lnTo>
                    <a:pt x="16669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3" name="Freeform: Shape 120"/>
            <p:cNvSpPr/>
            <p:nvPr/>
          </p:nvSpPr>
          <p:spPr bwMode="auto">
            <a:xfrm>
              <a:off x="5398294" y="1119188"/>
              <a:ext cx="90487" cy="61913"/>
            </a:xfrm>
            <a:custGeom>
              <a:avLst/>
              <a:gdLst>
                <a:gd name="connsiteX0" fmla="*/ 0 w 90487"/>
                <a:gd name="connsiteY0" fmla="*/ 33337 h 33337"/>
                <a:gd name="connsiteX1" fmla="*/ 69056 w 90487"/>
                <a:gd name="connsiteY1" fmla="*/ 0 h 33337"/>
                <a:gd name="connsiteX2" fmla="*/ 90487 w 90487"/>
                <a:gd name="connsiteY2" fmla="*/ 30956 h 33337"/>
                <a:gd name="connsiteX3" fmla="*/ 64294 w 90487"/>
                <a:gd name="connsiteY3" fmla="*/ 30956 h 33337"/>
                <a:gd name="connsiteX4" fmla="*/ 0 w 90487"/>
                <a:gd name="connsiteY4" fmla="*/ 33337 h 33337"/>
                <a:gd name="connsiteX0" fmla="*/ 0 w 90487"/>
                <a:gd name="connsiteY0" fmla="*/ 33337 h 33337"/>
                <a:gd name="connsiteX1" fmla="*/ 69056 w 90487"/>
                <a:gd name="connsiteY1" fmla="*/ 0 h 33337"/>
                <a:gd name="connsiteX2" fmla="*/ 90487 w 90487"/>
                <a:gd name="connsiteY2" fmla="*/ 30956 h 33337"/>
                <a:gd name="connsiteX3" fmla="*/ 64294 w 90487"/>
                <a:gd name="connsiteY3" fmla="*/ 30956 h 33337"/>
                <a:gd name="connsiteX4" fmla="*/ 40481 w 90487"/>
                <a:gd name="connsiteY4" fmla="*/ 30956 h 33337"/>
                <a:gd name="connsiteX5" fmla="*/ 0 w 90487"/>
                <a:gd name="connsiteY5" fmla="*/ 33337 h 33337"/>
                <a:gd name="connsiteX0" fmla="*/ 0 w 90487"/>
                <a:gd name="connsiteY0" fmla="*/ 33337 h 61913"/>
                <a:gd name="connsiteX1" fmla="*/ 69056 w 90487"/>
                <a:gd name="connsiteY1" fmla="*/ 0 h 61913"/>
                <a:gd name="connsiteX2" fmla="*/ 90487 w 90487"/>
                <a:gd name="connsiteY2" fmla="*/ 30956 h 61913"/>
                <a:gd name="connsiteX3" fmla="*/ 64294 w 90487"/>
                <a:gd name="connsiteY3" fmla="*/ 30956 h 61913"/>
                <a:gd name="connsiteX4" fmla="*/ 40481 w 90487"/>
                <a:gd name="connsiteY4" fmla="*/ 61913 h 61913"/>
                <a:gd name="connsiteX5" fmla="*/ 0 w 90487"/>
                <a:gd name="connsiteY5" fmla="*/ 33337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487" h="61913">
                  <a:moveTo>
                    <a:pt x="0" y="33337"/>
                  </a:moveTo>
                  <a:lnTo>
                    <a:pt x="69056" y="0"/>
                  </a:lnTo>
                  <a:lnTo>
                    <a:pt x="90487" y="30956"/>
                  </a:lnTo>
                  <a:lnTo>
                    <a:pt x="64294" y="30956"/>
                  </a:lnTo>
                  <a:lnTo>
                    <a:pt x="40481" y="61913"/>
                  </a:lnTo>
                  <a:lnTo>
                    <a:pt x="0" y="3333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4" name="Freeform: Shape 121"/>
            <p:cNvSpPr/>
            <p:nvPr/>
          </p:nvSpPr>
          <p:spPr bwMode="auto">
            <a:xfrm>
              <a:off x="5457825" y="1102519"/>
              <a:ext cx="109538" cy="140494"/>
            </a:xfrm>
            <a:custGeom>
              <a:avLst/>
              <a:gdLst>
                <a:gd name="connsiteX0" fmla="*/ 78581 w 109538"/>
                <a:gd name="connsiteY0" fmla="*/ 0 h 140494"/>
                <a:gd name="connsiteX1" fmla="*/ 109538 w 109538"/>
                <a:gd name="connsiteY1" fmla="*/ 42862 h 140494"/>
                <a:gd name="connsiteX2" fmla="*/ 95250 w 109538"/>
                <a:gd name="connsiteY2" fmla="*/ 71437 h 140494"/>
                <a:gd name="connsiteX3" fmla="*/ 71438 w 109538"/>
                <a:gd name="connsiteY3" fmla="*/ 64294 h 140494"/>
                <a:gd name="connsiteX4" fmla="*/ 61913 w 109538"/>
                <a:gd name="connsiteY4" fmla="*/ 78581 h 140494"/>
                <a:gd name="connsiteX5" fmla="*/ 33338 w 109538"/>
                <a:gd name="connsiteY5" fmla="*/ 95250 h 140494"/>
                <a:gd name="connsiteX6" fmla="*/ 35719 w 109538"/>
                <a:gd name="connsiteY6" fmla="*/ 121444 h 140494"/>
                <a:gd name="connsiteX7" fmla="*/ 19050 w 109538"/>
                <a:gd name="connsiteY7" fmla="*/ 140494 h 140494"/>
                <a:gd name="connsiteX8" fmla="*/ 0 w 109538"/>
                <a:gd name="connsiteY8" fmla="*/ 116681 h 140494"/>
                <a:gd name="connsiteX9" fmla="*/ 9525 w 109538"/>
                <a:gd name="connsiteY9" fmla="*/ 102394 h 140494"/>
                <a:gd name="connsiteX10" fmla="*/ 21431 w 109538"/>
                <a:gd name="connsiteY10" fmla="*/ 71437 h 140494"/>
                <a:gd name="connsiteX11" fmla="*/ 50006 w 109538"/>
                <a:gd name="connsiteY11" fmla="*/ 66675 h 140494"/>
                <a:gd name="connsiteX12" fmla="*/ 57150 w 109538"/>
                <a:gd name="connsiteY12" fmla="*/ 50006 h 140494"/>
                <a:gd name="connsiteX13" fmla="*/ 78581 w 109538"/>
                <a:gd name="connsiteY13" fmla="*/ 0 h 14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538" h="140494">
                  <a:moveTo>
                    <a:pt x="78581" y="0"/>
                  </a:moveTo>
                  <a:lnTo>
                    <a:pt x="109538" y="42862"/>
                  </a:lnTo>
                  <a:lnTo>
                    <a:pt x="95250" y="71437"/>
                  </a:lnTo>
                  <a:lnTo>
                    <a:pt x="71438" y="64294"/>
                  </a:lnTo>
                  <a:lnTo>
                    <a:pt x="61913" y="78581"/>
                  </a:lnTo>
                  <a:lnTo>
                    <a:pt x="33338" y="95250"/>
                  </a:lnTo>
                  <a:lnTo>
                    <a:pt x="35719" y="121444"/>
                  </a:lnTo>
                  <a:lnTo>
                    <a:pt x="19050" y="140494"/>
                  </a:lnTo>
                  <a:lnTo>
                    <a:pt x="0" y="116681"/>
                  </a:lnTo>
                  <a:lnTo>
                    <a:pt x="9525" y="102394"/>
                  </a:lnTo>
                  <a:lnTo>
                    <a:pt x="21431" y="71437"/>
                  </a:lnTo>
                  <a:lnTo>
                    <a:pt x="50006" y="66675"/>
                  </a:lnTo>
                  <a:lnTo>
                    <a:pt x="57150" y="50006"/>
                  </a:lnTo>
                  <a:lnTo>
                    <a:pt x="78581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5" name="Freeform: Shape 122"/>
            <p:cNvSpPr/>
            <p:nvPr/>
          </p:nvSpPr>
          <p:spPr bwMode="auto">
            <a:xfrm>
              <a:off x="5664994" y="1193006"/>
              <a:ext cx="26194" cy="50007"/>
            </a:xfrm>
            <a:custGeom>
              <a:avLst/>
              <a:gdLst>
                <a:gd name="connsiteX0" fmla="*/ 19050 w 26194"/>
                <a:gd name="connsiteY0" fmla="*/ 0 h 50007"/>
                <a:gd name="connsiteX1" fmla="*/ 0 w 26194"/>
                <a:gd name="connsiteY1" fmla="*/ 30957 h 50007"/>
                <a:gd name="connsiteX2" fmla="*/ 26194 w 26194"/>
                <a:gd name="connsiteY2" fmla="*/ 50007 h 50007"/>
                <a:gd name="connsiteX3" fmla="*/ 19050 w 26194"/>
                <a:gd name="connsiteY3" fmla="*/ 0 h 5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94" h="50007">
                  <a:moveTo>
                    <a:pt x="19050" y="0"/>
                  </a:moveTo>
                  <a:lnTo>
                    <a:pt x="0" y="30957"/>
                  </a:lnTo>
                  <a:lnTo>
                    <a:pt x="26194" y="50007"/>
                  </a:lnTo>
                  <a:lnTo>
                    <a:pt x="1905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6" name="Freeform: Shape 123"/>
            <p:cNvSpPr/>
            <p:nvPr/>
          </p:nvSpPr>
          <p:spPr bwMode="auto">
            <a:xfrm>
              <a:off x="5715000" y="1166813"/>
              <a:ext cx="11906" cy="66675"/>
            </a:xfrm>
            <a:custGeom>
              <a:avLst/>
              <a:gdLst>
                <a:gd name="connsiteX0" fmla="*/ 11906 w 11906"/>
                <a:gd name="connsiteY0" fmla="*/ 66675 h 66675"/>
                <a:gd name="connsiteX1" fmla="*/ 0 w 11906"/>
                <a:gd name="connsiteY1" fmla="*/ 0 h 66675"/>
                <a:gd name="connsiteX2" fmla="*/ 11906 w 11906"/>
                <a:gd name="connsiteY2" fmla="*/ 66675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06" h="66675">
                  <a:moveTo>
                    <a:pt x="11906" y="66675"/>
                  </a:moveTo>
                  <a:lnTo>
                    <a:pt x="0" y="0"/>
                  </a:lnTo>
                  <a:lnTo>
                    <a:pt x="11906" y="66675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7" name="Freeform: Shape 124"/>
            <p:cNvSpPr/>
            <p:nvPr/>
          </p:nvSpPr>
          <p:spPr bwMode="auto">
            <a:xfrm>
              <a:off x="5614988" y="1083469"/>
              <a:ext cx="95250" cy="64294"/>
            </a:xfrm>
            <a:custGeom>
              <a:avLst/>
              <a:gdLst>
                <a:gd name="connsiteX0" fmla="*/ 0 w 95250"/>
                <a:gd name="connsiteY0" fmla="*/ 0 h 64294"/>
                <a:gd name="connsiteX1" fmla="*/ 95250 w 95250"/>
                <a:gd name="connsiteY1" fmla="*/ 64294 h 64294"/>
                <a:gd name="connsiteX2" fmla="*/ 76200 w 95250"/>
                <a:gd name="connsiteY2" fmla="*/ 19050 h 64294"/>
                <a:gd name="connsiteX3" fmla="*/ 0 w 95250"/>
                <a:gd name="connsiteY3" fmla="*/ 0 h 6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64294">
                  <a:moveTo>
                    <a:pt x="0" y="0"/>
                  </a:moveTo>
                  <a:lnTo>
                    <a:pt x="95250" y="64294"/>
                  </a:lnTo>
                  <a:lnTo>
                    <a:pt x="76200" y="190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8" name="Freeform: Shape 125"/>
            <p:cNvSpPr/>
            <p:nvPr/>
          </p:nvSpPr>
          <p:spPr bwMode="auto">
            <a:xfrm>
              <a:off x="5476243" y="2282829"/>
              <a:ext cx="51088" cy="56764"/>
            </a:xfrm>
            <a:custGeom>
              <a:avLst/>
              <a:gdLst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16669 w 57150"/>
                <a:gd name="connsiteY4" fmla="*/ 0 h 71437"/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35719 w 57150"/>
                <a:gd name="connsiteY4" fmla="*/ 21431 h 71437"/>
                <a:gd name="connsiteX5" fmla="*/ 16669 w 57150"/>
                <a:gd name="connsiteY5" fmla="*/ 0 h 71437"/>
                <a:gd name="connsiteX0" fmla="*/ 16669 w 64294"/>
                <a:gd name="connsiteY0" fmla="*/ 0 h 71437"/>
                <a:gd name="connsiteX1" fmla="*/ 0 w 64294"/>
                <a:gd name="connsiteY1" fmla="*/ 52387 h 71437"/>
                <a:gd name="connsiteX2" fmla="*/ 45244 w 64294"/>
                <a:gd name="connsiteY2" fmla="*/ 71437 h 71437"/>
                <a:gd name="connsiteX3" fmla="*/ 57150 w 64294"/>
                <a:gd name="connsiteY3" fmla="*/ 38100 h 71437"/>
                <a:gd name="connsiteX4" fmla="*/ 64294 w 64294"/>
                <a:gd name="connsiteY4" fmla="*/ 14288 h 71437"/>
                <a:gd name="connsiteX5" fmla="*/ 16669 w 64294"/>
                <a:gd name="connsiteY5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294" h="71437">
                  <a:moveTo>
                    <a:pt x="16669" y="0"/>
                  </a:moveTo>
                  <a:lnTo>
                    <a:pt x="0" y="52387"/>
                  </a:lnTo>
                  <a:lnTo>
                    <a:pt x="45244" y="71437"/>
                  </a:lnTo>
                  <a:lnTo>
                    <a:pt x="57150" y="38100"/>
                  </a:lnTo>
                  <a:lnTo>
                    <a:pt x="64294" y="14288"/>
                  </a:lnTo>
                  <a:lnTo>
                    <a:pt x="16669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9" name="Freeform: Shape 126"/>
            <p:cNvSpPr/>
            <p:nvPr/>
          </p:nvSpPr>
          <p:spPr bwMode="auto">
            <a:xfrm>
              <a:off x="4564856" y="4583906"/>
              <a:ext cx="185738" cy="230982"/>
            </a:xfrm>
            <a:custGeom>
              <a:avLst/>
              <a:gdLst>
                <a:gd name="connsiteX0" fmla="*/ 0 w 185738"/>
                <a:gd name="connsiteY0" fmla="*/ 180975 h 230982"/>
                <a:gd name="connsiteX1" fmla="*/ 33338 w 185738"/>
                <a:gd name="connsiteY1" fmla="*/ 230982 h 230982"/>
                <a:gd name="connsiteX2" fmla="*/ 45244 w 185738"/>
                <a:gd name="connsiteY2" fmla="*/ 219075 h 230982"/>
                <a:gd name="connsiteX3" fmla="*/ 83344 w 185738"/>
                <a:gd name="connsiteY3" fmla="*/ 216694 h 230982"/>
                <a:gd name="connsiteX4" fmla="*/ 104775 w 185738"/>
                <a:gd name="connsiteY4" fmla="*/ 188119 h 230982"/>
                <a:gd name="connsiteX5" fmla="*/ 145257 w 185738"/>
                <a:gd name="connsiteY5" fmla="*/ 119063 h 230982"/>
                <a:gd name="connsiteX6" fmla="*/ 173832 w 185738"/>
                <a:gd name="connsiteY6" fmla="*/ 90488 h 230982"/>
                <a:gd name="connsiteX7" fmla="*/ 185738 w 185738"/>
                <a:gd name="connsiteY7" fmla="*/ 0 h 230982"/>
                <a:gd name="connsiteX8" fmla="*/ 138113 w 185738"/>
                <a:gd name="connsiteY8" fmla="*/ 0 h 230982"/>
                <a:gd name="connsiteX9" fmla="*/ 121444 w 185738"/>
                <a:gd name="connsiteY9" fmla="*/ 26194 h 230982"/>
                <a:gd name="connsiteX10" fmla="*/ 119063 w 185738"/>
                <a:gd name="connsiteY10" fmla="*/ 40482 h 230982"/>
                <a:gd name="connsiteX11" fmla="*/ 54769 w 185738"/>
                <a:gd name="connsiteY11" fmla="*/ 33338 h 230982"/>
                <a:gd name="connsiteX12" fmla="*/ 52388 w 185738"/>
                <a:gd name="connsiteY12" fmla="*/ 61913 h 230982"/>
                <a:gd name="connsiteX13" fmla="*/ 90488 w 185738"/>
                <a:gd name="connsiteY13" fmla="*/ 52388 h 230982"/>
                <a:gd name="connsiteX14" fmla="*/ 80963 w 185738"/>
                <a:gd name="connsiteY14" fmla="*/ 83344 h 230982"/>
                <a:gd name="connsiteX15" fmla="*/ 90488 w 185738"/>
                <a:gd name="connsiteY15" fmla="*/ 119063 h 230982"/>
                <a:gd name="connsiteX16" fmla="*/ 92869 w 185738"/>
                <a:gd name="connsiteY16" fmla="*/ 147638 h 230982"/>
                <a:gd name="connsiteX17" fmla="*/ 61913 w 185738"/>
                <a:gd name="connsiteY17" fmla="*/ 147638 h 230982"/>
                <a:gd name="connsiteX18" fmla="*/ 38100 w 185738"/>
                <a:gd name="connsiteY18" fmla="*/ 142875 h 230982"/>
                <a:gd name="connsiteX19" fmla="*/ 0 w 185738"/>
                <a:gd name="connsiteY19" fmla="*/ 180975 h 23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5738" h="230982">
                  <a:moveTo>
                    <a:pt x="0" y="180975"/>
                  </a:moveTo>
                  <a:lnTo>
                    <a:pt x="33338" y="230982"/>
                  </a:lnTo>
                  <a:lnTo>
                    <a:pt x="45244" y="219075"/>
                  </a:lnTo>
                  <a:lnTo>
                    <a:pt x="83344" y="216694"/>
                  </a:lnTo>
                  <a:lnTo>
                    <a:pt x="104775" y="188119"/>
                  </a:lnTo>
                  <a:lnTo>
                    <a:pt x="145257" y="119063"/>
                  </a:lnTo>
                  <a:lnTo>
                    <a:pt x="173832" y="90488"/>
                  </a:lnTo>
                  <a:lnTo>
                    <a:pt x="185738" y="0"/>
                  </a:lnTo>
                  <a:lnTo>
                    <a:pt x="138113" y="0"/>
                  </a:lnTo>
                  <a:lnTo>
                    <a:pt x="121444" y="26194"/>
                  </a:lnTo>
                  <a:lnTo>
                    <a:pt x="119063" y="40482"/>
                  </a:lnTo>
                  <a:lnTo>
                    <a:pt x="54769" y="33338"/>
                  </a:lnTo>
                  <a:lnTo>
                    <a:pt x="52388" y="61913"/>
                  </a:lnTo>
                  <a:lnTo>
                    <a:pt x="90488" y="52388"/>
                  </a:lnTo>
                  <a:lnTo>
                    <a:pt x="80963" y="83344"/>
                  </a:lnTo>
                  <a:lnTo>
                    <a:pt x="90488" y="119063"/>
                  </a:lnTo>
                  <a:lnTo>
                    <a:pt x="92869" y="147638"/>
                  </a:lnTo>
                  <a:lnTo>
                    <a:pt x="61913" y="147638"/>
                  </a:lnTo>
                  <a:lnTo>
                    <a:pt x="38100" y="142875"/>
                  </a:lnTo>
                  <a:lnTo>
                    <a:pt x="0" y="18097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: Shape 127"/>
            <p:cNvSpPr/>
            <p:nvPr/>
          </p:nvSpPr>
          <p:spPr bwMode="auto">
            <a:xfrm>
              <a:off x="5095875" y="4910138"/>
              <a:ext cx="69056" cy="171450"/>
            </a:xfrm>
            <a:custGeom>
              <a:avLst/>
              <a:gdLst>
                <a:gd name="connsiteX0" fmla="*/ 2381 w 69056"/>
                <a:gd name="connsiteY0" fmla="*/ 0 h 161925"/>
                <a:gd name="connsiteX1" fmla="*/ 23813 w 69056"/>
                <a:gd name="connsiteY1" fmla="*/ 52387 h 161925"/>
                <a:gd name="connsiteX2" fmla="*/ 0 w 69056"/>
                <a:gd name="connsiteY2" fmla="*/ 114300 h 161925"/>
                <a:gd name="connsiteX3" fmla="*/ 38100 w 69056"/>
                <a:gd name="connsiteY3" fmla="*/ 145256 h 161925"/>
                <a:gd name="connsiteX4" fmla="*/ 45244 w 69056"/>
                <a:gd name="connsiteY4" fmla="*/ 161925 h 161925"/>
                <a:gd name="connsiteX5" fmla="*/ 69056 w 69056"/>
                <a:gd name="connsiteY5" fmla="*/ 145256 h 161925"/>
                <a:gd name="connsiteX6" fmla="*/ 66675 w 69056"/>
                <a:gd name="connsiteY6" fmla="*/ 123825 h 161925"/>
                <a:gd name="connsiteX7" fmla="*/ 42863 w 69056"/>
                <a:gd name="connsiteY7" fmla="*/ 80962 h 161925"/>
                <a:gd name="connsiteX8" fmla="*/ 45244 w 69056"/>
                <a:gd name="connsiteY8" fmla="*/ 38100 h 161925"/>
                <a:gd name="connsiteX9" fmla="*/ 54769 w 69056"/>
                <a:gd name="connsiteY9" fmla="*/ 35718 h 161925"/>
                <a:gd name="connsiteX10" fmla="*/ 2381 w 69056"/>
                <a:gd name="connsiteY10" fmla="*/ 0 h 161925"/>
                <a:gd name="connsiteX0" fmla="*/ 2381 w 69056"/>
                <a:gd name="connsiteY0" fmla="*/ 0 h 161925"/>
                <a:gd name="connsiteX1" fmla="*/ 23813 w 69056"/>
                <a:gd name="connsiteY1" fmla="*/ 52387 h 161925"/>
                <a:gd name="connsiteX2" fmla="*/ 0 w 69056"/>
                <a:gd name="connsiteY2" fmla="*/ 114300 h 161925"/>
                <a:gd name="connsiteX3" fmla="*/ 38100 w 69056"/>
                <a:gd name="connsiteY3" fmla="*/ 145256 h 161925"/>
                <a:gd name="connsiteX4" fmla="*/ 45244 w 69056"/>
                <a:gd name="connsiteY4" fmla="*/ 161925 h 161925"/>
                <a:gd name="connsiteX5" fmla="*/ 69056 w 69056"/>
                <a:gd name="connsiteY5" fmla="*/ 145256 h 161925"/>
                <a:gd name="connsiteX6" fmla="*/ 66675 w 69056"/>
                <a:gd name="connsiteY6" fmla="*/ 123825 h 161925"/>
                <a:gd name="connsiteX7" fmla="*/ 42863 w 69056"/>
                <a:gd name="connsiteY7" fmla="*/ 80962 h 161925"/>
                <a:gd name="connsiteX8" fmla="*/ 45244 w 69056"/>
                <a:gd name="connsiteY8" fmla="*/ 38100 h 161925"/>
                <a:gd name="connsiteX9" fmla="*/ 54769 w 69056"/>
                <a:gd name="connsiteY9" fmla="*/ 35718 h 161925"/>
                <a:gd name="connsiteX10" fmla="*/ 26194 w 69056"/>
                <a:gd name="connsiteY10" fmla="*/ 14287 h 161925"/>
                <a:gd name="connsiteX11" fmla="*/ 2381 w 69056"/>
                <a:gd name="connsiteY11" fmla="*/ 0 h 161925"/>
                <a:gd name="connsiteX0" fmla="*/ 2381 w 69056"/>
                <a:gd name="connsiteY0" fmla="*/ 9525 h 171450"/>
                <a:gd name="connsiteX1" fmla="*/ 23813 w 69056"/>
                <a:gd name="connsiteY1" fmla="*/ 61912 h 171450"/>
                <a:gd name="connsiteX2" fmla="*/ 0 w 69056"/>
                <a:gd name="connsiteY2" fmla="*/ 123825 h 171450"/>
                <a:gd name="connsiteX3" fmla="*/ 38100 w 69056"/>
                <a:gd name="connsiteY3" fmla="*/ 154781 h 171450"/>
                <a:gd name="connsiteX4" fmla="*/ 45244 w 69056"/>
                <a:gd name="connsiteY4" fmla="*/ 171450 h 171450"/>
                <a:gd name="connsiteX5" fmla="*/ 69056 w 69056"/>
                <a:gd name="connsiteY5" fmla="*/ 154781 h 171450"/>
                <a:gd name="connsiteX6" fmla="*/ 66675 w 69056"/>
                <a:gd name="connsiteY6" fmla="*/ 133350 h 171450"/>
                <a:gd name="connsiteX7" fmla="*/ 42863 w 69056"/>
                <a:gd name="connsiteY7" fmla="*/ 90487 h 171450"/>
                <a:gd name="connsiteX8" fmla="*/ 45244 w 69056"/>
                <a:gd name="connsiteY8" fmla="*/ 47625 h 171450"/>
                <a:gd name="connsiteX9" fmla="*/ 54769 w 69056"/>
                <a:gd name="connsiteY9" fmla="*/ 45243 h 171450"/>
                <a:gd name="connsiteX10" fmla="*/ 35719 w 69056"/>
                <a:gd name="connsiteY10" fmla="*/ 0 h 171450"/>
                <a:gd name="connsiteX11" fmla="*/ 2381 w 69056"/>
                <a:gd name="connsiteY11" fmla="*/ 95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056" h="171450">
                  <a:moveTo>
                    <a:pt x="2381" y="9525"/>
                  </a:moveTo>
                  <a:lnTo>
                    <a:pt x="23813" y="61912"/>
                  </a:lnTo>
                  <a:lnTo>
                    <a:pt x="0" y="123825"/>
                  </a:lnTo>
                  <a:lnTo>
                    <a:pt x="38100" y="154781"/>
                  </a:lnTo>
                  <a:lnTo>
                    <a:pt x="45244" y="171450"/>
                  </a:lnTo>
                  <a:lnTo>
                    <a:pt x="69056" y="154781"/>
                  </a:lnTo>
                  <a:lnTo>
                    <a:pt x="66675" y="133350"/>
                  </a:lnTo>
                  <a:lnTo>
                    <a:pt x="42863" y="90487"/>
                  </a:lnTo>
                  <a:lnTo>
                    <a:pt x="45244" y="47625"/>
                  </a:lnTo>
                  <a:lnTo>
                    <a:pt x="54769" y="45243"/>
                  </a:lnTo>
                  <a:lnTo>
                    <a:pt x="35719" y="0"/>
                  </a:lnTo>
                  <a:lnTo>
                    <a:pt x="2381" y="952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: Shape 128"/>
            <p:cNvSpPr/>
            <p:nvPr/>
          </p:nvSpPr>
          <p:spPr bwMode="auto">
            <a:xfrm>
              <a:off x="4643438" y="4079081"/>
              <a:ext cx="224485" cy="404813"/>
            </a:xfrm>
            <a:custGeom>
              <a:avLst/>
              <a:gdLst>
                <a:gd name="connsiteX0" fmla="*/ 221456 w 224485"/>
                <a:gd name="connsiteY0" fmla="*/ 97632 h 404813"/>
                <a:gd name="connsiteX1" fmla="*/ 42862 w 224485"/>
                <a:gd name="connsiteY1" fmla="*/ 0 h 404813"/>
                <a:gd name="connsiteX2" fmla="*/ 33337 w 224485"/>
                <a:gd name="connsiteY2" fmla="*/ 14288 h 404813"/>
                <a:gd name="connsiteX3" fmla="*/ 42862 w 224485"/>
                <a:gd name="connsiteY3" fmla="*/ 52388 h 404813"/>
                <a:gd name="connsiteX4" fmla="*/ 54768 w 224485"/>
                <a:gd name="connsiteY4" fmla="*/ 71438 h 404813"/>
                <a:gd name="connsiteX5" fmla="*/ 45243 w 224485"/>
                <a:gd name="connsiteY5" fmla="*/ 169069 h 404813"/>
                <a:gd name="connsiteX6" fmla="*/ 2381 w 224485"/>
                <a:gd name="connsiteY6" fmla="*/ 226219 h 404813"/>
                <a:gd name="connsiteX7" fmla="*/ 2381 w 224485"/>
                <a:gd name="connsiteY7" fmla="*/ 226219 h 404813"/>
                <a:gd name="connsiteX8" fmla="*/ 38100 w 224485"/>
                <a:gd name="connsiteY8" fmla="*/ 254794 h 404813"/>
                <a:gd name="connsiteX9" fmla="*/ 26193 w 224485"/>
                <a:gd name="connsiteY9" fmla="*/ 280988 h 404813"/>
                <a:gd name="connsiteX10" fmla="*/ 23812 w 224485"/>
                <a:gd name="connsiteY10" fmla="*/ 295275 h 404813"/>
                <a:gd name="connsiteX11" fmla="*/ 26193 w 224485"/>
                <a:gd name="connsiteY11" fmla="*/ 321469 h 404813"/>
                <a:gd name="connsiteX12" fmla="*/ 19050 w 224485"/>
                <a:gd name="connsiteY12" fmla="*/ 347663 h 404813"/>
                <a:gd name="connsiteX13" fmla="*/ 0 w 224485"/>
                <a:gd name="connsiteY13" fmla="*/ 359569 h 404813"/>
                <a:gd name="connsiteX14" fmla="*/ 19050 w 224485"/>
                <a:gd name="connsiteY14" fmla="*/ 369094 h 404813"/>
                <a:gd name="connsiteX15" fmla="*/ 30956 w 224485"/>
                <a:gd name="connsiteY15" fmla="*/ 404813 h 404813"/>
                <a:gd name="connsiteX16" fmla="*/ 66675 w 224485"/>
                <a:gd name="connsiteY16" fmla="*/ 397669 h 404813"/>
                <a:gd name="connsiteX17" fmla="*/ 102393 w 224485"/>
                <a:gd name="connsiteY17" fmla="*/ 385763 h 404813"/>
                <a:gd name="connsiteX18" fmla="*/ 119062 w 224485"/>
                <a:gd name="connsiteY18" fmla="*/ 373857 h 404813"/>
                <a:gd name="connsiteX19" fmla="*/ 140493 w 224485"/>
                <a:gd name="connsiteY19" fmla="*/ 364332 h 404813"/>
                <a:gd name="connsiteX20" fmla="*/ 188118 w 224485"/>
                <a:gd name="connsiteY20" fmla="*/ 319088 h 404813"/>
                <a:gd name="connsiteX21" fmla="*/ 202406 w 224485"/>
                <a:gd name="connsiteY21" fmla="*/ 311944 h 404813"/>
                <a:gd name="connsiteX22" fmla="*/ 202406 w 224485"/>
                <a:gd name="connsiteY22" fmla="*/ 302419 h 404813"/>
                <a:gd name="connsiteX23" fmla="*/ 200025 w 224485"/>
                <a:gd name="connsiteY23" fmla="*/ 266700 h 404813"/>
                <a:gd name="connsiteX24" fmla="*/ 192881 w 224485"/>
                <a:gd name="connsiteY24" fmla="*/ 230982 h 404813"/>
                <a:gd name="connsiteX25" fmla="*/ 214312 w 224485"/>
                <a:gd name="connsiteY25" fmla="*/ 202407 h 404813"/>
                <a:gd name="connsiteX26" fmla="*/ 223837 w 224485"/>
                <a:gd name="connsiteY26" fmla="*/ 200025 h 404813"/>
                <a:gd name="connsiteX27" fmla="*/ 221456 w 224485"/>
                <a:gd name="connsiteY27" fmla="*/ 97632 h 40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4485" h="404813">
                  <a:moveTo>
                    <a:pt x="221456" y="97632"/>
                  </a:moveTo>
                  <a:lnTo>
                    <a:pt x="42862" y="0"/>
                  </a:lnTo>
                  <a:lnTo>
                    <a:pt x="33337" y="14288"/>
                  </a:lnTo>
                  <a:lnTo>
                    <a:pt x="42862" y="52388"/>
                  </a:lnTo>
                  <a:lnTo>
                    <a:pt x="54768" y="71438"/>
                  </a:lnTo>
                  <a:lnTo>
                    <a:pt x="45243" y="169069"/>
                  </a:lnTo>
                  <a:lnTo>
                    <a:pt x="2381" y="226219"/>
                  </a:lnTo>
                  <a:lnTo>
                    <a:pt x="2381" y="226219"/>
                  </a:lnTo>
                  <a:lnTo>
                    <a:pt x="38100" y="254794"/>
                  </a:lnTo>
                  <a:lnTo>
                    <a:pt x="26193" y="280988"/>
                  </a:lnTo>
                  <a:lnTo>
                    <a:pt x="23812" y="295275"/>
                  </a:lnTo>
                  <a:lnTo>
                    <a:pt x="26193" y="321469"/>
                  </a:lnTo>
                  <a:lnTo>
                    <a:pt x="19050" y="347663"/>
                  </a:lnTo>
                  <a:lnTo>
                    <a:pt x="0" y="359569"/>
                  </a:lnTo>
                  <a:lnTo>
                    <a:pt x="19050" y="369094"/>
                  </a:lnTo>
                  <a:lnTo>
                    <a:pt x="30956" y="404813"/>
                  </a:lnTo>
                  <a:lnTo>
                    <a:pt x="66675" y="397669"/>
                  </a:lnTo>
                  <a:lnTo>
                    <a:pt x="102393" y="385763"/>
                  </a:lnTo>
                  <a:lnTo>
                    <a:pt x="119062" y="373857"/>
                  </a:lnTo>
                  <a:lnTo>
                    <a:pt x="140493" y="364332"/>
                  </a:lnTo>
                  <a:lnTo>
                    <a:pt x="188118" y="319088"/>
                  </a:lnTo>
                  <a:lnTo>
                    <a:pt x="202406" y="311944"/>
                  </a:lnTo>
                  <a:lnTo>
                    <a:pt x="202406" y="302419"/>
                  </a:lnTo>
                  <a:lnTo>
                    <a:pt x="200025" y="266700"/>
                  </a:lnTo>
                  <a:lnTo>
                    <a:pt x="192881" y="230982"/>
                  </a:lnTo>
                  <a:lnTo>
                    <a:pt x="214312" y="202407"/>
                  </a:lnTo>
                  <a:lnTo>
                    <a:pt x="223837" y="200025"/>
                  </a:lnTo>
                  <a:cubicBezTo>
                    <a:pt x="224631" y="169863"/>
                    <a:pt x="225424" y="139700"/>
                    <a:pt x="221456" y="97632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: Shape 129"/>
            <p:cNvSpPr/>
            <p:nvPr/>
          </p:nvSpPr>
          <p:spPr bwMode="auto">
            <a:xfrm>
              <a:off x="4652963" y="4393406"/>
              <a:ext cx="319087" cy="211932"/>
            </a:xfrm>
            <a:custGeom>
              <a:avLst/>
              <a:gdLst>
                <a:gd name="connsiteX0" fmla="*/ 19050 w 319087"/>
                <a:gd name="connsiteY0" fmla="*/ 83344 h 211932"/>
                <a:gd name="connsiteX1" fmla="*/ 0 w 319087"/>
                <a:gd name="connsiteY1" fmla="*/ 142875 h 211932"/>
                <a:gd name="connsiteX2" fmla="*/ 14287 w 319087"/>
                <a:gd name="connsiteY2" fmla="*/ 185738 h 211932"/>
                <a:gd name="connsiteX3" fmla="*/ 33337 w 319087"/>
                <a:gd name="connsiteY3" fmla="*/ 211932 h 211932"/>
                <a:gd name="connsiteX4" fmla="*/ 50006 w 319087"/>
                <a:gd name="connsiteY4" fmla="*/ 192882 h 211932"/>
                <a:gd name="connsiteX5" fmla="*/ 100012 w 319087"/>
                <a:gd name="connsiteY5" fmla="*/ 197644 h 211932"/>
                <a:gd name="connsiteX6" fmla="*/ 88106 w 319087"/>
                <a:gd name="connsiteY6" fmla="*/ 176213 h 211932"/>
                <a:gd name="connsiteX7" fmla="*/ 109537 w 319087"/>
                <a:gd name="connsiteY7" fmla="*/ 152400 h 211932"/>
                <a:gd name="connsiteX8" fmla="*/ 159543 w 319087"/>
                <a:gd name="connsiteY8" fmla="*/ 173832 h 211932"/>
                <a:gd name="connsiteX9" fmla="*/ 195262 w 319087"/>
                <a:gd name="connsiteY9" fmla="*/ 178594 h 211932"/>
                <a:gd name="connsiteX10" fmla="*/ 211931 w 319087"/>
                <a:gd name="connsiteY10" fmla="*/ 161925 h 211932"/>
                <a:gd name="connsiteX11" fmla="*/ 235743 w 319087"/>
                <a:gd name="connsiteY11" fmla="*/ 161925 h 211932"/>
                <a:gd name="connsiteX12" fmla="*/ 273843 w 319087"/>
                <a:gd name="connsiteY12" fmla="*/ 154782 h 211932"/>
                <a:gd name="connsiteX13" fmla="*/ 319087 w 319087"/>
                <a:gd name="connsiteY13" fmla="*/ 159544 h 211932"/>
                <a:gd name="connsiteX14" fmla="*/ 307181 w 319087"/>
                <a:gd name="connsiteY14" fmla="*/ 126207 h 211932"/>
                <a:gd name="connsiteX15" fmla="*/ 290512 w 319087"/>
                <a:gd name="connsiteY15" fmla="*/ 100013 h 211932"/>
                <a:gd name="connsiteX16" fmla="*/ 252412 w 319087"/>
                <a:gd name="connsiteY16" fmla="*/ 71438 h 211932"/>
                <a:gd name="connsiteX17" fmla="*/ 228600 w 319087"/>
                <a:gd name="connsiteY17" fmla="*/ 50007 h 211932"/>
                <a:gd name="connsiteX18" fmla="*/ 226218 w 319087"/>
                <a:gd name="connsiteY18" fmla="*/ 23813 h 211932"/>
                <a:gd name="connsiteX19" fmla="*/ 195262 w 319087"/>
                <a:gd name="connsiteY19" fmla="*/ 0 h 211932"/>
                <a:gd name="connsiteX20" fmla="*/ 152400 w 319087"/>
                <a:gd name="connsiteY20" fmla="*/ 23813 h 211932"/>
                <a:gd name="connsiteX21" fmla="*/ 138112 w 319087"/>
                <a:gd name="connsiteY21" fmla="*/ 50007 h 211932"/>
                <a:gd name="connsiteX22" fmla="*/ 111918 w 319087"/>
                <a:gd name="connsiteY22" fmla="*/ 59532 h 211932"/>
                <a:gd name="connsiteX23" fmla="*/ 83343 w 319087"/>
                <a:gd name="connsiteY23" fmla="*/ 78582 h 211932"/>
                <a:gd name="connsiteX24" fmla="*/ 19050 w 319087"/>
                <a:gd name="connsiteY24" fmla="*/ 83344 h 21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19087" h="211932">
                  <a:moveTo>
                    <a:pt x="19050" y="83344"/>
                  </a:moveTo>
                  <a:lnTo>
                    <a:pt x="0" y="142875"/>
                  </a:lnTo>
                  <a:lnTo>
                    <a:pt x="14287" y="185738"/>
                  </a:lnTo>
                  <a:lnTo>
                    <a:pt x="33337" y="211932"/>
                  </a:lnTo>
                  <a:lnTo>
                    <a:pt x="50006" y="192882"/>
                  </a:lnTo>
                  <a:lnTo>
                    <a:pt x="100012" y="197644"/>
                  </a:lnTo>
                  <a:lnTo>
                    <a:pt x="88106" y="176213"/>
                  </a:lnTo>
                  <a:lnTo>
                    <a:pt x="109537" y="152400"/>
                  </a:lnTo>
                  <a:lnTo>
                    <a:pt x="159543" y="173832"/>
                  </a:lnTo>
                  <a:lnTo>
                    <a:pt x="195262" y="178594"/>
                  </a:lnTo>
                  <a:lnTo>
                    <a:pt x="211931" y="161925"/>
                  </a:lnTo>
                  <a:lnTo>
                    <a:pt x="235743" y="161925"/>
                  </a:lnTo>
                  <a:lnTo>
                    <a:pt x="273843" y="154782"/>
                  </a:lnTo>
                  <a:lnTo>
                    <a:pt x="319087" y="159544"/>
                  </a:lnTo>
                  <a:lnTo>
                    <a:pt x="307181" y="126207"/>
                  </a:lnTo>
                  <a:lnTo>
                    <a:pt x="290512" y="100013"/>
                  </a:lnTo>
                  <a:lnTo>
                    <a:pt x="252412" y="71438"/>
                  </a:lnTo>
                  <a:lnTo>
                    <a:pt x="228600" y="50007"/>
                  </a:lnTo>
                  <a:lnTo>
                    <a:pt x="226218" y="23813"/>
                  </a:lnTo>
                  <a:lnTo>
                    <a:pt x="195262" y="0"/>
                  </a:lnTo>
                  <a:lnTo>
                    <a:pt x="152400" y="23813"/>
                  </a:lnTo>
                  <a:lnTo>
                    <a:pt x="138112" y="50007"/>
                  </a:lnTo>
                  <a:lnTo>
                    <a:pt x="111918" y="59532"/>
                  </a:lnTo>
                  <a:lnTo>
                    <a:pt x="83343" y="78582"/>
                  </a:lnTo>
                  <a:lnTo>
                    <a:pt x="19050" y="8334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: Shape 130"/>
            <p:cNvSpPr/>
            <p:nvPr/>
          </p:nvSpPr>
          <p:spPr bwMode="auto">
            <a:xfrm>
              <a:off x="5126831" y="4555331"/>
              <a:ext cx="185738" cy="219075"/>
            </a:xfrm>
            <a:custGeom>
              <a:avLst/>
              <a:gdLst>
                <a:gd name="connsiteX0" fmla="*/ 0 w 185738"/>
                <a:gd name="connsiteY0" fmla="*/ 4763 h 219075"/>
                <a:gd name="connsiteX1" fmla="*/ 35719 w 185738"/>
                <a:gd name="connsiteY1" fmla="*/ 64294 h 219075"/>
                <a:gd name="connsiteX2" fmla="*/ 9525 w 185738"/>
                <a:gd name="connsiteY2" fmla="*/ 138113 h 219075"/>
                <a:gd name="connsiteX3" fmla="*/ 73819 w 185738"/>
                <a:gd name="connsiteY3" fmla="*/ 169069 h 219075"/>
                <a:gd name="connsiteX4" fmla="*/ 109538 w 185738"/>
                <a:gd name="connsiteY4" fmla="*/ 185738 h 219075"/>
                <a:gd name="connsiteX5" fmla="*/ 114300 w 185738"/>
                <a:gd name="connsiteY5" fmla="*/ 207169 h 219075"/>
                <a:gd name="connsiteX6" fmla="*/ 138113 w 185738"/>
                <a:gd name="connsiteY6" fmla="*/ 219075 h 219075"/>
                <a:gd name="connsiteX7" fmla="*/ 178594 w 185738"/>
                <a:gd name="connsiteY7" fmla="*/ 161925 h 219075"/>
                <a:gd name="connsiteX8" fmla="*/ 164307 w 185738"/>
                <a:gd name="connsiteY8" fmla="*/ 140494 h 219075"/>
                <a:gd name="connsiteX9" fmla="*/ 164307 w 185738"/>
                <a:gd name="connsiteY9" fmla="*/ 59532 h 219075"/>
                <a:gd name="connsiteX10" fmla="*/ 185738 w 185738"/>
                <a:gd name="connsiteY10" fmla="*/ 23813 h 219075"/>
                <a:gd name="connsiteX11" fmla="*/ 161925 w 185738"/>
                <a:gd name="connsiteY11" fmla="*/ 19050 h 219075"/>
                <a:gd name="connsiteX12" fmla="*/ 145257 w 185738"/>
                <a:gd name="connsiteY12" fmla="*/ 33338 h 219075"/>
                <a:gd name="connsiteX13" fmla="*/ 111919 w 185738"/>
                <a:gd name="connsiteY13" fmla="*/ 26194 h 219075"/>
                <a:gd name="connsiteX14" fmla="*/ 71438 w 185738"/>
                <a:gd name="connsiteY14" fmla="*/ 0 h 219075"/>
                <a:gd name="connsiteX15" fmla="*/ 0 w 185738"/>
                <a:gd name="connsiteY15" fmla="*/ 4763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738" h="219075">
                  <a:moveTo>
                    <a:pt x="0" y="4763"/>
                  </a:moveTo>
                  <a:lnTo>
                    <a:pt x="35719" y="64294"/>
                  </a:lnTo>
                  <a:lnTo>
                    <a:pt x="9525" y="138113"/>
                  </a:lnTo>
                  <a:lnTo>
                    <a:pt x="73819" y="169069"/>
                  </a:lnTo>
                  <a:lnTo>
                    <a:pt x="109538" y="185738"/>
                  </a:lnTo>
                  <a:lnTo>
                    <a:pt x="114300" y="207169"/>
                  </a:lnTo>
                  <a:lnTo>
                    <a:pt x="138113" y="219075"/>
                  </a:lnTo>
                  <a:lnTo>
                    <a:pt x="178594" y="161925"/>
                  </a:lnTo>
                  <a:lnTo>
                    <a:pt x="164307" y="140494"/>
                  </a:lnTo>
                  <a:lnTo>
                    <a:pt x="164307" y="59532"/>
                  </a:lnTo>
                  <a:lnTo>
                    <a:pt x="185738" y="23813"/>
                  </a:lnTo>
                  <a:lnTo>
                    <a:pt x="161925" y="19050"/>
                  </a:lnTo>
                  <a:lnTo>
                    <a:pt x="145257" y="33338"/>
                  </a:lnTo>
                  <a:lnTo>
                    <a:pt x="111919" y="26194"/>
                  </a:lnTo>
                  <a:lnTo>
                    <a:pt x="71438" y="0"/>
                  </a:lnTo>
                  <a:lnTo>
                    <a:pt x="0" y="47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: Shape 131"/>
            <p:cNvSpPr/>
            <p:nvPr/>
          </p:nvSpPr>
          <p:spPr bwMode="auto">
            <a:xfrm>
              <a:off x="4888706" y="4357688"/>
              <a:ext cx="300038" cy="219075"/>
            </a:xfrm>
            <a:custGeom>
              <a:avLst/>
              <a:gdLst>
                <a:gd name="connsiteX0" fmla="*/ 9525 w 300038"/>
                <a:gd name="connsiteY0" fmla="*/ 40481 h 219075"/>
                <a:gd name="connsiteX1" fmla="*/ 0 w 300038"/>
                <a:gd name="connsiteY1" fmla="*/ 100012 h 219075"/>
                <a:gd name="connsiteX2" fmla="*/ 52388 w 300038"/>
                <a:gd name="connsiteY2" fmla="*/ 128587 h 219075"/>
                <a:gd name="connsiteX3" fmla="*/ 71438 w 300038"/>
                <a:gd name="connsiteY3" fmla="*/ 154781 h 219075"/>
                <a:gd name="connsiteX4" fmla="*/ 85725 w 300038"/>
                <a:gd name="connsiteY4" fmla="*/ 200025 h 219075"/>
                <a:gd name="connsiteX5" fmla="*/ 97632 w 300038"/>
                <a:gd name="connsiteY5" fmla="*/ 207168 h 219075"/>
                <a:gd name="connsiteX6" fmla="*/ 147638 w 300038"/>
                <a:gd name="connsiteY6" fmla="*/ 207168 h 219075"/>
                <a:gd name="connsiteX7" fmla="*/ 166688 w 300038"/>
                <a:gd name="connsiteY7" fmla="*/ 219075 h 219075"/>
                <a:gd name="connsiteX8" fmla="*/ 188119 w 300038"/>
                <a:gd name="connsiteY8" fmla="*/ 211931 h 219075"/>
                <a:gd name="connsiteX9" fmla="*/ 228600 w 300038"/>
                <a:gd name="connsiteY9" fmla="*/ 207168 h 219075"/>
                <a:gd name="connsiteX10" fmla="*/ 269082 w 300038"/>
                <a:gd name="connsiteY10" fmla="*/ 192881 h 219075"/>
                <a:gd name="connsiteX11" fmla="*/ 300038 w 300038"/>
                <a:gd name="connsiteY11" fmla="*/ 192881 h 219075"/>
                <a:gd name="connsiteX12" fmla="*/ 283369 w 300038"/>
                <a:gd name="connsiteY12" fmla="*/ 171450 h 219075"/>
                <a:gd name="connsiteX13" fmla="*/ 259557 w 300038"/>
                <a:gd name="connsiteY13" fmla="*/ 145256 h 219075"/>
                <a:gd name="connsiteX14" fmla="*/ 219075 w 300038"/>
                <a:gd name="connsiteY14" fmla="*/ 92868 h 219075"/>
                <a:gd name="connsiteX15" fmla="*/ 240507 w 300038"/>
                <a:gd name="connsiteY15" fmla="*/ 95250 h 219075"/>
                <a:gd name="connsiteX16" fmla="*/ 250032 w 300038"/>
                <a:gd name="connsiteY16" fmla="*/ 64293 h 219075"/>
                <a:gd name="connsiteX17" fmla="*/ 228600 w 300038"/>
                <a:gd name="connsiteY17" fmla="*/ 45243 h 219075"/>
                <a:gd name="connsiteX18" fmla="*/ 211932 w 300038"/>
                <a:gd name="connsiteY18" fmla="*/ 0 h 219075"/>
                <a:gd name="connsiteX19" fmla="*/ 195263 w 300038"/>
                <a:gd name="connsiteY19" fmla="*/ 7143 h 219075"/>
                <a:gd name="connsiteX20" fmla="*/ 185738 w 300038"/>
                <a:gd name="connsiteY20" fmla="*/ 30956 h 219075"/>
                <a:gd name="connsiteX21" fmla="*/ 185738 w 300038"/>
                <a:gd name="connsiteY21" fmla="*/ 61912 h 219075"/>
                <a:gd name="connsiteX22" fmla="*/ 176213 w 300038"/>
                <a:gd name="connsiteY22" fmla="*/ 71437 h 219075"/>
                <a:gd name="connsiteX23" fmla="*/ 140494 w 300038"/>
                <a:gd name="connsiteY23" fmla="*/ 50006 h 219075"/>
                <a:gd name="connsiteX24" fmla="*/ 114300 w 300038"/>
                <a:gd name="connsiteY24" fmla="*/ 73818 h 219075"/>
                <a:gd name="connsiteX25" fmla="*/ 83344 w 300038"/>
                <a:gd name="connsiteY25" fmla="*/ 71437 h 219075"/>
                <a:gd name="connsiteX26" fmla="*/ 50007 w 300038"/>
                <a:gd name="connsiteY26" fmla="*/ 73818 h 219075"/>
                <a:gd name="connsiteX27" fmla="*/ 9525 w 300038"/>
                <a:gd name="connsiteY27" fmla="*/ 40481 h 219075"/>
                <a:gd name="connsiteX0" fmla="*/ 9525 w 300038"/>
                <a:gd name="connsiteY0" fmla="*/ 40481 h 219075"/>
                <a:gd name="connsiteX1" fmla="*/ 0 w 300038"/>
                <a:gd name="connsiteY1" fmla="*/ 100012 h 219075"/>
                <a:gd name="connsiteX2" fmla="*/ 52388 w 300038"/>
                <a:gd name="connsiteY2" fmla="*/ 128587 h 219075"/>
                <a:gd name="connsiteX3" fmla="*/ 71438 w 300038"/>
                <a:gd name="connsiteY3" fmla="*/ 154781 h 219075"/>
                <a:gd name="connsiteX4" fmla="*/ 85725 w 300038"/>
                <a:gd name="connsiteY4" fmla="*/ 200025 h 219075"/>
                <a:gd name="connsiteX5" fmla="*/ 97632 w 300038"/>
                <a:gd name="connsiteY5" fmla="*/ 207168 h 219075"/>
                <a:gd name="connsiteX6" fmla="*/ 147638 w 300038"/>
                <a:gd name="connsiteY6" fmla="*/ 207168 h 219075"/>
                <a:gd name="connsiteX7" fmla="*/ 166688 w 300038"/>
                <a:gd name="connsiteY7" fmla="*/ 219075 h 219075"/>
                <a:gd name="connsiteX8" fmla="*/ 188119 w 300038"/>
                <a:gd name="connsiteY8" fmla="*/ 211931 h 219075"/>
                <a:gd name="connsiteX9" fmla="*/ 228600 w 300038"/>
                <a:gd name="connsiteY9" fmla="*/ 207168 h 219075"/>
                <a:gd name="connsiteX10" fmla="*/ 269082 w 300038"/>
                <a:gd name="connsiteY10" fmla="*/ 192881 h 219075"/>
                <a:gd name="connsiteX11" fmla="*/ 300038 w 300038"/>
                <a:gd name="connsiteY11" fmla="*/ 192881 h 219075"/>
                <a:gd name="connsiteX12" fmla="*/ 283369 w 300038"/>
                <a:gd name="connsiteY12" fmla="*/ 171450 h 219075"/>
                <a:gd name="connsiteX13" fmla="*/ 259557 w 300038"/>
                <a:gd name="connsiteY13" fmla="*/ 145256 h 219075"/>
                <a:gd name="connsiteX14" fmla="*/ 219075 w 300038"/>
                <a:gd name="connsiteY14" fmla="*/ 92868 h 219075"/>
                <a:gd name="connsiteX15" fmla="*/ 240507 w 300038"/>
                <a:gd name="connsiteY15" fmla="*/ 95250 h 219075"/>
                <a:gd name="connsiteX16" fmla="*/ 250032 w 300038"/>
                <a:gd name="connsiteY16" fmla="*/ 64293 h 219075"/>
                <a:gd name="connsiteX17" fmla="*/ 228600 w 300038"/>
                <a:gd name="connsiteY17" fmla="*/ 45243 h 219075"/>
                <a:gd name="connsiteX18" fmla="*/ 211932 w 300038"/>
                <a:gd name="connsiteY18" fmla="*/ 0 h 219075"/>
                <a:gd name="connsiteX19" fmla="*/ 195263 w 300038"/>
                <a:gd name="connsiteY19" fmla="*/ 7143 h 219075"/>
                <a:gd name="connsiteX20" fmla="*/ 185738 w 300038"/>
                <a:gd name="connsiteY20" fmla="*/ 30956 h 219075"/>
                <a:gd name="connsiteX21" fmla="*/ 185738 w 300038"/>
                <a:gd name="connsiteY21" fmla="*/ 61912 h 219075"/>
                <a:gd name="connsiteX22" fmla="*/ 176213 w 300038"/>
                <a:gd name="connsiteY22" fmla="*/ 71437 h 219075"/>
                <a:gd name="connsiteX23" fmla="*/ 140494 w 300038"/>
                <a:gd name="connsiteY23" fmla="*/ 50006 h 219075"/>
                <a:gd name="connsiteX24" fmla="*/ 114300 w 300038"/>
                <a:gd name="connsiteY24" fmla="*/ 73818 h 219075"/>
                <a:gd name="connsiteX25" fmla="*/ 83344 w 300038"/>
                <a:gd name="connsiteY25" fmla="*/ 71437 h 219075"/>
                <a:gd name="connsiteX26" fmla="*/ 50007 w 300038"/>
                <a:gd name="connsiteY26" fmla="*/ 73818 h 219075"/>
                <a:gd name="connsiteX27" fmla="*/ 30957 w 300038"/>
                <a:gd name="connsiteY27" fmla="*/ 59531 h 219075"/>
                <a:gd name="connsiteX28" fmla="*/ 9525 w 300038"/>
                <a:gd name="connsiteY28" fmla="*/ 40481 h 219075"/>
                <a:gd name="connsiteX0" fmla="*/ 9525 w 300038"/>
                <a:gd name="connsiteY0" fmla="*/ 40481 h 219075"/>
                <a:gd name="connsiteX1" fmla="*/ 0 w 300038"/>
                <a:gd name="connsiteY1" fmla="*/ 100012 h 219075"/>
                <a:gd name="connsiteX2" fmla="*/ 52388 w 300038"/>
                <a:gd name="connsiteY2" fmla="*/ 128587 h 219075"/>
                <a:gd name="connsiteX3" fmla="*/ 71438 w 300038"/>
                <a:gd name="connsiteY3" fmla="*/ 154781 h 219075"/>
                <a:gd name="connsiteX4" fmla="*/ 85725 w 300038"/>
                <a:gd name="connsiteY4" fmla="*/ 200025 h 219075"/>
                <a:gd name="connsiteX5" fmla="*/ 97632 w 300038"/>
                <a:gd name="connsiteY5" fmla="*/ 207168 h 219075"/>
                <a:gd name="connsiteX6" fmla="*/ 147638 w 300038"/>
                <a:gd name="connsiteY6" fmla="*/ 207168 h 219075"/>
                <a:gd name="connsiteX7" fmla="*/ 166688 w 300038"/>
                <a:gd name="connsiteY7" fmla="*/ 219075 h 219075"/>
                <a:gd name="connsiteX8" fmla="*/ 188119 w 300038"/>
                <a:gd name="connsiteY8" fmla="*/ 211931 h 219075"/>
                <a:gd name="connsiteX9" fmla="*/ 228600 w 300038"/>
                <a:gd name="connsiteY9" fmla="*/ 207168 h 219075"/>
                <a:gd name="connsiteX10" fmla="*/ 269082 w 300038"/>
                <a:gd name="connsiteY10" fmla="*/ 192881 h 219075"/>
                <a:gd name="connsiteX11" fmla="*/ 300038 w 300038"/>
                <a:gd name="connsiteY11" fmla="*/ 192881 h 219075"/>
                <a:gd name="connsiteX12" fmla="*/ 283369 w 300038"/>
                <a:gd name="connsiteY12" fmla="*/ 171450 h 219075"/>
                <a:gd name="connsiteX13" fmla="*/ 259557 w 300038"/>
                <a:gd name="connsiteY13" fmla="*/ 145256 h 219075"/>
                <a:gd name="connsiteX14" fmla="*/ 219075 w 300038"/>
                <a:gd name="connsiteY14" fmla="*/ 92868 h 219075"/>
                <a:gd name="connsiteX15" fmla="*/ 240507 w 300038"/>
                <a:gd name="connsiteY15" fmla="*/ 95250 h 219075"/>
                <a:gd name="connsiteX16" fmla="*/ 250032 w 300038"/>
                <a:gd name="connsiteY16" fmla="*/ 64293 h 219075"/>
                <a:gd name="connsiteX17" fmla="*/ 228600 w 300038"/>
                <a:gd name="connsiteY17" fmla="*/ 45243 h 219075"/>
                <a:gd name="connsiteX18" fmla="*/ 211932 w 300038"/>
                <a:gd name="connsiteY18" fmla="*/ 0 h 219075"/>
                <a:gd name="connsiteX19" fmla="*/ 195263 w 300038"/>
                <a:gd name="connsiteY19" fmla="*/ 7143 h 219075"/>
                <a:gd name="connsiteX20" fmla="*/ 185738 w 300038"/>
                <a:gd name="connsiteY20" fmla="*/ 30956 h 219075"/>
                <a:gd name="connsiteX21" fmla="*/ 185738 w 300038"/>
                <a:gd name="connsiteY21" fmla="*/ 61912 h 219075"/>
                <a:gd name="connsiteX22" fmla="*/ 176213 w 300038"/>
                <a:gd name="connsiteY22" fmla="*/ 71437 h 219075"/>
                <a:gd name="connsiteX23" fmla="*/ 140494 w 300038"/>
                <a:gd name="connsiteY23" fmla="*/ 50006 h 219075"/>
                <a:gd name="connsiteX24" fmla="*/ 114300 w 300038"/>
                <a:gd name="connsiteY24" fmla="*/ 73818 h 219075"/>
                <a:gd name="connsiteX25" fmla="*/ 83344 w 300038"/>
                <a:gd name="connsiteY25" fmla="*/ 71437 h 219075"/>
                <a:gd name="connsiteX26" fmla="*/ 50007 w 300038"/>
                <a:gd name="connsiteY26" fmla="*/ 73818 h 219075"/>
                <a:gd name="connsiteX27" fmla="*/ 45245 w 300038"/>
                <a:gd name="connsiteY27" fmla="*/ 54768 h 219075"/>
                <a:gd name="connsiteX28" fmla="*/ 9525 w 300038"/>
                <a:gd name="connsiteY28" fmla="*/ 40481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00038" h="219075">
                  <a:moveTo>
                    <a:pt x="9525" y="40481"/>
                  </a:moveTo>
                  <a:lnTo>
                    <a:pt x="0" y="100012"/>
                  </a:lnTo>
                  <a:lnTo>
                    <a:pt x="52388" y="128587"/>
                  </a:lnTo>
                  <a:lnTo>
                    <a:pt x="71438" y="154781"/>
                  </a:lnTo>
                  <a:lnTo>
                    <a:pt x="85725" y="200025"/>
                  </a:lnTo>
                  <a:lnTo>
                    <a:pt x="97632" y="207168"/>
                  </a:lnTo>
                  <a:lnTo>
                    <a:pt x="147638" y="207168"/>
                  </a:lnTo>
                  <a:lnTo>
                    <a:pt x="166688" y="219075"/>
                  </a:lnTo>
                  <a:lnTo>
                    <a:pt x="188119" y="211931"/>
                  </a:lnTo>
                  <a:lnTo>
                    <a:pt x="228600" y="207168"/>
                  </a:lnTo>
                  <a:lnTo>
                    <a:pt x="269082" y="192881"/>
                  </a:lnTo>
                  <a:lnTo>
                    <a:pt x="300038" y="192881"/>
                  </a:lnTo>
                  <a:lnTo>
                    <a:pt x="283369" y="171450"/>
                  </a:lnTo>
                  <a:lnTo>
                    <a:pt x="259557" y="145256"/>
                  </a:lnTo>
                  <a:lnTo>
                    <a:pt x="219075" y="92868"/>
                  </a:lnTo>
                  <a:lnTo>
                    <a:pt x="240507" y="95250"/>
                  </a:lnTo>
                  <a:lnTo>
                    <a:pt x="250032" y="64293"/>
                  </a:lnTo>
                  <a:lnTo>
                    <a:pt x="228600" y="45243"/>
                  </a:lnTo>
                  <a:lnTo>
                    <a:pt x="211932" y="0"/>
                  </a:lnTo>
                  <a:lnTo>
                    <a:pt x="195263" y="7143"/>
                  </a:lnTo>
                  <a:lnTo>
                    <a:pt x="185738" y="30956"/>
                  </a:lnTo>
                  <a:lnTo>
                    <a:pt x="185738" y="61912"/>
                  </a:lnTo>
                  <a:lnTo>
                    <a:pt x="176213" y="71437"/>
                  </a:lnTo>
                  <a:lnTo>
                    <a:pt x="140494" y="50006"/>
                  </a:lnTo>
                  <a:lnTo>
                    <a:pt x="114300" y="73818"/>
                  </a:lnTo>
                  <a:lnTo>
                    <a:pt x="83344" y="71437"/>
                  </a:lnTo>
                  <a:lnTo>
                    <a:pt x="50007" y="73818"/>
                  </a:lnTo>
                  <a:lnTo>
                    <a:pt x="45245" y="54768"/>
                  </a:lnTo>
                  <a:lnTo>
                    <a:pt x="9525" y="4048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: Shape 132"/>
            <p:cNvSpPr/>
            <p:nvPr/>
          </p:nvSpPr>
          <p:spPr bwMode="auto">
            <a:xfrm>
              <a:off x="5105400" y="4300538"/>
              <a:ext cx="364331" cy="292893"/>
            </a:xfrm>
            <a:custGeom>
              <a:avLst/>
              <a:gdLst>
                <a:gd name="connsiteX0" fmla="*/ 0 w 364331"/>
                <a:gd name="connsiteY0" fmla="*/ 147637 h 292893"/>
                <a:gd name="connsiteX1" fmla="*/ 85725 w 364331"/>
                <a:gd name="connsiteY1" fmla="*/ 252412 h 292893"/>
                <a:gd name="connsiteX2" fmla="*/ 135731 w 364331"/>
                <a:gd name="connsiteY2" fmla="*/ 280987 h 292893"/>
                <a:gd name="connsiteX3" fmla="*/ 169069 w 364331"/>
                <a:gd name="connsiteY3" fmla="*/ 292893 h 292893"/>
                <a:gd name="connsiteX4" fmla="*/ 185738 w 364331"/>
                <a:gd name="connsiteY4" fmla="*/ 276225 h 292893"/>
                <a:gd name="connsiteX5" fmla="*/ 211931 w 364331"/>
                <a:gd name="connsiteY5" fmla="*/ 280987 h 292893"/>
                <a:gd name="connsiteX6" fmla="*/ 238125 w 364331"/>
                <a:gd name="connsiteY6" fmla="*/ 264318 h 292893"/>
                <a:gd name="connsiteX7" fmla="*/ 288131 w 364331"/>
                <a:gd name="connsiteY7" fmla="*/ 240506 h 292893"/>
                <a:gd name="connsiteX8" fmla="*/ 364331 w 364331"/>
                <a:gd name="connsiteY8" fmla="*/ 171450 h 292893"/>
                <a:gd name="connsiteX9" fmla="*/ 300038 w 364331"/>
                <a:gd name="connsiteY9" fmla="*/ 152400 h 292893"/>
                <a:gd name="connsiteX10" fmla="*/ 238125 w 364331"/>
                <a:gd name="connsiteY10" fmla="*/ 116681 h 292893"/>
                <a:gd name="connsiteX11" fmla="*/ 233363 w 364331"/>
                <a:gd name="connsiteY11" fmla="*/ 90487 h 292893"/>
                <a:gd name="connsiteX12" fmla="*/ 211931 w 364331"/>
                <a:gd name="connsiteY12" fmla="*/ 80962 h 292893"/>
                <a:gd name="connsiteX13" fmla="*/ 207169 w 364331"/>
                <a:gd name="connsiteY13" fmla="*/ 52387 h 292893"/>
                <a:gd name="connsiteX14" fmla="*/ 180975 w 364331"/>
                <a:gd name="connsiteY14" fmla="*/ 26193 h 292893"/>
                <a:gd name="connsiteX15" fmla="*/ 157163 w 364331"/>
                <a:gd name="connsiteY15" fmla="*/ 7143 h 292893"/>
                <a:gd name="connsiteX16" fmla="*/ 121444 w 364331"/>
                <a:gd name="connsiteY16" fmla="*/ 0 h 292893"/>
                <a:gd name="connsiteX17" fmla="*/ 107156 w 364331"/>
                <a:gd name="connsiteY17" fmla="*/ 16668 h 292893"/>
                <a:gd name="connsiteX18" fmla="*/ 83344 w 364331"/>
                <a:gd name="connsiteY18" fmla="*/ 9525 h 292893"/>
                <a:gd name="connsiteX19" fmla="*/ 76200 w 364331"/>
                <a:gd name="connsiteY19" fmla="*/ 28575 h 292893"/>
                <a:gd name="connsiteX20" fmla="*/ 61913 w 364331"/>
                <a:gd name="connsiteY20" fmla="*/ 54768 h 292893"/>
                <a:gd name="connsiteX21" fmla="*/ 47625 w 364331"/>
                <a:gd name="connsiteY21" fmla="*/ 76200 h 292893"/>
                <a:gd name="connsiteX22" fmla="*/ 50006 w 364331"/>
                <a:gd name="connsiteY22" fmla="*/ 92868 h 292893"/>
                <a:gd name="connsiteX23" fmla="*/ 0 w 364331"/>
                <a:gd name="connsiteY23" fmla="*/ 147637 h 292893"/>
                <a:gd name="connsiteX0" fmla="*/ 0 w 364331"/>
                <a:gd name="connsiteY0" fmla="*/ 147637 h 292893"/>
                <a:gd name="connsiteX1" fmla="*/ 85725 w 364331"/>
                <a:gd name="connsiteY1" fmla="*/ 252412 h 292893"/>
                <a:gd name="connsiteX2" fmla="*/ 135731 w 364331"/>
                <a:gd name="connsiteY2" fmla="*/ 280987 h 292893"/>
                <a:gd name="connsiteX3" fmla="*/ 169069 w 364331"/>
                <a:gd name="connsiteY3" fmla="*/ 292893 h 292893"/>
                <a:gd name="connsiteX4" fmla="*/ 185738 w 364331"/>
                <a:gd name="connsiteY4" fmla="*/ 276225 h 292893"/>
                <a:gd name="connsiteX5" fmla="*/ 211931 w 364331"/>
                <a:gd name="connsiteY5" fmla="*/ 280987 h 292893"/>
                <a:gd name="connsiteX6" fmla="*/ 238125 w 364331"/>
                <a:gd name="connsiteY6" fmla="*/ 264318 h 292893"/>
                <a:gd name="connsiteX7" fmla="*/ 288131 w 364331"/>
                <a:gd name="connsiteY7" fmla="*/ 240506 h 292893"/>
                <a:gd name="connsiteX8" fmla="*/ 364331 w 364331"/>
                <a:gd name="connsiteY8" fmla="*/ 171450 h 292893"/>
                <a:gd name="connsiteX9" fmla="*/ 300038 w 364331"/>
                <a:gd name="connsiteY9" fmla="*/ 152400 h 292893"/>
                <a:gd name="connsiteX10" fmla="*/ 238125 w 364331"/>
                <a:gd name="connsiteY10" fmla="*/ 116681 h 292893"/>
                <a:gd name="connsiteX11" fmla="*/ 233363 w 364331"/>
                <a:gd name="connsiteY11" fmla="*/ 90487 h 292893"/>
                <a:gd name="connsiteX12" fmla="*/ 211931 w 364331"/>
                <a:gd name="connsiteY12" fmla="*/ 80962 h 292893"/>
                <a:gd name="connsiteX13" fmla="*/ 207169 w 364331"/>
                <a:gd name="connsiteY13" fmla="*/ 52387 h 292893"/>
                <a:gd name="connsiteX14" fmla="*/ 180975 w 364331"/>
                <a:gd name="connsiteY14" fmla="*/ 26193 h 292893"/>
                <a:gd name="connsiteX15" fmla="*/ 157163 w 364331"/>
                <a:gd name="connsiteY15" fmla="*/ 7143 h 292893"/>
                <a:gd name="connsiteX16" fmla="*/ 121444 w 364331"/>
                <a:gd name="connsiteY16" fmla="*/ 0 h 292893"/>
                <a:gd name="connsiteX17" fmla="*/ 107156 w 364331"/>
                <a:gd name="connsiteY17" fmla="*/ 16668 h 292893"/>
                <a:gd name="connsiteX18" fmla="*/ 83344 w 364331"/>
                <a:gd name="connsiteY18" fmla="*/ 9525 h 292893"/>
                <a:gd name="connsiteX19" fmla="*/ 76200 w 364331"/>
                <a:gd name="connsiteY19" fmla="*/ 28575 h 292893"/>
                <a:gd name="connsiteX20" fmla="*/ 61913 w 364331"/>
                <a:gd name="connsiteY20" fmla="*/ 54768 h 292893"/>
                <a:gd name="connsiteX21" fmla="*/ 47625 w 364331"/>
                <a:gd name="connsiteY21" fmla="*/ 76200 h 292893"/>
                <a:gd name="connsiteX22" fmla="*/ 50006 w 364331"/>
                <a:gd name="connsiteY22" fmla="*/ 92868 h 292893"/>
                <a:gd name="connsiteX23" fmla="*/ 23813 w 364331"/>
                <a:gd name="connsiteY23" fmla="*/ 123825 h 292893"/>
                <a:gd name="connsiteX24" fmla="*/ 0 w 364331"/>
                <a:gd name="connsiteY24" fmla="*/ 147637 h 292893"/>
                <a:gd name="connsiteX0" fmla="*/ 0 w 364331"/>
                <a:gd name="connsiteY0" fmla="*/ 147637 h 292893"/>
                <a:gd name="connsiteX1" fmla="*/ 85725 w 364331"/>
                <a:gd name="connsiteY1" fmla="*/ 252412 h 292893"/>
                <a:gd name="connsiteX2" fmla="*/ 135731 w 364331"/>
                <a:gd name="connsiteY2" fmla="*/ 280987 h 292893"/>
                <a:gd name="connsiteX3" fmla="*/ 169069 w 364331"/>
                <a:gd name="connsiteY3" fmla="*/ 292893 h 292893"/>
                <a:gd name="connsiteX4" fmla="*/ 185738 w 364331"/>
                <a:gd name="connsiteY4" fmla="*/ 276225 h 292893"/>
                <a:gd name="connsiteX5" fmla="*/ 211931 w 364331"/>
                <a:gd name="connsiteY5" fmla="*/ 280987 h 292893"/>
                <a:gd name="connsiteX6" fmla="*/ 238125 w 364331"/>
                <a:gd name="connsiteY6" fmla="*/ 264318 h 292893"/>
                <a:gd name="connsiteX7" fmla="*/ 288131 w 364331"/>
                <a:gd name="connsiteY7" fmla="*/ 240506 h 292893"/>
                <a:gd name="connsiteX8" fmla="*/ 364331 w 364331"/>
                <a:gd name="connsiteY8" fmla="*/ 171450 h 292893"/>
                <a:gd name="connsiteX9" fmla="*/ 300038 w 364331"/>
                <a:gd name="connsiteY9" fmla="*/ 152400 h 292893"/>
                <a:gd name="connsiteX10" fmla="*/ 238125 w 364331"/>
                <a:gd name="connsiteY10" fmla="*/ 116681 h 292893"/>
                <a:gd name="connsiteX11" fmla="*/ 233363 w 364331"/>
                <a:gd name="connsiteY11" fmla="*/ 90487 h 292893"/>
                <a:gd name="connsiteX12" fmla="*/ 211931 w 364331"/>
                <a:gd name="connsiteY12" fmla="*/ 80962 h 292893"/>
                <a:gd name="connsiteX13" fmla="*/ 207169 w 364331"/>
                <a:gd name="connsiteY13" fmla="*/ 52387 h 292893"/>
                <a:gd name="connsiteX14" fmla="*/ 180975 w 364331"/>
                <a:gd name="connsiteY14" fmla="*/ 26193 h 292893"/>
                <a:gd name="connsiteX15" fmla="*/ 157163 w 364331"/>
                <a:gd name="connsiteY15" fmla="*/ 7143 h 292893"/>
                <a:gd name="connsiteX16" fmla="*/ 121444 w 364331"/>
                <a:gd name="connsiteY16" fmla="*/ 0 h 292893"/>
                <a:gd name="connsiteX17" fmla="*/ 107156 w 364331"/>
                <a:gd name="connsiteY17" fmla="*/ 16668 h 292893"/>
                <a:gd name="connsiteX18" fmla="*/ 83344 w 364331"/>
                <a:gd name="connsiteY18" fmla="*/ 9525 h 292893"/>
                <a:gd name="connsiteX19" fmla="*/ 76200 w 364331"/>
                <a:gd name="connsiteY19" fmla="*/ 28575 h 292893"/>
                <a:gd name="connsiteX20" fmla="*/ 61913 w 364331"/>
                <a:gd name="connsiteY20" fmla="*/ 54768 h 292893"/>
                <a:gd name="connsiteX21" fmla="*/ 47625 w 364331"/>
                <a:gd name="connsiteY21" fmla="*/ 76200 h 292893"/>
                <a:gd name="connsiteX22" fmla="*/ 50006 w 364331"/>
                <a:gd name="connsiteY22" fmla="*/ 92868 h 292893"/>
                <a:gd name="connsiteX23" fmla="*/ 35719 w 364331"/>
                <a:gd name="connsiteY23" fmla="*/ 142875 h 292893"/>
                <a:gd name="connsiteX24" fmla="*/ 0 w 364331"/>
                <a:gd name="connsiteY24" fmla="*/ 147637 h 292893"/>
                <a:gd name="connsiteX0" fmla="*/ 0 w 364331"/>
                <a:gd name="connsiteY0" fmla="*/ 147637 h 292893"/>
                <a:gd name="connsiteX1" fmla="*/ 85725 w 364331"/>
                <a:gd name="connsiteY1" fmla="*/ 252412 h 292893"/>
                <a:gd name="connsiteX2" fmla="*/ 135731 w 364331"/>
                <a:gd name="connsiteY2" fmla="*/ 280987 h 292893"/>
                <a:gd name="connsiteX3" fmla="*/ 169069 w 364331"/>
                <a:gd name="connsiteY3" fmla="*/ 292893 h 292893"/>
                <a:gd name="connsiteX4" fmla="*/ 185738 w 364331"/>
                <a:gd name="connsiteY4" fmla="*/ 276225 h 292893"/>
                <a:gd name="connsiteX5" fmla="*/ 211931 w 364331"/>
                <a:gd name="connsiteY5" fmla="*/ 280987 h 292893"/>
                <a:gd name="connsiteX6" fmla="*/ 238125 w 364331"/>
                <a:gd name="connsiteY6" fmla="*/ 264318 h 292893"/>
                <a:gd name="connsiteX7" fmla="*/ 288131 w 364331"/>
                <a:gd name="connsiteY7" fmla="*/ 240506 h 292893"/>
                <a:gd name="connsiteX8" fmla="*/ 364331 w 364331"/>
                <a:gd name="connsiteY8" fmla="*/ 171450 h 292893"/>
                <a:gd name="connsiteX9" fmla="*/ 300038 w 364331"/>
                <a:gd name="connsiteY9" fmla="*/ 152400 h 292893"/>
                <a:gd name="connsiteX10" fmla="*/ 238125 w 364331"/>
                <a:gd name="connsiteY10" fmla="*/ 116681 h 292893"/>
                <a:gd name="connsiteX11" fmla="*/ 233363 w 364331"/>
                <a:gd name="connsiteY11" fmla="*/ 90487 h 292893"/>
                <a:gd name="connsiteX12" fmla="*/ 211931 w 364331"/>
                <a:gd name="connsiteY12" fmla="*/ 80962 h 292893"/>
                <a:gd name="connsiteX13" fmla="*/ 207169 w 364331"/>
                <a:gd name="connsiteY13" fmla="*/ 52387 h 292893"/>
                <a:gd name="connsiteX14" fmla="*/ 180975 w 364331"/>
                <a:gd name="connsiteY14" fmla="*/ 26193 h 292893"/>
                <a:gd name="connsiteX15" fmla="*/ 157163 w 364331"/>
                <a:gd name="connsiteY15" fmla="*/ 7143 h 292893"/>
                <a:gd name="connsiteX16" fmla="*/ 121444 w 364331"/>
                <a:gd name="connsiteY16" fmla="*/ 0 h 292893"/>
                <a:gd name="connsiteX17" fmla="*/ 107156 w 364331"/>
                <a:gd name="connsiteY17" fmla="*/ 16668 h 292893"/>
                <a:gd name="connsiteX18" fmla="*/ 83344 w 364331"/>
                <a:gd name="connsiteY18" fmla="*/ 9525 h 292893"/>
                <a:gd name="connsiteX19" fmla="*/ 76200 w 364331"/>
                <a:gd name="connsiteY19" fmla="*/ 28575 h 292893"/>
                <a:gd name="connsiteX20" fmla="*/ 61913 w 364331"/>
                <a:gd name="connsiteY20" fmla="*/ 54768 h 292893"/>
                <a:gd name="connsiteX21" fmla="*/ 47625 w 364331"/>
                <a:gd name="connsiteY21" fmla="*/ 76200 h 292893"/>
                <a:gd name="connsiteX22" fmla="*/ 50006 w 364331"/>
                <a:gd name="connsiteY22" fmla="*/ 92868 h 292893"/>
                <a:gd name="connsiteX23" fmla="*/ 38100 w 364331"/>
                <a:gd name="connsiteY23" fmla="*/ 109537 h 292893"/>
                <a:gd name="connsiteX24" fmla="*/ 35719 w 364331"/>
                <a:gd name="connsiteY24" fmla="*/ 142875 h 292893"/>
                <a:gd name="connsiteX25" fmla="*/ 0 w 364331"/>
                <a:gd name="connsiteY25" fmla="*/ 147637 h 292893"/>
                <a:gd name="connsiteX0" fmla="*/ 0 w 364331"/>
                <a:gd name="connsiteY0" fmla="*/ 147637 h 292893"/>
                <a:gd name="connsiteX1" fmla="*/ 85725 w 364331"/>
                <a:gd name="connsiteY1" fmla="*/ 252412 h 292893"/>
                <a:gd name="connsiteX2" fmla="*/ 135731 w 364331"/>
                <a:gd name="connsiteY2" fmla="*/ 280987 h 292893"/>
                <a:gd name="connsiteX3" fmla="*/ 169069 w 364331"/>
                <a:gd name="connsiteY3" fmla="*/ 292893 h 292893"/>
                <a:gd name="connsiteX4" fmla="*/ 185738 w 364331"/>
                <a:gd name="connsiteY4" fmla="*/ 276225 h 292893"/>
                <a:gd name="connsiteX5" fmla="*/ 211931 w 364331"/>
                <a:gd name="connsiteY5" fmla="*/ 280987 h 292893"/>
                <a:gd name="connsiteX6" fmla="*/ 238125 w 364331"/>
                <a:gd name="connsiteY6" fmla="*/ 264318 h 292893"/>
                <a:gd name="connsiteX7" fmla="*/ 288131 w 364331"/>
                <a:gd name="connsiteY7" fmla="*/ 240506 h 292893"/>
                <a:gd name="connsiteX8" fmla="*/ 364331 w 364331"/>
                <a:gd name="connsiteY8" fmla="*/ 171450 h 292893"/>
                <a:gd name="connsiteX9" fmla="*/ 300038 w 364331"/>
                <a:gd name="connsiteY9" fmla="*/ 152400 h 292893"/>
                <a:gd name="connsiteX10" fmla="*/ 238125 w 364331"/>
                <a:gd name="connsiteY10" fmla="*/ 116681 h 292893"/>
                <a:gd name="connsiteX11" fmla="*/ 233363 w 364331"/>
                <a:gd name="connsiteY11" fmla="*/ 90487 h 292893"/>
                <a:gd name="connsiteX12" fmla="*/ 211931 w 364331"/>
                <a:gd name="connsiteY12" fmla="*/ 80962 h 292893"/>
                <a:gd name="connsiteX13" fmla="*/ 207169 w 364331"/>
                <a:gd name="connsiteY13" fmla="*/ 52387 h 292893"/>
                <a:gd name="connsiteX14" fmla="*/ 180975 w 364331"/>
                <a:gd name="connsiteY14" fmla="*/ 26193 h 292893"/>
                <a:gd name="connsiteX15" fmla="*/ 157163 w 364331"/>
                <a:gd name="connsiteY15" fmla="*/ 7143 h 292893"/>
                <a:gd name="connsiteX16" fmla="*/ 121444 w 364331"/>
                <a:gd name="connsiteY16" fmla="*/ 0 h 292893"/>
                <a:gd name="connsiteX17" fmla="*/ 107156 w 364331"/>
                <a:gd name="connsiteY17" fmla="*/ 16668 h 292893"/>
                <a:gd name="connsiteX18" fmla="*/ 83344 w 364331"/>
                <a:gd name="connsiteY18" fmla="*/ 9525 h 292893"/>
                <a:gd name="connsiteX19" fmla="*/ 76200 w 364331"/>
                <a:gd name="connsiteY19" fmla="*/ 28575 h 292893"/>
                <a:gd name="connsiteX20" fmla="*/ 61913 w 364331"/>
                <a:gd name="connsiteY20" fmla="*/ 54768 h 292893"/>
                <a:gd name="connsiteX21" fmla="*/ 47625 w 364331"/>
                <a:gd name="connsiteY21" fmla="*/ 76200 h 292893"/>
                <a:gd name="connsiteX22" fmla="*/ 50006 w 364331"/>
                <a:gd name="connsiteY22" fmla="*/ 92868 h 292893"/>
                <a:gd name="connsiteX23" fmla="*/ 33337 w 364331"/>
                <a:gd name="connsiteY23" fmla="*/ 107156 h 292893"/>
                <a:gd name="connsiteX24" fmla="*/ 35719 w 364331"/>
                <a:gd name="connsiteY24" fmla="*/ 142875 h 292893"/>
                <a:gd name="connsiteX25" fmla="*/ 0 w 364331"/>
                <a:gd name="connsiteY25" fmla="*/ 147637 h 29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4331" h="292893">
                  <a:moveTo>
                    <a:pt x="0" y="147637"/>
                  </a:moveTo>
                  <a:lnTo>
                    <a:pt x="85725" y="252412"/>
                  </a:lnTo>
                  <a:lnTo>
                    <a:pt x="135731" y="280987"/>
                  </a:lnTo>
                  <a:lnTo>
                    <a:pt x="169069" y="292893"/>
                  </a:lnTo>
                  <a:lnTo>
                    <a:pt x="185738" y="276225"/>
                  </a:lnTo>
                  <a:lnTo>
                    <a:pt x="211931" y="280987"/>
                  </a:lnTo>
                  <a:lnTo>
                    <a:pt x="238125" y="264318"/>
                  </a:lnTo>
                  <a:lnTo>
                    <a:pt x="288131" y="240506"/>
                  </a:lnTo>
                  <a:lnTo>
                    <a:pt x="364331" y="171450"/>
                  </a:lnTo>
                  <a:lnTo>
                    <a:pt x="300038" y="152400"/>
                  </a:lnTo>
                  <a:lnTo>
                    <a:pt x="238125" y="116681"/>
                  </a:lnTo>
                  <a:lnTo>
                    <a:pt x="233363" y="90487"/>
                  </a:lnTo>
                  <a:lnTo>
                    <a:pt x="211931" y="80962"/>
                  </a:lnTo>
                  <a:lnTo>
                    <a:pt x="207169" y="52387"/>
                  </a:lnTo>
                  <a:lnTo>
                    <a:pt x="180975" y="26193"/>
                  </a:lnTo>
                  <a:lnTo>
                    <a:pt x="157163" y="7143"/>
                  </a:lnTo>
                  <a:lnTo>
                    <a:pt x="121444" y="0"/>
                  </a:lnTo>
                  <a:lnTo>
                    <a:pt x="107156" y="16668"/>
                  </a:lnTo>
                  <a:lnTo>
                    <a:pt x="83344" y="9525"/>
                  </a:lnTo>
                  <a:lnTo>
                    <a:pt x="76200" y="28575"/>
                  </a:lnTo>
                  <a:lnTo>
                    <a:pt x="61913" y="54768"/>
                  </a:lnTo>
                  <a:lnTo>
                    <a:pt x="47625" y="76200"/>
                  </a:lnTo>
                  <a:lnTo>
                    <a:pt x="50006" y="92868"/>
                  </a:lnTo>
                  <a:lnTo>
                    <a:pt x="33337" y="107156"/>
                  </a:lnTo>
                  <a:lnTo>
                    <a:pt x="35719" y="142875"/>
                  </a:lnTo>
                  <a:lnTo>
                    <a:pt x="0" y="14763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: Shape 133"/>
            <p:cNvSpPr/>
            <p:nvPr/>
          </p:nvSpPr>
          <p:spPr bwMode="auto">
            <a:xfrm>
              <a:off x="5314950" y="4329113"/>
              <a:ext cx="28575" cy="59531"/>
            </a:xfrm>
            <a:custGeom>
              <a:avLst/>
              <a:gdLst>
                <a:gd name="connsiteX0" fmla="*/ 21431 w 28575"/>
                <a:gd name="connsiteY0" fmla="*/ 0 h 59531"/>
                <a:gd name="connsiteX1" fmla="*/ 0 w 28575"/>
                <a:gd name="connsiteY1" fmla="*/ 47625 h 59531"/>
                <a:gd name="connsiteX2" fmla="*/ 28575 w 28575"/>
                <a:gd name="connsiteY2" fmla="*/ 59531 h 59531"/>
                <a:gd name="connsiteX3" fmla="*/ 21431 w 28575"/>
                <a:gd name="connsiteY3" fmla="*/ 0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59531">
                  <a:moveTo>
                    <a:pt x="21431" y="0"/>
                  </a:moveTo>
                  <a:lnTo>
                    <a:pt x="0" y="47625"/>
                  </a:lnTo>
                  <a:lnTo>
                    <a:pt x="28575" y="59531"/>
                  </a:lnTo>
                  <a:lnTo>
                    <a:pt x="2143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: Shape 134"/>
            <p:cNvSpPr/>
            <p:nvPr/>
          </p:nvSpPr>
          <p:spPr bwMode="auto">
            <a:xfrm>
              <a:off x="5188744" y="4207669"/>
              <a:ext cx="142875" cy="154781"/>
            </a:xfrm>
            <a:custGeom>
              <a:avLst/>
              <a:gdLst>
                <a:gd name="connsiteX0" fmla="*/ 40481 w 142875"/>
                <a:gd name="connsiteY0" fmla="*/ 0 h 154781"/>
                <a:gd name="connsiteX1" fmla="*/ 0 w 142875"/>
                <a:gd name="connsiteY1" fmla="*/ 30956 h 154781"/>
                <a:gd name="connsiteX2" fmla="*/ 0 w 142875"/>
                <a:gd name="connsiteY2" fmla="*/ 102394 h 154781"/>
                <a:gd name="connsiteX3" fmla="*/ 21431 w 142875"/>
                <a:gd name="connsiteY3" fmla="*/ 116681 h 154781"/>
                <a:gd name="connsiteX4" fmla="*/ 33337 w 142875"/>
                <a:gd name="connsiteY4" fmla="*/ 100012 h 154781"/>
                <a:gd name="connsiteX5" fmla="*/ 71437 w 142875"/>
                <a:gd name="connsiteY5" fmla="*/ 102394 h 154781"/>
                <a:gd name="connsiteX6" fmla="*/ 130969 w 142875"/>
                <a:gd name="connsiteY6" fmla="*/ 154781 h 154781"/>
                <a:gd name="connsiteX7" fmla="*/ 142875 w 142875"/>
                <a:gd name="connsiteY7" fmla="*/ 121444 h 154781"/>
                <a:gd name="connsiteX8" fmla="*/ 111919 w 142875"/>
                <a:gd name="connsiteY8" fmla="*/ 97631 h 154781"/>
                <a:gd name="connsiteX9" fmla="*/ 83344 w 142875"/>
                <a:gd name="connsiteY9" fmla="*/ 73819 h 154781"/>
                <a:gd name="connsiteX10" fmla="*/ 61912 w 142875"/>
                <a:gd name="connsiteY10" fmla="*/ 66675 h 154781"/>
                <a:gd name="connsiteX11" fmla="*/ 40481 w 142875"/>
                <a:gd name="connsiteY11" fmla="*/ 0 h 154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875" h="154781">
                  <a:moveTo>
                    <a:pt x="40481" y="0"/>
                  </a:moveTo>
                  <a:lnTo>
                    <a:pt x="0" y="30956"/>
                  </a:lnTo>
                  <a:lnTo>
                    <a:pt x="0" y="102394"/>
                  </a:lnTo>
                  <a:lnTo>
                    <a:pt x="21431" y="116681"/>
                  </a:lnTo>
                  <a:lnTo>
                    <a:pt x="33337" y="100012"/>
                  </a:lnTo>
                  <a:lnTo>
                    <a:pt x="71437" y="102394"/>
                  </a:lnTo>
                  <a:lnTo>
                    <a:pt x="130969" y="154781"/>
                  </a:lnTo>
                  <a:lnTo>
                    <a:pt x="142875" y="121444"/>
                  </a:lnTo>
                  <a:lnTo>
                    <a:pt x="111919" y="97631"/>
                  </a:lnTo>
                  <a:lnTo>
                    <a:pt x="83344" y="73819"/>
                  </a:lnTo>
                  <a:lnTo>
                    <a:pt x="61912" y="66675"/>
                  </a:lnTo>
                  <a:lnTo>
                    <a:pt x="4048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: Shape 135"/>
            <p:cNvSpPr/>
            <p:nvPr/>
          </p:nvSpPr>
          <p:spPr bwMode="auto">
            <a:xfrm>
              <a:off x="4841081" y="4071938"/>
              <a:ext cx="376238" cy="385762"/>
            </a:xfrm>
            <a:custGeom>
              <a:avLst/>
              <a:gdLst>
                <a:gd name="connsiteX0" fmla="*/ 242888 w 376238"/>
                <a:gd name="connsiteY0" fmla="*/ 35718 h 385762"/>
                <a:gd name="connsiteX1" fmla="*/ 80963 w 376238"/>
                <a:gd name="connsiteY1" fmla="*/ 38100 h 385762"/>
                <a:gd name="connsiteX2" fmla="*/ 73819 w 376238"/>
                <a:gd name="connsiteY2" fmla="*/ 90487 h 385762"/>
                <a:gd name="connsiteX3" fmla="*/ 73819 w 376238"/>
                <a:gd name="connsiteY3" fmla="*/ 90487 h 385762"/>
                <a:gd name="connsiteX4" fmla="*/ 45244 w 376238"/>
                <a:gd name="connsiteY4" fmla="*/ 97631 h 385762"/>
                <a:gd name="connsiteX5" fmla="*/ 45244 w 376238"/>
                <a:gd name="connsiteY5" fmla="*/ 126206 h 385762"/>
                <a:gd name="connsiteX6" fmla="*/ 23813 w 376238"/>
                <a:gd name="connsiteY6" fmla="*/ 102393 h 385762"/>
                <a:gd name="connsiteX7" fmla="*/ 26194 w 376238"/>
                <a:gd name="connsiteY7" fmla="*/ 202406 h 385762"/>
                <a:gd name="connsiteX8" fmla="*/ 0 w 376238"/>
                <a:gd name="connsiteY8" fmla="*/ 235743 h 385762"/>
                <a:gd name="connsiteX9" fmla="*/ 2382 w 376238"/>
                <a:gd name="connsiteY9" fmla="*/ 323850 h 385762"/>
                <a:gd name="connsiteX10" fmla="*/ 35719 w 376238"/>
                <a:gd name="connsiteY10" fmla="*/ 342900 h 385762"/>
                <a:gd name="connsiteX11" fmla="*/ 45244 w 376238"/>
                <a:gd name="connsiteY11" fmla="*/ 385762 h 385762"/>
                <a:gd name="connsiteX12" fmla="*/ 59532 w 376238"/>
                <a:gd name="connsiteY12" fmla="*/ 326231 h 385762"/>
                <a:gd name="connsiteX13" fmla="*/ 92869 w 376238"/>
                <a:gd name="connsiteY13" fmla="*/ 342900 h 385762"/>
                <a:gd name="connsiteX14" fmla="*/ 97632 w 376238"/>
                <a:gd name="connsiteY14" fmla="*/ 364331 h 385762"/>
                <a:gd name="connsiteX15" fmla="*/ 159544 w 376238"/>
                <a:gd name="connsiteY15" fmla="*/ 357187 h 385762"/>
                <a:gd name="connsiteX16" fmla="*/ 188119 w 376238"/>
                <a:gd name="connsiteY16" fmla="*/ 338137 h 385762"/>
                <a:gd name="connsiteX17" fmla="*/ 216694 w 376238"/>
                <a:gd name="connsiteY17" fmla="*/ 361950 h 385762"/>
                <a:gd name="connsiteX18" fmla="*/ 230982 w 376238"/>
                <a:gd name="connsiteY18" fmla="*/ 345281 h 385762"/>
                <a:gd name="connsiteX19" fmla="*/ 233363 w 376238"/>
                <a:gd name="connsiteY19" fmla="*/ 321468 h 385762"/>
                <a:gd name="connsiteX20" fmla="*/ 245269 w 376238"/>
                <a:gd name="connsiteY20" fmla="*/ 288131 h 385762"/>
                <a:gd name="connsiteX21" fmla="*/ 254794 w 376238"/>
                <a:gd name="connsiteY21" fmla="*/ 283368 h 385762"/>
                <a:gd name="connsiteX22" fmla="*/ 273844 w 376238"/>
                <a:gd name="connsiteY22" fmla="*/ 333375 h 385762"/>
                <a:gd name="connsiteX23" fmla="*/ 302419 w 376238"/>
                <a:gd name="connsiteY23" fmla="*/ 352425 h 385762"/>
                <a:gd name="connsiteX24" fmla="*/ 302419 w 376238"/>
                <a:gd name="connsiteY24" fmla="*/ 328612 h 385762"/>
                <a:gd name="connsiteX25" fmla="*/ 314325 w 376238"/>
                <a:gd name="connsiteY25" fmla="*/ 316706 h 385762"/>
                <a:gd name="connsiteX26" fmla="*/ 314325 w 376238"/>
                <a:gd name="connsiteY26" fmla="*/ 292893 h 385762"/>
                <a:gd name="connsiteX27" fmla="*/ 345282 w 376238"/>
                <a:gd name="connsiteY27" fmla="*/ 235743 h 385762"/>
                <a:gd name="connsiteX28" fmla="*/ 352425 w 376238"/>
                <a:gd name="connsiteY28" fmla="*/ 164306 h 385762"/>
                <a:gd name="connsiteX29" fmla="*/ 376238 w 376238"/>
                <a:gd name="connsiteY29" fmla="*/ 135731 h 385762"/>
                <a:gd name="connsiteX30" fmla="*/ 354807 w 376238"/>
                <a:gd name="connsiteY30" fmla="*/ 119062 h 385762"/>
                <a:gd name="connsiteX31" fmla="*/ 352425 w 376238"/>
                <a:gd name="connsiteY31" fmla="*/ 85725 h 385762"/>
                <a:gd name="connsiteX32" fmla="*/ 345282 w 376238"/>
                <a:gd name="connsiteY32" fmla="*/ 69056 h 385762"/>
                <a:gd name="connsiteX33" fmla="*/ 338138 w 376238"/>
                <a:gd name="connsiteY33" fmla="*/ 40481 h 385762"/>
                <a:gd name="connsiteX34" fmla="*/ 309563 w 376238"/>
                <a:gd name="connsiteY34" fmla="*/ 0 h 385762"/>
                <a:gd name="connsiteX35" fmla="*/ 242888 w 376238"/>
                <a:gd name="connsiteY35" fmla="*/ 35718 h 385762"/>
                <a:gd name="connsiteX0" fmla="*/ 242888 w 376238"/>
                <a:gd name="connsiteY0" fmla="*/ 35718 h 385762"/>
                <a:gd name="connsiteX1" fmla="*/ 80963 w 376238"/>
                <a:gd name="connsiteY1" fmla="*/ 38100 h 385762"/>
                <a:gd name="connsiteX2" fmla="*/ 73819 w 376238"/>
                <a:gd name="connsiteY2" fmla="*/ 90487 h 385762"/>
                <a:gd name="connsiteX3" fmla="*/ 73819 w 376238"/>
                <a:gd name="connsiteY3" fmla="*/ 90487 h 385762"/>
                <a:gd name="connsiteX4" fmla="*/ 45244 w 376238"/>
                <a:gd name="connsiteY4" fmla="*/ 97631 h 385762"/>
                <a:gd name="connsiteX5" fmla="*/ 45244 w 376238"/>
                <a:gd name="connsiteY5" fmla="*/ 126206 h 385762"/>
                <a:gd name="connsiteX6" fmla="*/ 23813 w 376238"/>
                <a:gd name="connsiteY6" fmla="*/ 102393 h 385762"/>
                <a:gd name="connsiteX7" fmla="*/ 26194 w 376238"/>
                <a:gd name="connsiteY7" fmla="*/ 202406 h 385762"/>
                <a:gd name="connsiteX8" fmla="*/ 0 w 376238"/>
                <a:gd name="connsiteY8" fmla="*/ 235743 h 385762"/>
                <a:gd name="connsiteX9" fmla="*/ 2382 w 376238"/>
                <a:gd name="connsiteY9" fmla="*/ 323850 h 385762"/>
                <a:gd name="connsiteX10" fmla="*/ 35719 w 376238"/>
                <a:gd name="connsiteY10" fmla="*/ 342900 h 385762"/>
                <a:gd name="connsiteX11" fmla="*/ 45244 w 376238"/>
                <a:gd name="connsiteY11" fmla="*/ 385762 h 385762"/>
                <a:gd name="connsiteX12" fmla="*/ 59532 w 376238"/>
                <a:gd name="connsiteY12" fmla="*/ 326231 h 385762"/>
                <a:gd name="connsiteX13" fmla="*/ 92869 w 376238"/>
                <a:gd name="connsiteY13" fmla="*/ 342900 h 385762"/>
                <a:gd name="connsiteX14" fmla="*/ 97632 w 376238"/>
                <a:gd name="connsiteY14" fmla="*/ 364331 h 385762"/>
                <a:gd name="connsiteX15" fmla="*/ 159544 w 376238"/>
                <a:gd name="connsiteY15" fmla="*/ 357187 h 385762"/>
                <a:gd name="connsiteX16" fmla="*/ 188119 w 376238"/>
                <a:gd name="connsiteY16" fmla="*/ 338137 h 385762"/>
                <a:gd name="connsiteX17" fmla="*/ 216694 w 376238"/>
                <a:gd name="connsiteY17" fmla="*/ 361950 h 385762"/>
                <a:gd name="connsiteX18" fmla="*/ 230982 w 376238"/>
                <a:gd name="connsiteY18" fmla="*/ 345281 h 385762"/>
                <a:gd name="connsiteX19" fmla="*/ 233363 w 376238"/>
                <a:gd name="connsiteY19" fmla="*/ 321468 h 385762"/>
                <a:gd name="connsiteX20" fmla="*/ 245269 w 376238"/>
                <a:gd name="connsiteY20" fmla="*/ 288131 h 385762"/>
                <a:gd name="connsiteX21" fmla="*/ 254794 w 376238"/>
                <a:gd name="connsiteY21" fmla="*/ 283368 h 385762"/>
                <a:gd name="connsiteX22" fmla="*/ 273844 w 376238"/>
                <a:gd name="connsiteY22" fmla="*/ 333375 h 385762"/>
                <a:gd name="connsiteX23" fmla="*/ 302419 w 376238"/>
                <a:gd name="connsiteY23" fmla="*/ 352425 h 385762"/>
                <a:gd name="connsiteX24" fmla="*/ 302419 w 376238"/>
                <a:gd name="connsiteY24" fmla="*/ 328612 h 385762"/>
                <a:gd name="connsiteX25" fmla="*/ 314325 w 376238"/>
                <a:gd name="connsiteY25" fmla="*/ 316706 h 385762"/>
                <a:gd name="connsiteX26" fmla="*/ 314325 w 376238"/>
                <a:gd name="connsiteY26" fmla="*/ 292893 h 385762"/>
                <a:gd name="connsiteX27" fmla="*/ 345282 w 376238"/>
                <a:gd name="connsiteY27" fmla="*/ 235743 h 385762"/>
                <a:gd name="connsiteX28" fmla="*/ 352425 w 376238"/>
                <a:gd name="connsiteY28" fmla="*/ 164306 h 385762"/>
                <a:gd name="connsiteX29" fmla="*/ 376238 w 376238"/>
                <a:gd name="connsiteY29" fmla="*/ 135731 h 385762"/>
                <a:gd name="connsiteX30" fmla="*/ 354807 w 376238"/>
                <a:gd name="connsiteY30" fmla="*/ 119062 h 385762"/>
                <a:gd name="connsiteX31" fmla="*/ 352425 w 376238"/>
                <a:gd name="connsiteY31" fmla="*/ 85725 h 385762"/>
                <a:gd name="connsiteX32" fmla="*/ 345282 w 376238"/>
                <a:gd name="connsiteY32" fmla="*/ 69056 h 385762"/>
                <a:gd name="connsiteX33" fmla="*/ 338138 w 376238"/>
                <a:gd name="connsiteY33" fmla="*/ 40481 h 385762"/>
                <a:gd name="connsiteX34" fmla="*/ 309563 w 376238"/>
                <a:gd name="connsiteY34" fmla="*/ 0 h 385762"/>
                <a:gd name="connsiteX35" fmla="*/ 285750 w 376238"/>
                <a:gd name="connsiteY35" fmla="*/ 16668 h 385762"/>
                <a:gd name="connsiteX36" fmla="*/ 242888 w 376238"/>
                <a:gd name="connsiteY36" fmla="*/ 35718 h 385762"/>
                <a:gd name="connsiteX0" fmla="*/ 242888 w 376238"/>
                <a:gd name="connsiteY0" fmla="*/ 35718 h 385762"/>
                <a:gd name="connsiteX1" fmla="*/ 80963 w 376238"/>
                <a:gd name="connsiteY1" fmla="*/ 38100 h 385762"/>
                <a:gd name="connsiteX2" fmla="*/ 73819 w 376238"/>
                <a:gd name="connsiteY2" fmla="*/ 90487 h 385762"/>
                <a:gd name="connsiteX3" fmla="*/ 73819 w 376238"/>
                <a:gd name="connsiteY3" fmla="*/ 90487 h 385762"/>
                <a:gd name="connsiteX4" fmla="*/ 45244 w 376238"/>
                <a:gd name="connsiteY4" fmla="*/ 97631 h 385762"/>
                <a:gd name="connsiteX5" fmla="*/ 45244 w 376238"/>
                <a:gd name="connsiteY5" fmla="*/ 126206 h 385762"/>
                <a:gd name="connsiteX6" fmla="*/ 23813 w 376238"/>
                <a:gd name="connsiteY6" fmla="*/ 102393 h 385762"/>
                <a:gd name="connsiteX7" fmla="*/ 26194 w 376238"/>
                <a:gd name="connsiteY7" fmla="*/ 202406 h 385762"/>
                <a:gd name="connsiteX8" fmla="*/ 0 w 376238"/>
                <a:gd name="connsiteY8" fmla="*/ 235743 h 385762"/>
                <a:gd name="connsiteX9" fmla="*/ 2382 w 376238"/>
                <a:gd name="connsiteY9" fmla="*/ 323850 h 385762"/>
                <a:gd name="connsiteX10" fmla="*/ 35719 w 376238"/>
                <a:gd name="connsiteY10" fmla="*/ 342900 h 385762"/>
                <a:gd name="connsiteX11" fmla="*/ 45244 w 376238"/>
                <a:gd name="connsiteY11" fmla="*/ 385762 h 385762"/>
                <a:gd name="connsiteX12" fmla="*/ 59532 w 376238"/>
                <a:gd name="connsiteY12" fmla="*/ 326231 h 385762"/>
                <a:gd name="connsiteX13" fmla="*/ 92869 w 376238"/>
                <a:gd name="connsiteY13" fmla="*/ 342900 h 385762"/>
                <a:gd name="connsiteX14" fmla="*/ 97632 w 376238"/>
                <a:gd name="connsiteY14" fmla="*/ 364331 h 385762"/>
                <a:gd name="connsiteX15" fmla="*/ 159544 w 376238"/>
                <a:gd name="connsiteY15" fmla="*/ 357187 h 385762"/>
                <a:gd name="connsiteX16" fmla="*/ 188119 w 376238"/>
                <a:gd name="connsiteY16" fmla="*/ 338137 h 385762"/>
                <a:gd name="connsiteX17" fmla="*/ 216694 w 376238"/>
                <a:gd name="connsiteY17" fmla="*/ 361950 h 385762"/>
                <a:gd name="connsiteX18" fmla="*/ 230982 w 376238"/>
                <a:gd name="connsiteY18" fmla="*/ 345281 h 385762"/>
                <a:gd name="connsiteX19" fmla="*/ 233363 w 376238"/>
                <a:gd name="connsiteY19" fmla="*/ 321468 h 385762"/>
                <a:gd name="connsiteX20" fmla="*/ 245269 w 376238"/>
                <a:gd name="connsiteY20" fmla="*/ 288131 h 385762"/>
                <a:gd name="connsiteX21" fmla="*/ 254794 w 376238"/>
                <a:gd name="connsiteY21" fmla="*/ 283368 h 385762"/>
                <a:gd name="connsiteX22" fmla="*/ 273844 w 376238"/>
                <a:gd name="connsiteY22" fmla="*/ 333375 h 385762"/>
                <a:gd name="connsiteX23" fmla="*/ 302419 w 376238"/>
                <a:gd name="connsiteY23" fmla="*/ 352425 h 385762"/>
                <a:gd name="connsiteX24" fmla="*/ 302419 w 376238"/>
                <a:gd name="connsiteY24" fmla="*/ 328612 h 385762"/>
                <a:gd name="connsiteX25" fmla="*/ 314325 w 376238"/>
                <a:gd name="connsiteY25" fmla="*/ 316706 h 385762"/>
                <a:gd name="connsiteX26" fmla="*/ 314325 w 376238"/>
                <a:gd name="connsiteY26" fmla="*/ 292893 h 385762"/>
                <a:gd name="connsiteX27" fmla="*/ 345282 w 376238"/>
                <a:gd name="connsiteY27" fmla="*/ 235743 h 385762"/>
                <a:gd name="connsiteX28" fmla="*/ 352425 w 376238"/>
                <a:gd name="connsiteY28" fmla="*/ 164306 h 385762"/>
                <a:gd name="connsiteX29" fmla="*/ 376238 w 376238"/>
                <a:gd name="connsiteY29" fmla="*/ 135731 h 385762"/>
                <a:gd name="connsiteX30" fmla="*/ 354807 w 376238"/>
                <a:gd name="connsiteY30" fmla="*/ 119062 h 385762"/>
                <a:gd name="connsiteX31" fmla="*/ 352425 w 376238"/>
                <a:gd name="connsiteY31" fmla="*/ 85725 h 385762"/>
                <a:gd name="connsiteX32" fmla="*/ 345282 w 376238"/>
                <a:gd name="connsiteY32" fmla="*/ 69056 h 385762"/>
                <a:gd name="connsiteX33" fmla="*/ 338138 w 376238"/>
                <a:gd name="connsiteY33" fmla="*/ 40481 h 385762"/>
                <a:gd name="connsiteX34" fmla="*/ 309563 w 376238"/>
                <a:gd name="connsiteY34" fmla="*/ 0 h 385762"/>
                <a:gd name="connsiteX35" fmla="*/ 273844 w 376238"/>
                <a:gd name="connsiteY35" fmla="*/ 50006 h 385762"/>
                <a:gd name="connsiteX36" fmla="*/ 242888 w 376238"/>
                <a:gd name="connsiteY36" fmla="*/ 35718 h 38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76238" h="385762">
                  <a:moveTo>
                    <a:pt x="242888" y="35718"/>
                  </a:moveTo>
                  <a:lnTo>
                    <a:pt x="80963" y="38100"/>
                  </a:lnTo>
                  <a:lnTo>
                    <a:pt x="73819" y="90487"/>
                  </a:lnTo>
                  <a:lnTo>
                    <a:pt x="73819" y="90487"/>
                  </a:lnTo>
                  <a:lnTo>
                    <a:pt x="45244" y="97631"/>
                  </a:lnTo>
                  <a:lnTo>
                    <a:pt x="45244" y="126206"/>
                  </a:lnTo>
                  <a:lnTo>
                    <a:pt x="23813" y="102393"/>
                  </a:lnTo>
                  <a:cubicBezTo>
                    <a:pt x="24607" y="135731"/>
                    <a:pt x="25400" y="169068"/>
                    <a:pt x="26194" y="202406"/>
                  </a:cubicBezTo>
                  <a:lnTo>
                    <a:pt x="0" y="235743"/>
                  </a:lnTo>
                  <a:lnTo>
                    <a:pt x="2382" y="323850"/>
                  </a:lnTo>
                  <a:lnTo>
                    <a:pt x="35719" y="342900"/>
                  </a:lnTo>
                  <a:lnTo>
                    <a:pt x="45244" y="385762"/>
                  </a:lnTo>
                  <a:lnTo>
                    <a:pt x="59532" y="326231"/>
                  </a:lnTo>
                  <a:lnTo>
                    <a:pt x="92869" y="342900"/>
                  </a:lnTo>
                  <a:lnTo>
                    <a:pt x="97632" y="364331"/>
                  </a:lnTo>
                  <a:lnTo>
                    <a:pt x="159544" y="357187"/>
                  </a:lnTo>
                  <a:lnTo>
                    <a:pt x="188119" y="338137"/>
                  </a:lnTo>
                  <a:lnTo>
                    <a:pt x="216694" y="361950"/>
                  </a:lnTo>
                  <a:lnTo>
                    <a:pt x="230982" y="345281"/>
                  </a:lnTo>
                  <a:lnTo>
                    <a:pt x="233363" y="321468"/>
                  </a:lnTo>
                  <a:lnTo>
                    <a:pt x="245269" y="288131"/>
                  </a:lnTo>
                  <a:lnTo>
                    <a:pt x="254794" y="283368"/>
                  </a:lnTo>
                  <a:lnTo>
                    <a:pt x="273844" y="333375"/>
                  </a:lnTo>
                  <a:lnTo>
                    <a:pt x="302419" y="352425"/>
                  </a:lnTo>
                  <a:lnTo>
                    <a:pt x="302419" y="328612"/>
                  </a:lnTo>
                  <a:lnTo>
                    <a:pt x="314325" y="316706"/>
                  </a:lnTo>
                  <a:lnTo>
                    <a:pt x="314325" y="292893"/>
                  </a:lnTo>
                  <a:lnTo>
                    <a:pt x="345282" y="235743"/>
                  </a:lnTo>
                  <a:lnTo>
                    <a:pt x="352425" y="164306"/>
                  </a:lnTo>
                  <a:lnTo>
                    <a:pt x="376238" y="135731"/>
                  </a:lnTo>
                  <a:lnTo>
                    <a:pt x="354807" y="119062"/>
                  </a:lnTo>
                  <a:lnTo>
                    <a:pt x="352425" y="85725"/>
                  </a:lnTo>
                  <a:lnTo>
                    <a:pt x="345282" y="69056"/>
                  </a:lnTo>
                  <a:lnTo>
                    <a:pt x="338138" y="40481"/>
                  </a:lnTo>
                  <a:lnTo>
                    <a:pt x="309563" y="0"/>
                  </a:lnTo>
                  <a:lnTo>
                    <a:pt x="273844" y="50006"/>
                  </a:lnTo>
                  <a:lnTo>
                    <a:pt x="242888" y="3571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: Shape 136"/>
            <p:cNvSpPr/>
            <p:nvPr/>
          </p:nvSpPr>
          <p:spPr bwMode="auto">
            <a:xfrm>
              <a:off x="6076950" y="3121819"/>
              <a:ext cx="1531144" cy="1042987"/>
            </a:xfrm>
            <a:custGeom>
              <a:avLst/>
              <a:gdLst>
                <a:gd name="connsiteX0" fmla="*/ 1150144 w 1531144"/>
                <a:gd name="connsiteY0" fmla="*/ 130969 h 1042987"/>
                <a:gd name="connsiteX1" fmla="*/ 1083469 w 1531144"/>
                <a:gd name="connsiteY1" fmla="*/ 164306 h 1042987"/>
                <a:gd name="connsiteX2" fmla="*/ 1064419 w 1531144"/>
                <a:gd name="connsiteY2" fmla="*/ 207169 h 1042987"/>
                <a:gd name="connsiteX3" fmla="*/ 1097756 w 1531144"/>
                <a:gd name="connsiteY3" fmla="*/ 219075 h 1042987"/>
                <a:gd name="connsiteX4" fmla="*/ 1119188 w 1531144"/>
                <a:gd name="connsiteY4" fmla="*/ 211931 h 1042987"/>
                <a:gd name="connsiteX5" fmla="*/ 1147763 w 1531144"/>
                <a:gd name="connsiteY5" fmla="*/ 230981 h 1042987"/>
                <a:gd name="connsiteX6" fmla="*/ 1173956 w 1531144"/>
                <a:gd name="connsiteY6" fmla="*/ 247650 h 1042987"/>
                <a:gd name="connsiteX7" fmla="*/ 1169194 w 1531144"/>
                <a:gd name="connsiteY7" fmla="*/ 269081 h 1042987"/>
                <a:gd name="connsiteX8" fmla="*/ 1135856 w 1531144"/>
                <a:gd name="connsiteY8" fmla="*/ 271462 h 1042987"/>
                <a:gd name="connsiteX9" fmla="*/ 1090613 w 1531144"/>
                <a:gd name="connsiteY9" fmla="*/ 283369 h 1042987"/>
                <a:gd name="connsiteX10" fmla="*/ 1059656 w 1531144"/>
                <a:gd name="connsiteY10" fmla="*/ 321469 h 1042987"/>
                <a:gd name="connsiteX11" fmla="*/ 1035844 w 1531144"/>
                <a:gd name="connsiteY11" fmla="*/ 314325 h 1042987"/>
                <a:gd name="connsiteX12" fmla="*/ 1000125 w 1531144"/>
                <a:gd name="connsiteY12" fmla="*/ 345281 h 1042987"/>
                <a:gd name="connsiteX13" fmla="*/ 969169 w 1531144"/>
                <a:gd name="connsiteY13" fmla="*/ 330994 h 1042987"/>
                <a:gd name="connsiteX14" fmla="*/ 978694 w 1531144"/>
                <a:gd name="connsiteY14" fmla="*/ 369094 h 1042987"/>
                <a:gd name="connsiteX15" fmla="*/ 971550 w 1531144"/>
                <a:gd name="connsiteY15" fmla="*/ 385762 h 1042987"/>
                <a:gd name="connsiteX16" fmla="*/ 907256 w 1531144"/>
                <a:gd name="connsiteY16" fmla="*/ 414337 h 1042987"/>
                <a:gd name="connsiteX17" fmla="*/ 835819 w 1531144"/>
                <a:gd name="connsiteY17" fmla="*/ 431006 h 1042987"/>
                <a:gd name="connsiteX18" fmla="*/ 797719 w 1531144"/>
                <a:gd name="connsiteY18" fmla="*/ 442912 h 1042987"/>
                <a:gd name="connsiteX19" fmla="*/ 771525 w 1531144"/>
                <a:gd name="connsiteY19" fmla="*/ 431006 h 1042987"/>
                <a:gd name="connsiteX20" fmla="*/ 742950 w 1531144"/>
                <a:gd name="connsiteY20" fmla="*/ 431006 h 1042987"/>
                <a:gd name="connsiteX21" fmla="*/ 692944 w 1531144"/>
                <a:gd name="connsiteY21" fmla="*/ 407194 h 1042987"/>
                <a:gd name="connsiteX22" fmla="*/ 631031 w 1531144"/>
                <a:gd name="connsiteY22" fmla="*/ 409575 h 1042987"/>
                <a:gd name="connsiteX23" fmla="*/ 592931 w 1531144"/>
                <a:gd name="connsiteY23" fmla="*/ 411956 h 1042987"/>
                <a:gd name="connsiteX24" fmla="*/ 561975 w 1531144"/>
                <a:gd name="connsiteY24" fmla="*/ 383381 h 1042987"/>
                <a:gd name="connsiteX25" fmla="*/ 540544 w 1531144"/>
                <a:gd name="connsiteY25" fmla="*/ 357187 h 1042987"/>
                <a:gd name="connsiteX26" fmla="*/ 521494 w 1531144"/>
                <a:gd name="connsiteY26" fmla="*/ 340519 h 1042987"/>
                <a:gd name="connsiteX27" fmla="*/ 483394 w 1531144"/>
                <a:gd name="connsiteY27" fmla="*/ 335756 h 1042987"/>
                <a:gd name="connsiteX28" fmla="*/ 457200 w 1531144"/>
                <a:gd name="connsiteY28" fmla="*/ 330994 h 1042987"/>
                <a:gd name="connsiteX29" fmla="*/ 447675 w 1531144"/>
                <a:gd name="connsiteY29" fmla="*/ 304800 h 1042987"/>
                <a:gd name="connsiteX30" fmla="*/ 445294 w 1531144"/>
                <a:gd name="connsiteY30" fmla="*/ 259556 h 1042987"/>
                <a:gd name="connsiteX31" fmla="*/ 421481 w 1531144"/>
                <a:gd name="connsiteY31" fmla="*/ 230981 h 1042987"/>
                <a:gd name="connsiteX32" fmla="*/ 395288 w 1531144"/>
                <a:gd name="connsiteY32" fmla="*/ 207169 h 1042987"/>
                <a:gd name="connsiteX33" fmla="*/ 373856 w 1531144"/>
                <a:gd name="connsiteY33" fmla="*/ 176212 h 1042987"/>
                <a:gd name="connsiteX34" fmla="*/ 333375 w 1531144"/>
                <a:gd name="connsiteY34" fmla="*/ 202406 h 1042987"/>
                <a:gd name="connsiteX35" fmla="*/ 314325 w 1531144"/>
                <a:gd name="connsiteY35" fmla="*/ 219075 h 1042987"/>
                <a:gd name="connsiteX36" fmla="*/ 323850 w 1531144"/>
                <a:gd name="connsiteY36" fmla="*/ 238125 h 1042987"/>
                <a:gd name="connsiteX37" fmla="*/ 314325 w 1531144"/>
                <a:gd name="connsiteY37" fmla="*/ 259556 h 1042987"/>
                <a:gd name="connsiteX38" fmla="*/ 292894 w 1531144"/>
                <a:gd name="connsiteY38" fmla="*/ 266700 h 1042987"/>
                <a:gd name="connsiteX39" fmla="*/ 269081 w 1531144"/>
                <a:gd name="connsiteY39" fmla="*/ 247650 h 1042987"/>
                <a:gd name="connsiteX40" fmla="*/ 247650 w 1531144"/>
                <a:gd name="connsiteY40" fmla="*/ 261937 h 1042987"/>
                <a:gd name="connsiteX41" fmla="*/ 247650 w 1531144"/>
                <a:gd name="connsiteY41" fmla="*/ 283369 h 1042987"/>
                <a:gd name="connsiteX42" fmla="*/ 242888 w 1531144"/>
                <a:gd name="connsiteY42" fmla="*/ 314325 h 1042987"/>
                <a:gd name="connsiteX43" fmla="*/ 235744 w 1531144"/>
                <a:gd name="connsiteY43" fmla="*/ 326231 h 1042987"/>
                <a:gd name="connsiteX44" fmla="*/ 209550 w 1531144"/>
                <a:gd name="connsiteY44" fmla="*/ 321469 h 1042987"/>
                <a:gd name="connsiteX45" fmla="*/ 190500 w 1531144"/>
                <a:gd name="connsiteY45" fmla="*/ 333375 h 1042987"/>
                <a:gd name="connsiteX46" fmla="*/ 192881 w 1531144"/>
                <a:gd name="connsiteY46" fmla="*/ 359569 h 1042987"/>
                <a:gd name="connsiteX47" fmla="*/ 195263 w 1531144"/>
                <a:gd name="connsiteY47" fmla="*/ 402431 h 1042987"/>
                <a:gd name="connsiteX48" fmla="*/ 195263 w 1531144"/>
                <a:gd name="connsiteY48" fmla="*/ 402431 h 1042987"/>
                <a:gd name="connsiteX49" fmla="*/ 171450 w 1531144"/>
                <a:gd name="connsiteY49" fmla="*/ 452437 h 1042987"/>
                <a:gd name="connsiteX50" fmla="*/ 154781 w 1531144"/>
                <a:gd name="connsiteY50" fmla="*/ 473869 h 1042987"/>
                <a:gd name="connsiteX51" fmla="*/ 92869 w 1531144"/>
                <a:gd name="connsiteY51" fmla="*/ 481012 h 1042987"/>
                <a:gd name="connsiteX52" fmla="*/ 73819 w 1531144"/>
                <a:gd name="connsiteY52" fmla="*/ 492919 h 1042987"/>
                <a:gd name="connsiteX53" fmla="*/ 50006 w 1531144"/>
                <a:gd name="connsiteY53" fmla="*/ 471487 h 1042987"/>
                <a:gd name="connsiteX54" fmla="*/ 30956 w 1531144"/>
                <a:gd name="connsiteY54" fmla="*/ 509587 h 1042987"/>
                <a:gd name="connsiteX55" fmla="*/ 28575 w 1531144"/>
                <a:gd name="connsiteY55" fmla="*/ 535781 h 1042987"/>
                <a:gd name="connsiteX56" fmla="*/ 52388 w 1531144"/>
                <a:gd name="connsiteY56" fmla="*/ 561975 h 1042987"/>
                <a:gd name="connsiteX57" fmla="*/ 52388 w 1531144"/>
                <a:gd name="connsiteY57" fmla="*/ 561975 h 1042987"/>
                <a:gd name="connsiteX58" fmla="*/ 38100 w 1531144"/>
                <a:gd name="connsiteY58" fmla="*/ 578644 h 1042987"/>
                <a:gd name="connsiteX59" fmla="*/ 0 w 1531144"/>
                <a:gd name="connsiteY59" fmla="*/ 595312 h 1042987"/>
                <a:gd name="connsiteX60" fmla="*/ 50006 w 1531144"/>
                <a:gd name="connsiteY60" fmla="*/ 638175 h 1042987"/>
                <a:gd name="connsiteX61" fmla="*/ 73819 w 1531144"/>
                <a:gd name="connsiteY61" fmla="*/ 664369 h 1042987"/>
                <a:gd name="connsiteX62" fmla="*/ 78581 w 1531144"/>
                <a:gd name="connsiteY62" fmla="*/ 719137 h 1042987"/>
                <a:gd name="connsiteX63" fmla="*/ 104775 w 1531144"/>
                <a:gd name="connsiteY63" fmla="*/ 709612 h 1042987"/>
                <a:gd name="connsiteX64" fmla="*/ 142875 w 1531144"/>
                <a:gd name="connsiteY64" fmla="*/ 714375 h 1042987"/>
                <a:gd name="connsiteX65" fmla="*/ 171450 w 1531144"/>
                <a:gd name="connsiteY65" fmla="*/ 742950 h 1042987"/>
                <a:gd name="connsiteX66" fmla="*/ 204788 w 1531144"/>
                <a:gd name="connsiteY66" fmla="*/ 781050 h 1042987"/>
                <a:gd name="connsiteX67" fmla="*/ 254794 w 1531144"/>
                <a:gd name="connsiteY67" fmla="*/ 800100 h 1042987"/>
                <a:gd name="connsiteX68" fmla="*/ 326231 w 1531144"/>
                <a:gd name="connsiteY68" fmla="*/ 838200 h 1042987"/>
                <a:gd name="connsiteX69" fmla="*/ 383381 w 1531144"/>
                <a:gd name="connsiteY69" fmla="*/ 852487 h 1042987"/>
                <a:gd name="connsiteX70" fmla="*/ 426244 w 1531144"/>
                <a:gd name="connsiteY70" fmla="*/ 852487 h 1042987"/>
                <a:gd name="connsiteX71" fmla="*/ 464344 w 1531144"/>
                <a:gd name="connsiteY71" fmla="*/ 854869 h 1042987"/>
                <a:gd name="connsiteX72" fmla="*/ 495300 w 1531144"/>
                <a:gd name="connsiteY72" fmla="*/ 869156 h 1042987"/>
                <a:gd name="connsiteX73" fmla="*/ 516731 w 1531144"/>
                <a:gd name="connsiteY73" fmla="*/ 871537 h 1042987"/>
                <a:gd name="connsiteX74" fmla="*/ 561975 w 1531144"/>
                <a:gd name="connsiteY74" fmla="*/ 845344 h 1042987"/>
                <a:gd name="connsiteX75" fmla="*/ 592931 w 1531144"/>
                <a:gd name="connsiteY75" fmla="*/ 840581 h 1042987"/>
                <a:gd name="connsiteX76" fmla="*/ 619125 w 1531144"/>
                <a:gd name="connsiteY76" fmla="*/ 833437 h 1042987"/>
                <a:gd name="connsiteX77" fmla="*/ 633413 w 1531144"/>
                <a:gd name="connsiteY77" fmla="*/ 857250 h 1042987"/>
                <a:gd name="connsiteX78" fmla="*/ 638175 w 1531144"/>
                <a:gd name="connsiteY78" fmla="*/ 895350 h 1042987"/>
                <a:gd name="connsiteX79" fmla="*/ 628650 w 1531144"/>
                <a:gd name="connsiteY79" fmla="*/ 923925 h 1042987"/>
                <a:gd name="connsiteX80" fmla="*/ 642938 w 1531144"/>
                <a:gd name="connsiteY80" fmla="*/ 931069 h 1042987"/>
                <a:gd name="connsiteX81" fmla="*/ 676275 w 1531144"/>
                <a:gd name="connsiteY81" fmla="*/ 926306 h 1042987"/>
                <a:gd name="connsiteX82" fmla="*/ 704850 w 1531144"/>
                <a:gd name="connsiteY82" fmla="*/ 926306 h 1042987"/>
                <a:gd name="connsiteX83" fmla="*/ 738188 w 1531144"/>
                <a:gd name="connsiteY83" fmla="*/ 959644 h 1042987"/>
                <a:gd name="connsiteX84" fmla="*/ 742950 w 1531144"/>
                <a:gd name="connsiteY84" fmla="*/ 988219 h 1042987"/>
                <a:gd name="connsiteX85" fmla="*/ 819150 w 1531144"/>
                <a:gd name="connsiteY85" fmla="*/ 985837 h 1042987"/>
                <a:gd name="connsiteX86" fmla="*/ 869156 w 1531144"/>
                <a:gd name="connsiteY86" fmla="*/ 1014412 h 1042987"/>
                <a:gd name="connsiteX87" fmla="*/ 897731 w 1531144"/>
                <a:gd name="connsiteY87" fmla="*/ 1021556 h 1042987"/>
                <a:gd name="connsiteX88" fmla="*/ 916781 w 1531144"/>
                <a:gd name="connsiteY88" fmla="*/ 1042987 h 1042987"/>
                <a:gd name="connsiteX89" fmla="*/ 945356 w 1531144"/>
                <a:gd name="connsiteY89" fmla="*/ 1033462 h 1042987"/>
                <a:gd name="connsiteX90" fmla="*/ 988219 w 1531144"/>
                <a:gd name="connsiteY90" fmla="*/ 1012031 h 1042987"/>
                <a:gd name="connsiteX91" fmla="*/ 1026319 w 1531144"/>
                <a:gd name="connsiteY91" fmla="*/ 995362 h 1042987"/>
                <a:gd name="connsiteX92" fmla="*/ 1088231 w 1531144"/>
                <a:gd name="connsiteY92" fmla="*/ 985837 h 1042987"/>
                <a:gd name="connsiteX93" fmla="*/ 1147763 w 1531144"/>
                <a:gd name="connsiteY93" fmla="*/ 933450 h 1042987"/>
                <a:gd name="connsiteX94" fmla="*/ 1173956 w 1531144"/>
                <a:gd name="connsiteY94" fmla="*/ 878681 h 1042987"/>
                <a:gd name="connsiteX95" fmla="*/ 1193006 w 1531144"/>
                <a:gd name="connsiteY95" fmla="*/ 840581 h 1042987"/>
                <a:gd name="connsiteX96" fmla="*/ 1209675 w 1531144"/>
                <a:gd name="connsiteY96" fmla="*/ 802481 h 1042987"/>
                <a:gd name="connsiteX97" fmla="*/ 1193006 w 1531144"/>
                <a:gd name="connsiteY97" fmla="*/ 790575 h 1042987"/>
                <a:gd name="connsiteX98" fmla="*/ 1216819 w 1531144"/>
                <a:gd name="connsiteY98" fmla="*/ 754856 h 1042987"/>
                <a:gd name="connsiteX99" fmla="*/ 1202531 w 1531144"/>
                <a:gd name="connsiteY99" fmla="*/ 719137 h 1042987"/>
                <a:gd name="connsiteX100" fmla="*/ 1181100 w 1531144"/>
                <a:gd name="connsiteY100" fmla="*/ 690562 h 1042987"/>
                <a:gd name="connsiteX101" fmla="*/ 1176338 w 1531144"/>
                <a:gd name="connsiteY101" fmla="*/ 666750 h 1042987"/>
                <a:gd name="connsiteX102" fmla="*/ 1147763 w 1531144"/>
                <a:gd name="connsiteY102" fmla="*/ 640556 h 1042987"/>
                <a:gd name="connsiteX103" fmla="*/ 1169194 w 1531144"/>
                <a:gd name="connsiteY103" fmla="*/ 614362 h 1042987"/>
                <a:gd name="connsiteX104" fmla="*/ 1197769 w 1531144"/>
                <a:gd name="connsiteY104" fmla="*/ 588169 h 1042987"/>
                <a:gd name="connsiteX105" fmla="*/ 1216819 w 1531144"/>
                <a:gd name="connsiteY105" fmla="*/ 576262 h 1042987"/>
                <a:gd name="connsiteX106" fmla="*/ 1195388 w 1531144"/>
                <a:gd name="connsiteY106" fmla="*/ 569119 h 1042987"/>
                <a:gd name="connsiteX107" fmla="*/ 1166813 w 1531144"/>
                <a:gd name="connsiteY107" fmla="*/ 573881 h 1042987"/>
                <a:gd name="connsiteX108" fmla="*/ 1145381 w 1531144"/>
                <a:gd name="connsiteY108" fmla="*/ 578644 h 1042987"/>
                <a:gd name="connsiteX109" fmla="*/ 1133475 w 1531144"/>
                <a:gd name="connsiteY109" fmla="*/ 561975 h 1042987"/>
                <a:gd name="connsiteX110" fmla="*/ 1109663 w 1531144"/>
                <a:gd name="connsiteY110" fmla="*/ 552450 h 1042987"/>
                <a:gd name="connsiteX111" fmla="*/ 1107281 w 1531144"/>
                <a:gd name="connsiteY111" fmla="*/ 528637 h 1042987"/>
                <a:gd name="connsiteX112" fmla="*/ 1133475 w 1531144"/>
                <a:gd name="connsiteY112" fmla="*/ 523875 h 1042987"/>
                <a:gd name="connsiteX113" fmla="*/ 1166813 w 1531144"/>
                <a:gd name="connsiteY113" fmla="*/ 507206 h 1042987"/>
                <a:gd name="connsiteX114" fmla="*/ 1181100 w 1531144"/>
                <a:gd name="connsiteY114" fmla="*/ 492919 h 1042987"/>
                <a:gd name="connsiteX115" fmla="*/ 1200150 w 1531144"/>
                <a:gd name="connsiteY115" fmla="*/ 454819 h 1042987"/>
                <a:gd name="connsiteX116" fmla="*/ 1233488 w 1531144"/>
                <a:gd name="connsiteY116" fmla="*/ 464344 h 1042987"/>
                <a:gd name="connsiteX117" fmla="*/ 1223963 w 1531144"/>
                <a:gd name="connsiteY117" fmla="*/ 492919 h 1042987"/>
                <a:gd name="connsiteX118" fmla="*/ 1212056 w 1531144"/>
                <a:gd name="connsiteY118" fmla="*/ 511969 h 1042987"/>
                <a:gd name="connsiteX119" fmla="*/ 1214438 w 1531144"/>
                <a:gd name="connsiteY119" fmla="*/ 526256 h 1042987"/>
                <a:gd name="connsiteX120" fmla="*/ 1245394 w 1531144"/>
                <a:gd name="connsiteY120" fmla="*/ 495300 h 1042987"/>
                <a:gd name="connsiteX121" fmla="*/ 1257300 w 1531144"/>
                <a:gd name="connsiteY121" fmla="*/ 469106 h 1042987"/>
                <a:gd name="connsiteX122" fmla="*/ 1297781 w 1531144"/>
                <a:gd name="connsiteY122" fmla="*/ 464344 h 1042987"/>
                <a:gd name="connsiteX123" fmla="*/ 1333500 w 1531144"/>
                <a:gd name="connsiteY123" fmla="*/ 445294 h 1042987"/>
                <a:gd name="connsiteX124" fmla="*/ 1366838 w 1531144"/>
                <a:gd name="connsiteY124" fmla="*/ 433387 h 1042987"/>
                <a:gd name="connsiteX125" fmla="*/ 1404938 w 1531144"/>
                <a:gd name="connsiteY125" fmla="*/ 407194 h 1042987"/>
                <a:gd name="connsiteX126" fmla="*/ 1426369 w 1531144"/>
                <a:gd name="connsiteY126" fmla="*/ 390525 h 1042987"/>
                <a:gd name="connsiteX127" fmla="*/ 1445419 w 1531144"/>
                <a:gd name="connsiteY127" fmla="*/ 388144 h 1042987"/>
                <a:gd name="connsiteX128" fmla="*/ 1445419 w 1531144"/>
                <a:gd name="connsiteY128" fmla="*/ 323850 h 1042987"/>
                <a:gd name="connsiteX129" fmla="*/ 1464469 w 1531144"/>
                <a:gd name="connsiteY129" fmla="*/ 307181 h 1042987"/>
                <a:gd name="connsiteX130" fmla="*/ 1488281 w 1531144"/>
                <a:gd name="connsiteY130" fmla="*/ 328612 h 1042987"/>
                <a:gd name="connsiteX131" fmla="*/ 1516856 w 1531144"/>
                <a:gd name="connsiteY131" fmla="*/ 238125 h 1042987"/>
                <a:gd name="connsiteX132" fmla="*/ 1531144 w 1531144"/>
                <a:gd name="connsiteY132" fmla="*/ 200025 h 1042987"/>
                <a:gd name="connsiteX133" fmla="*/ 1469231 w 1531144"/>
                <a:gd name="connsiteY133" fmla="*/ 216694 h 1042987"/>
                <a:gd name="connsiteX134" fmla="*/ 1454944 w 1531144"/>
                <a:gd name="connsiteY134" fmla="*/ 226219 h 1042987"/>
                <a:gd name="connsiteX135" fmla="*/ 1428750 w 1531144"/>
                <a:gd name="connsiteY135" fmla="*/ 188119 h 1042987"/>
                <a:gd name="connsiteX136" fmla="*/ 1373981 w 1531144"/>
                <a:gd name="connsiteY136" fmla="*/ 161925 h 1042987"/>
                <a:gd name="connsiteX137" fmla="*/ 1362075 w 1531144"/>
                <a:gd name="connsiteY137" fmla="*/ 130969 h 1042987"/>
                <a:gd name="connsiteX138" fmla="*/ 1343025 w 1531144"/>
                <a:gd name="connsiteY138" fmla="*/ 61912 h 1042987"/>
                <a:gd name="connsiteX139" fmla="*/ 1283494 w 1531144"/>
                <a:gd name="connsiteY139" fmla="*/ 7144 h 1042987"/>
                <a:gd name="connsiteX140" fmla="*/ 1216819 w 1531144"/>
                <a:gd name="connsiteY140" fmla="*/ 0 h 1042987"/>
                <a:gd name="connsiteX141" fmla="*/ 1190625 w 1531144"/>
                <a:gd name="connsiteY141" fmla="*/ 0 h 1042987"/>
                <a:gd name="connsiteX142" fmla="*/ 1171575 w 1531144"/>
                <a:gd name="connsiteY142" fmla="*/ 30956 h 1042987"/>
                <a:gd name="connsiteX143" fmla="*/ 1181100 w 1531144"/>
                <a:gd name="connsiteY143" fmla="*/ 42862 h 1042987"/>
                <a:gd name="connsiteX144" fmla="*/ 1150144 w 1531144"/>
                <a:gd name="connsiteY144" fmla="*/ 130969 h 104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1531144" h="1042987">
                  <a:moveTo>
                    <a:pt x="1150144" y="130969"/>
                  </a:moveTo>
                  <a:lnTo>
                    <a:pt x="1083469" y="164306"/>
                  </a:lnTo>
                  <a:lnTo>
                    <a:pt x="1064419" y="207169"/>
                  </a:lnTo>
                  <a:lnTo>
                    <a:pt x="1097756" y="219075"/>
                  </a:lnTo>
                  <a:lnTo>
                    <a:pt x="1119188" y="211931"/>
                  </a:lnTo>
                  <a:lnTo>
                    <a:pt x="1147763" y="230981"/>
                  </a:lnTo>
                  <a:lnTo>
                    <a:pt x="1173956" y="247650"/>
                  </a:lnTo>
                  <a:lnTo>
                    <a:pt x="1169194" y="269081"/>
                  </a:lnTo>
                  <a:lnTo>
                    <a:pt x="1135856" y="271462"/>
                  </a:lnTo>
                  <a:lnTo>
                    <a:pt x="1090613" y="283369"/>
                  </a:lnTo>
                  <a:lnTo>
                    <a:pt x="1059656" y="321469"/>
                  </a:lnTo>
                  <a:lnTo>
                    <a:pt x="1035844" y="314325"/>
                  </a:lnTo>
                  <a:lnTo>
                    <a:pt x="1000125" y="345281"/>
                  </a:lnTo>
                  <a:lnTo>
                    <a:pt x="969169" y="330994"/>
                  </a:lnTo>
                  <a:lnTo>
                    <a:pt x="978694" y="369094"/>
                  </a:lnTo>
                  <a:lnTo>
                    <a:pt x="971550" y="385762"/>
                  </a:lnTo>
                  <a:lnTo>
                    <a:pt x="907256" y="414337"/>
                  </a:lnTo>
                  <a:lnTo>
                    <a:pt x="835819" y="431006"/>
                  </a:lnTo>
                  <a:lnTo>
                    <a:pt x="797719" y="442912"/>
                  </a:lnTo>
                  <a:lnTo>
                    <a:pt x="771525" y="431006"/>
                  </a:lnTo>
                  <a:lnTo>
                    <a:pt x="742950" y="431006"/>
                  </a:lnTo>
                  <a:lnTo>
                    <a:pt x="692944" y="407194"/>
                  </a:lnTo>
                  <a:lnTo>
                    <a:pt x="631031" y="409575"/>
                  </a:lnTo>
                  <a:lnTo>
                    <a:pt x="592931" y="411956"/>
                  </a:lnTo>
                  <a:lnTo>
                    <a:pt x="561975" y="383381"/>
                  </a:lnTo>
                  <a:lnTo>
                    <a:pt x="540544" y="357187"/>
                  </a:lnTo>
                  <a:lnTo>
                    <a:pt x="521494" y="340519"/>
                  </a:lnTo>
                  <a:lnTo>
                    <a:pt x="483394" y="335756"/>
                  </a:lnTo>
                  <a:lnTo>
                    <a:pt x="457200" y="330994"/>
                  </a:lnTo>
                  <a:lnTo>
                    <a:pt x="447675" y="304800"/>
                  </a:lnTo>
                  <a:lnTo>
                    <a:pt x="445294" y="259556"/>
                  </a:lnTo>
                  <a:lnTo>
                    <a:pt x="421481" y="230981"/>
                  </a:lnTo>
                  <a:lnTo>
                    <a:pt x="395288" y="207169"/>
                  </a:lnTo>
                  <a:lnTo>
                    <a:pt x="373856" y="176212"/>
                  </a:lnTo>
                  <a:lnTo>
                    <a:pt x="333375" y="202406"/>
                  </a:lnTo>
                  <a:lnTo>
                    <a:pt x="314325" y="219075"/>
                  </a:lnTo>
                  <a:lnTo>
                    <a:pt x="323850" y="238125"/>
                  </a:lnTo>
                  <a:lnTo>
                    <a:pt x="314325" y="259556"/>
                  </a:lnTo>
                  <a:lnTo>
                    <a:pt x="292894" y="266700"/>
                  </a:lnTo>
                  <a:lnTo>
                    <a:pt x="269081" y="247650"/>
                  </a:lnTo>
                  <a:lnTo>
                    <a:pt x="247650" y="261937"/>
                  </a:lnTo>
                  <a:lnTo>
                    <a:pt x="247650" y="283369"/>
                  </a:lnTo>
                  <a:lnTo>
                    <a:pt x="242888" y="314325"/>
                  </a:lnTo>
                  <a:lnTo>
                    <a:pt x="235744" y="326231"/>
                  </a:lnTo>
                  <a:lnTo>
                    <a:pt x="209550" y="321469"/>
                  </a:lnTo>
                  <a:lnTo>
                    <a:pt x="190500" y="333375"/>
                  </a:lnTo>
                  <a:lnTo>
                    <a:pt x="192881" y="359569"/>
                  </a:lnTo>
                  <a:lnTo>
                    <a:pt x="195263" y="402431"/>
                  </a:lnTo>
                  <a:lnTo>
                    <a:pt x="195263" y="402431"/>
                  </a:lnTo>
                  <a:lnTo>
                    <a:pt x="171450" y="452437"/>
                  </a:lnTo>
                  <a:lnTo>
                    <a:pt x="154781" y="473869"/>
                  </a:lnTo>
                  <a:lnTo>
                    <a:pt x="92869" y="481012"/>
                  </a:lnTo>
                  <a:lnTo>
                    <a:pt x="73819" y="492919"/>
                  </a:lnTo>
                  <a:lnTo>
                    <a:pt x="50006" y="471487"/>
                  </a:lnTo>
                  <a:lnTo>
                    <a:pt x="30956" y="509587"/>
                  </a:lnTo>
                  <a:lnTo>
                    <a:pt x="28575" y="535781"/>
                  </a:lnTo>
                  <a:lnTo>
                    <a:pt x="52388" y="561975"/>
                  </a:lnTo>
                  <a:lnTo>
                    <a:pt x="52388" y="561975"/>
                  </a:lnTo>
                  <a:lnTo>
                    <a:pt x="38100" y="578644"/>
                  </a:lnTo>
                  <a:lnTo>
                    <a:pt x="0" y="595312"/>
                  </a:lnTo>
                  <a:lnTo>
                    <a:pt x="50006" y="638175"/>
                  </a:lnTo>
                  <a:lnTo>
                    <a:pt x="73819" y="664369"/>
                  </a:lnTo>
                  <a:lnTo>
                    <a:pt x="78581" y="719137"/>
                  </a:lnTo>
                  <a:lnTo>
                    <a:pt x="104775" y="709612"/>
                  </a:lnTo>
                  <a:lnTo>
                    <a:pt x="142875" y="714375"/>
                  </a:lnTo>
                  <a:lnTo>
                    <a:pt x="171450" y="742950"/>
                  </a:lnTo>
                  <a:lnTo>
                    <a:pt x="204788" y="781050"/>
                  </a:lnTo>
                  <a:lnTo>
                    <a:pt x="254794" y="800100"/>
                  </a:lnTo>
                  <a:lnTo>
                    <a:pt x="326231" y="838200"/>
                  </a:lnTo>
                  <a:lnTo>
                    <a:pt x="383381" y="852487"/>
                  </a:lnTo>
                  <a:lnTo>
                    <a:pt x="426244" y="852487"/>
                  </a:lnTo>
                  <a:lnTo>
                    <a:pt x="464344" y="854869"/>
                  </a:lnTo>
                  <a:lnTo>
                    <a:pt x="495300" y="869156"/>
                  </a:lnTo>
                  <a:lnTo>
                    <a:pt x="516731" y="871537"/>
                  </a:lnTo>
                  <a:lnTo>
                    <a:pt x="561975" y="845344"/>
                  </a:lnTo>
                  <a:lnTo>
                    <a:pt x="592931" y="840581"/>
                  </a:lnTo>
                  <a:lnTo>
                    <a:pt x="619125" y="833437"/>
                  </a:lnTo>
                  <a:lnTo>
                    <a:pt x="633413" y="857250"/>
                  </a:lnTo>
                  <a:lnTo>
                    <a:pt x="638175" y="895350"/>
                  </a:lnTo>
                  <a:lnTo>
                    <a:pt x="628650" y="923925"/>
                  </a:lnTo>
                  <a:lnTo>
                    <a:pt x="642938" y="931069"/>
                  </a:lnTo>
                  <a:lnTo>
                    <a:pt x="676275" y="926306"/>
                  </a:lnTo>
                  <a:lnTo>
                    <a:pt x="704850" y="926306"/>
                  </a:lnTo>
                  <a:lnTo>
                    <a:pt x="738188" y="959644"/>
                  </a:lnTo>
                  <a:lnTo>
                    <a:pt x="742950" y="988219"/>
                  </a:lnTo>
                  <a:lnTo>
                    <a:pt x="819150" y="985837"/>
                  </a:lnTo>
                  <a:lnTo>
                    <a:pt x="869156" y="1014412"/>
                  </a:lnTo>
                  <a:lnTo>
                    <a:pt x="897731" y="1021556"/>
                  </a:lnTo>
                  <a:lnTo>
                    <a:pt x="916781" y="1042987"/>
                  </a:lnTo>
                  <a:lnTo>
                    <a:pt x="945356" y="1033462"/>
                  </a:lnTo>
                  <a:lnTo>
                    <a:pt x="988219" y="1012031"/>
                  </a:lnTo>
                  <a:lnTo>
                    <a:pt x="1026319" y="995362"/>
                  </a:lnTo>
                  <a:lnTo>
                    <a:pt x="1088231" y="985837"/>
                  </a:lnTo>
                  <a:lnTo>
                    <a:pt x="1147763" y="933450"/>
                  </a:lnTo>
                  <a:lnTo>
                    <a:pt x="1173956" y="878681"/>
                  </a:lnTo>
                  <a:lnTo>
                    <a:pt x="1193006" y="840581"/>
                  </a:lnTo>
                  <a:lnTo>
                    <a:pt x="1209675" y="802481"/>
                  </a:lnTo>
                  <a:lnTo>
                    <a:pt x="1193006" y="790575"/>
                  </a:lnTo>
                  <a:lnTo>
                    <a:pt x="1216819" y="754856"/>
                  </a:lnTo>
                  <a:lnTo>
                    <a:pt x="1202531" y="719137"/>
                  </a:lnTo>
                  <a:lnTo>
                    <a:pt x="1181100" y="690562"/>
                  </a:lnTo>
                  <a:lnTo>
                    <a:pt x="1176338" y="666750"/>
                  </a:lnTo>
                  <a:lnTo>
                    <a:pt x="1147763" y="640556"/>
                  </a:lnTo>
                  <a:lnTo>
                    <a:pt x="1169194" y="614362"/>
                  </a:lnTo>
                  <a:lnTo>
                    <a:pt x="1197769" y="588169"/>
                  </a:lnTo>
                  <a:lnTo>
                    <a:pt x="1216819" y="576262"/>
                  </a:lnTo>
                  <a:lnTo>
                    <a:pt x="1195388" y="569119"/>
                  </a:lnTo>
                  <a:lnTo>
                    <a:pt x="1166813" y="573881"/>
                  </a:lnTo>
                  <a:lnTo>
                    <a:pt x="1145381" y="578644"/>
                  </a:lnTo>
                  <a:lnTo>
                    <a:pt x="1133475" y="561975"/>
                  </a:lnTo>
                  <a:lnTo>
                    <a:pt x="1109663" y="552450"/>
                  </a:lnTo>
                  <a:lnTo>
                    <a:pt x="1107281" y="528637"/>
                  </a:lnTo>
                  <a:lnTo>
                    <a:pt x="1133475" y="523875"/>
                  </a:lnTo>
                  <a:lnTo>
                    <a:pt x="1166813" y="507206"/>
                  </a:lnTo>
                  <a:lnTo>
                    <a:pt x="1181100" y="492919"/>
                  </a:lnTo>
                  <a:lnTo>
                    <a:pt x="1200150" y="454819"/>
                  </a:lnTo>
                  <a:lnTo>
                    <a:pt x="1233488" y="464344"/>
                  </a:lnTo>
                  <a:lnTo>
                    <a:pt x="1223963" y="492919"/>
                  </a:lnTo>
                  <a:lnTo>
                    <a:pt x="1212056" y="511969"/>
                  </a:lnTo>
                  <a:lnTo>
                    <a:pt x="1214438" y="526256"/>
                  </a:lnTo>
                  <a:lnTo>
                    <a:pt x="1245394" y="495300"/>
                  </a:lnTo>
                  <a:lnTo>
                    <a:pt x="1257300" y="469106"/>
                  </a:lnTo>
                  <a:lnTo>
                    <a:pt x="1297781" y="464344"/>
                  </a:lnTo>
                  <a:lnTo>
                    <a:pt x="1333500" y="445294"/>
                  </a:lnTo>
                  <a:lnTo>
                    <a:pt x="1366838" y="433387"/>
                  </a:lnTo>
                  <a:lnTo>
                    <a:pt x="1404938" y="407194"/>
                  </a:lnTo>
                  <a:lnTo>
                    <a:pt x="1426369" y="390525"/>
                  </a:lnTo>
                  <a:lnTo>
                    <a:pt x="1445419" y="388144"/>
                  </a:lnTo>
                  <a:lnTo>
                    <a:pt x="1445419" y="323850"/>
                  </a:lnTo>
                  <a:lnTo>
                    <a:pt x="1464469" y="307181"/>
                  </a:lnTo>
                  <a:lnTo>
                    <a:pt x="1488281" y="328612"/>
                  </a:lnTo>
                  <a:lnTo>
                    <a:pt x="1516856" y="238125"/>
                  </a:lnTo>
                  <a:lnTo>
                    <a:pt x="1531144" y="200025"/>
                  </a:lnTo>
                  <a:lnTo>
                    <a:pt x="1469231" y="216694"/>
                  </a:lnTo>
                  <a:lnTo>
                    <a:pt x="1454944" y="226219"/>
                  </a:lnTo>
                  <a:lnTo>
                    <a:pt x="1428750" y="188119"/>
                  </a:lnTo>
                  <a:lnTo>
                    <a:pt x="1373981" y="161925"/>
                  </a:lnTo>
                  <a:lnTo>
                    <a:pt x="1362075" y="130969"/>
                  </a:lnTo>
                  <a:lnTo>
                    <a:pt x="1343025" y="61912"/>
                  </a:lnTo>
                  <a:lnTo>
                    <a:pt x="1283494" y="7144"/>
                  </a:lnTo>
                  <a:lnTo>
                    <a:pt x="1216819" y="0"/>
                  </a:lnTo>
                  <a:lnTo>
                    <a:pt x="1190625" y="0"/>
                  </a:lnTo>
                  <a:lnTo>
                    <a:pt x="1171575" y="30956"/>
                  </a:lnTo>
                  <a:lnTo>
                    <a:pt x="1181100" y="42862"/>
                  </a:lnTo>
                  <a:lnTo>
                    <a:pt x="1150144" y="13096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: Shape 137"/>
            <p:cNvSpPr/>
            <p:nvPr/>
          </p:nvSpPr>
          <p:spPr bwMode="auto">
            <a:xfrm>
              <a:off x="6450806" y="3188494"/>
              <a:ext cx="800100" cy="376237"/>
            </a:xfrm>
            <a:custGeom>
              <a:avLst/>
              <a:gdLst>
                <a:gd name="connsiteX0" fmla="*/ 0 w 800100"/>
                <a:gd name="connsiteY0" fmla="*/ 111919 h 376237"/>
                <a:gd name="connsiteX1" fmla="*/ 71438 w 800100"/>
                <a:gd name="connsiteY1" fmla="*/ 183356 h 376237"/>
                <a:gd name="connsiteX2" fmla="*/ 71438 w 800100"/>
                <a:gd name="connsiteY2" fmla="*/ 245269 h 376237"/>
                <a:gd name="connsiteX3" fmla="*/ 88107 w 800100"/>
                <a:gd name="connsiteY3" fmla="*/ 269081 h 376237"/>
                <a:gd name="connsiteX4" fmla="*/ 150019 w 800100"/>
                <a:gd name="connsiteY4" fmla="*/ 280987 h 376237"/>
                <a:gd name="connsiteX5" fmla="*/ 223838 w 800100"/>
                <a:gd name="connsiteY5" fmla="*/ 350044 h 376237"/>
                <a:gd name="connsiteX6" fmla="*/ 311944 w 800100"/>
                <a:gd name="connsiteY6" fmla="*/ 340519 h 376237"/>
                <a:gd name="connsiteX7" fmla="*/ 373857 w 800100"/>
                <a:gd name="connsiteY7" fmla="*/ 364331 h 376237"/>
                <a:gd name="connsiteX8" fmla="*/ 395288 w 800100"/>
                <a:gd name="connsiteY8" fmla="*/ 366712 h 376237"/>
                <a:gd name="connsiteX9" fmla="*/ 407194 w 800100"/>
                <a:gd name="connsiteY9" fmla="*/ 376237 h 376237"/>
                <a:gd name="connsiteX10" fmla="*/ 559594 w 800100"/>
                <a:gd name="connsiteY10" fmla="*/ 342900 h 376237"/>
                <a:gd name="connsiteX11" fmla="*/ 597694 w 800100"/>
                <a:gd name="connsiteY11" fmla="*/ 311944 h 376237"/>
                <a:gd name="connsiteX12" fmla="*/ 595313 w 800100"/>
                <a:gd name="connsiteY12" fmla="*/ 259556 h 376237"/>
                <a:gd name="connsiteX13" fmla="*/ 631032 w 800100"/>
                <a:gd name="connsiteY13" fmla="*/ 278606 h 376237"/>
                <a:gd name="connsiteX14" fmla="*/ 664369 w 800100"/>
                <a:gd name="connsiteY14" fmla="*/ 250031 h 376237"/>
                <a:gd name="connsiteX15" fmla="*/ 681038 w 800100"/>
                <a:gd name="connsiteY15" fmla="*/ 257175 h 376237"/>
                <a:gd name="connsiteX16" fmla="*/ 707232 w 800100"/>
                <a:gd name="connsiteY16" fmla="*/ 219075 h 376237"/>
                <a:gd name="connsiteX17" fmla="*/ 764382 w 800100"/>
                <a:gd name="connsiteY17" fmla="*/ 204787 h 376237"/>
                <a:gd name="connsiteX18" fmla="*/ 795338 w 800100"/>
                <a:gd name="connsiteY18" fmla="*/ 195262 h 376237"/>
                <a:gd name="connsiteX19" fmla="*/ 800100 w 800100"/>
                <a:gd name="connsiteY19" fmla="*/ 178594 h 376237"/>
                <a:gd name="connsiteX20" fmla="*/ 752475 w 800100"/>
                <a:gd name="connsiteY20" fmla="*/ 145256 h 376237"/>
                <a:gd name="connsiteX21" fmla="*/ 723900 w 800100"/>
                <a:gd name="connsiteY21" fmla="*/ 150019 h 376237"/>
                <a:gd name="connsiteX22" fmla="*/ 695325 w 800100"/>
                <a:gd name="connsiteY22" fmla="*/ 145256 h 376237"/>
                <a:gd name="connsiteX23" fmla="*/ 704850 w 800100"/>
                <a:gd name="connsiteY23" fmla="*/ 102394 h 376237"/>
                <a:gd name="connsiteX24" fmla="*/ 728663 w 800100"/>
                <a:gd name="connsiteY24" fmla="*/ 83344 h 376237"/>
                <a:gd name="connsiteX25" fmla="*/ 657225 w 800100"/>
                <a:gd name="connsiteY25" fmla="*/ 59531 h 376237"/>
                <a:gd name="connsiteX26" fmla="*/ 595313 w 800100"/>
                <a:gd name="connsiteY26" fmla="*/ 95250 h 376237"/>
                <a:gd name="connsiteX27" fmla="*/ 569119 w 800100"/>
                <a:gd name="connsiteY27" fmla="*/ 104775 h 376237"/>
                <a:gd name="connsiteX28" fmla="*/ 533400 w 800100"/>
                <a:gd name="connsiteY28" fmla="*/ 107156 h 376237"/>
                <a:gd name="connsiteX29" fmla="*/ 511969 w 800100"/>
                <a:gd name="connsiteY29" fmla="*/ 85725 h 376237"/>
                <a:gd name="connsiteX30" fmla="*/ 442913 w 800100"/>
                <a:gd name="connsiteY30" fmla="*/ 52387 h 376237"/>
                <a:gd name="connsiteX31" fmla="*/ 416719 w 800100"/>
                <a:gd name="connsiteY31" fmla="*/ 66675 h 376237"/>
                <a:gd name="connsiteX32" fmla="*/ 378619 w 800100"/>
                <a:gd name="connsiteY32" fmla="*/ 59531 h 376237"/>
                <a:gd name="connsiteX33" fmla="*/ 366713 w 800100"/>
                <a:gd name="connsiteY33" fmla="*/ 28575 h 376237"/>
                <a:gd name="connsiteX34" fmla="*/ 292894 w 800100"/>
                <a:gd name="connsiteY34" fmla="*/ 0 h 376237"/>
                <a:gd name="connsiteX35" fmla="*/ 254794 w 800100"/>
                <a:gd name="connsiteY35" fmla="*/ 19050 h 376237"/>
                <a:gd name="connsiteX36" fmla="*/ 254794 w 800100"/>
                <a:gd name="connsiteY36" fmla="*/ 28575 h 376237"/>
                <a:gd name="connsiteX37" fmla="*/ 257175 w 800100"/>
                <a:gd name="connsiteY37" fmla="*/ 52387 h 376237"/>
                <a:gd name="connsiteX38" fmla="*/ 240507 w 800100"/>
                <a:gd name="connsiteY38" fmla="*/ 73819 h 376237"/>
                <a:gd name="connsiteX39" fmla="*/ 183357 w 800100"/>
                <a:gd name="connsiteY39" fmla="*/ 76200 h 376237"/>
                <a:gd name="connsiteX40" fmla="*/ 164307 w 800100"/>
                <a:gd name="connsiteY40" fmla="*/ 57150 h 376237"/>
                <a:gd name="connsiteX41" fmla="*/ 109538 w 800100"/>
                <a:gd name="connsiteY41" fmla="*/ 45244 h 376237"/>
                <a:gd name="connsiteX42" fmla="*/ 78582 w 800100"/>
                <a:gd name="connsiteY42" fmla="*/ 45244 h 376237"/>
                <a:gd name="connsiteX43" fmla="*/ 0 w 800100"/>
                <a:gd name="connsiteY43" fmla="*/ 111919 h 37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00100" h="376237">
                  <a:moveTo>
                    <a:pt x="0" y="111919"/>
                  </a:moveTo>
                  <a:lnTo>
                    <a:pt x="71438" y="183356"/>
                  </a:lnTo>
                  <a:lnTo>
                    <a:pt x="71438" y="245269"/>
                  </a:lnTo>
                  <a:lnTo>
                    <a:pt x="88107" y="269081"/>
                  </a:lnTo>
                  <a:lnTo>
                    <a:pt x="150019" y="280987"/>
                  </a:lnTo>
                  <a:lnTo>
                    <a:pt x="223838" y="350044"/>
                  </a:lnTo>
                  <a:lnTo>
                    <a:pt x="311944" y="340519"/>
                  </a:lnTo>
                  <a:lnTo>
                    <a:pt x="373857" y="364331"/>
                  </a:lnTo>
                  <a:lnTo>
                    <a:pt x="395288" y="366712"/>
                  </a:lnTo>
                  <a:lnTo>
                    <a:pt x="407194" y="376237"/>
                  </a:lnTo>
                  <a:lnTo>
                    <a:pt x="559594" y="342900"/>
                  </a:lnTo>
                  <a:lnTo>
                    <a:pt x="597694" y="311944"/>
                  </a:lnTo>
                  <a:lnTo>
                    <a:pt x="595313" y="259556"/>
                  </a:lnTo>
                  <a:lnTo>
                    <a:pt x="631032" y="278606"/>
                  </a:lnTo>
                  <a:lnTo>
                    <a:pt x="664369" y="250031"/>
                  </a:lnTo>
                  <a:lnTo>
                    <a:pt x="681038" y="257175"/>
                  </a:lnTo>
                  <a:lnTo>
                    <a:pt x="707232" y="219075"/>
                  </a:lnTo>
                  <a:lnTo>
                    <a:pt x="764382" y="204787"/>
                  </a:lnTo>
                  <a:lnTo>
                    <a:pt x="795338" y="195262"/>
                  </a:lnTo>
                  <a:lnTo>
                    <a:pt x="800100" y="178594"/>
                  </a:lnTo>
                  <a:lnTo>
                    <a:pt x="752475" y="145256"/>
                  </a:lnTo>
                  <a:lnTo>
                    <a:pt x="723900" y="150019"/>
                  </a:lnTo>
                  <a:lnTo>
                    <a:pt x="695325" y="145256"/>
                  </a:lnTo>
                  <a:lnTo>
                    <a:pt x="704850" y="102394"/>
                  </a:lnTo>
                  <a:lnTo>
                    <a:pt x="728663" y="83344"/>
                  </a:lnTo>
                  <a:lnTo>
                    <a:pt x="657225" y="59531"/>
                  </a:lnTo>
                  <a:lnTo>
                    <a:pt x="595313" y="95250"/>
                  </a:lnTo>
                  <a:lnTo>
                    <a:pt x="569119" y="104775"/>
                  </a:lnTo>
                  <a:lnTo>
                    <a:pt x="533400" y="107156"/>
                  </a:lnTo>
                  <a:lnTo>
                    <a:pt x="511969" y="85725"/>
                  </a:lnTo>
                  <a:lnTo>
                    <a:pt x="442913" y="52387"/>
                  </a:lnTo>
                  <a:lnTo>
                    <a:pt x="416719" y="66675"/>
                  </a:lnTo>
                  <a:lnTo>
                    <a:pt x="378619" y="59531"/>
                  </a:lnTo>
                  <a:lnTo>
                    <a:pt x="366713" y="28575"/>
                  </a:lnTo>
                  <a:lnTo>
                    <a:pt x="292894" y="0"/>
                  </a:lnTo>
                  <a:lnTo>
                    <a:pt x="254794" y="19050"/>
                  </a:lnTo>
                  <a:lnTo>
                    <a:pt x="254794" y="28575"/>
                  </a:lnTo>
                  <a:lnTo>
                    <a:pt x="257175" y="52387"/>
                  </a:lnTo>
                  <a:lnTo>
                    <a:pt x="240507" y="73819"/>
                  </a:lnTo>
                  <a:lnTo>
                    <a:pt x="183357" y="76200"/>
                  </a:lnTo>
                  <a:lnTo>
                    <a:pt x="164307" y="57150"/>
                  </a:lnTo>
                  <a:lnTo>
                    <a:pt x="109538" y="45244"/>
                  </a:lnTo>
                  <a:lnTo>
                    <a:pt x="78582" y="45244"/>
                  </a:lnTo>
                  <a:lnTo>
                    <a:pt x="0" y="1119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31" name="Freeform: Shape 138"/>
            <p:cNvSpPr/>
            <p:nvPr/>
          </p:nvSpPr>
          <p:spPr bwMode="auto">
            <a:xfrm>
              <a:off x="6105525" y="3733800"/>
              <a:ext cx="40481" cy="119063"/>
            </a:xfrm>
            <a:custGeom>
              <a:avLst/>
              <a:gdLst>
                <a:gd name="connsiteX0" fmla="*/ 0 w 40481"/>
                <a:gd name="connsiteY0" fmla="*/ 0 h 119063"/>
                <a:gd name="connsiteX1" fmla="*/ 40481 w 40481"/>
                <a:gd name="connsiteY1" fmla="*/ 42863 h 119063"/>
                <a:gd name="connsiteX2" fmla="*/ 40481 w 40481"/>
                <a:gd name="connsiteY2" fmla="*/ 119063 h 119063"/>
                <a:gd name="connsiteX3" fmla="*/ 9525 w 40481"/>
                <a:gd name="connsiteY3" fmla="*/ 66675 h 119063"/>
                <a:gd name="connsiteX4" fmla="*/ 0 w 40481"/>
                <a:gd name="connsiteY4" fmla="*/ 0 h 119063"/>
                <a:gd name="connsiteX0" fmla="*/ 0 w 40481"/>
                <a:gd name="connsiteY0" fmla="*/ 0 h 119063"/>
                <a:gd name="connsiteX1" fmla="*/ 40481 w 40481"/>
                <a:gd name="connsiteY1" fmla="*/ 42863 h 119063"/>
                <a:gd name="connsiteX2" fmla="*/ 40481 w 40481"/>
                <a:gd name="connsiteY2" fmla="*/ 119063 h 119063"/>
                <a:gd name="connsiteX3" fmla="*/ 9525 w 40481"/>
                <a:gd name="connsiteY3" fmla="*/ 66675 h 119063"/>
                <a:gd name="connsiteX4" fmla="*/ 4763 w 40481"/>
                <a:gd name="connsiteY4" fmla="*/ 35719 h 119063"/>
                <a:gd name="connsiteX5" fmla="*/ 0 w 40481"/>
                <a:gd name="connsiteY5" fmla="*/ 0 h 119063"/>
                <a:gd name="connsiteX0" fmla="*/ 0 w 40481"/>
                <a:gd name="connsiteY0" fmla="*/ 0 h 119063"/>
                <a:gd name="connsiteX1" fmla="*/ 40481 w 40481"/>
                <a:gd name="connsiteY1" fmla="*/ 42863 h 119063"/>
                <a:gd name="connsiteX2" fmla="*/ 40481 w 40481"/>
                <a:gd name="connsiteY2" fmla="*/ 119063 h 119063"/>
                <a:gd name="connsiteX3" fmla="*/ 9525 w 40481"/>
                <a:gd name="connsiteY3" fmla="*/ 66675 h 119063"/>
                <a:gd name="connsiteX4" fmla="*/ 21432 w 40481"/>
                <a:gd name="connsiteY4" fmla="*/ 52388 h 119063"/>
                <a:gd name="connsiteX5" fmla="*/ 0 w 40481"/>
                <a:gd name="connsiteY5" fmla="*/ 0 h 119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81" h="119063">
                  <a:moveTo>
                    <a:pt x="0" y="0"/>
                  </a:moveTo>
                  <a:lnTo>
                    <a:pt x="40481" y="42863"/>
                  </a:lnTo>
                  <a:lnTo>
                    <a:pt x="40481" y="119063"/>
                  </a:lnTo>
                  <a:lnTo>
                    <a:pt x="9525" y="66675"/>
                  </a:lnTo>
                  <a:lnTo>
                    <a:pt x="21432" y="523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: Shape 139"/>
            <p:cNvSpPr/>
            <p:nvPr/>
          </p:nvSpPr>
          <p:spPr bwMode="auto">
            <a:xfrm>
              <a:off x="5800725" y="3729038"/>
              <a:ext cx="340519" cy="352425"/>
            </a:xfrm>
            <a:custGeom>
              <a:avLst/>
              <a:gdLst>
                <a:gd name="connsiteX0" fmla="*/ 0 w 340519"/>
                <a:gd name="connsiteY0" fmla="*/ 195262 h 352425"/>
                <a:gd name="connsiteX1" fmla="*/ 40481 w 340519"/>
                <a:gd name="connsiteY1" fmla="*/ 240506 h 352425"/>
                <a:gd name="connsiteX2" fmla="*/ 54769 w 340519"/>
                <a:gd name="connsiteY2" fmla="*/ 273843 h 352425"/>
                <a:gd name="connsiteX3" fmla="*/ 19050 w 340519"/>
                <a:gd name="connsiteY3" fmla="*/ 297656 h 352425"/>
                <a:gd name="connsiteX4" fmla="*/ 14288 w 340519"/>
                <a:gd name="connsiteY4" fmla="*/ 319087 h 352425"/>
                <a:gd name="connsiteX5" fmla="*/ 64294 w 340519"/>
                <a:gd name="connsiteY5" fmla="*/ 321468 h 352425"/>
                <a:gd name="connsiteX6" fmla="*/ 126206 w 340519"/>
                <a:gd name="connsiteY6" fmla="*/ 314325 h 352425"/>
                <a:gd name="connsiteX7" fmla="*/ 142875 w 340519"/>
                <a:gd name="connsiteY7" fmla="*/ 338137 h 352425"/>
                <a:gd name="connsiteX8" fmla="*/ 157163 w 340519"/>
                <a:gd name="connsiteY8" fmla="*/ 352425 h 352425"/>
                <a:gd name="connsiteX9" fmla="*/ 171450 w 340519"/>
                <a:gd name="connsiteY9" fmla="*/ 352425 h 352425"/>
                <a:gd name="connsiteX10" fmla="*/ 185738 w 340519"/>
                <a:gd name="connsiteY10" fmla="*/ 342900 h 352425"/>
                <a:gd name="connsiteX11" fmla="*/ 233363 w 340519"/>
                <a:gd name="connsiteY11" fmla="*/ 338137 h 352425"/>
                <a:gd name="connsiteX12" fmla="*/ 214313 w 340519"/>
                <a:gd name="connsiteY12" fmla="*/ 311943 h 352425"/>
                <a:gd name="connsiteX13" fmla="*/ 207169 w 340519"/>
                <a:gd name="connsiteY13" fmla="*/ 266700 h 352425"/>
                <a:gd name="connsiteX14" fmla="*/ 214313 w 340519"/>
                <a:gd name="connsiteY14" fmla="*/ 257175 h 352425"/>
                <a:gd name="connsiteX15" fmla="*/ 261938 w 340519"/>
                <a:gd name="connsiteY15" fmla="*/ 254793 h 352425"/>
                <a:gd name="connsiteX16" fmla="*/ 278606 w 340519"/>
                <a:gd name="connsiteY16" fmla="*/ 223837 h 352425"/>
                <a:gd name="connsiteX17" fmla="*/ 319088 w 340519"/>
                <a:gd name="connsiteY17" fmla="*/ 171450 h 352425"/>
                <a:gd name="connsiteX18" fmla="*/ 333375 w 340519"/>
                <a:gd name="connsiteY18" fmla="*/ 140493 h 352425"/>
                <a:gd name="connsiteX19" fmla="*/ 340519 w 340519"/>
                <a:gd name="connsiteY19" fmla="*/ 121443 h 352425"/>
                <a:gd name="connsiteX20" fmla="*/ 314325 w 340519"/>
                <a:gd name="connsiteY20" fmla="*/ 78581 h 352425"/>
                <a:gd name="connsiteX21" fmla="*/ 323850 w 340519"/>
                <a:gd name="connsiteY21" fmla="*/ 54768 h 352425"/>
                <a:gd name="connsiteX22" fmla="*/ 302419 w 340519"/>
                <a:gd name="connsiteY22" fmla="*/ 9525 h 352425"/>
                <a:gd name="connsiteX23" fmla="*/ 285750 w 340519"/>
                <a:gd name="connsiteY23" fmla="*/ 0 h 352425"/>
                <a:gd name="connsiteX24" fmla="*/ 269081 w 340519"/>
                <a:gd name="connsiteY24" fmla="*/ 35718 h 352425"/>
                <a:gd name="connsiteX25" fmla="*/ 252413 w 340519"/>
                <a:gd name="connsiteY25" fmla="*/ 73818 h 352425"/>
                <a:gd name="connsiteX26" fmla="*/ 216694 w 340519"/>
                <a:gd name="connsiteY26" fmla="*/ 92868 h 352425"/>
                <a:gd name="connsiteX27" fmla="*/ 221456 w 340519"/>
                <a:gd name="connsiteY27" fmla="*/ 109537 h 352425"/>
                <a:gd name="connsiteX28" fmla="*/ 214313 w 340519"/>
                <a:gd name="connsiteY28" fmla="*/ 123825 h 352425"/>
                <a:gd name="connsiteX29" fmla="*/ 180975 w 340519"/>
                <a:gd name="connsiteY29" fmla="*/ 138112 h 352425"/>
                <a:gd name="connsiteX30" fmla="*/ 147638 w 340519"/>
                <a:gd name="connsiteY30" fmla="*/ 142875 h 352425"/>
                <a:gd name="connsiteX31" fmla="*/ 138113 w 340519"/>
                <a:gd name="connsiteY31" fmla="*/ 171450 h 352425"/>
                <a:gd name="connsiteX32" fmla="*/ 114300 w 340519"/>
                <a:gd name="connsiteY32" fmla="*/ 188118 h 352425"/>
                <a:gd name="connsiteX33" fmla="*/ 57150 w 340519"/>
                <a:gd name="connsiteY33" fmla="*/ 202406 h 352425"/>
                <a:gd name="connsiteX34" fmla="*/ 0 w 340519"/>
                <a:gd name="connsiteY34" fmla="*/ 195262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40519" h="352425">
                  <a:moveTo>
                    <a:pt x="0" y="195262"/>
                  </a:moveTo>
                  <a:lnTo>
                    <a:pt x="40481" y="240506"/>
                  </a:lnTo>
                  <a:lnTo>
                    <a:pt x="54769" y="273843"/>
                  </a:lnTo>
                  <a:lnTo>
                    <a:pt x="19050" y="297656"/>
                  </a:lnTo>
                  <a:lnTo>
                    <a:pt x="14288" y="319087"/>
                  </a:lnTo>
                  <a:lnTo>
                    <a:pt x="64294" y="321468"/>
                  </a:lnTo>
                  <a:lnTo>
                    <a:pt x="126206" y="314325"/>
                  </a:lnTo>
                  <a:lnTo>
                    <a:pt x="142875" y="338137"/>
                  </a:lnTo>
                  <a:lnTo>
                    <a:pt x="157163" y="352425"/>
                  </a:lnTo>
                  <a:lnTo>
                    <a:pt x="171450" y="352425"/>
                  </a:lnTo>
                  <a:lnTo>
                    <a:pt x="185738" y="342900"/>
                  </a:lnTo>
                  <a:lnTo>
                    <a:pt x="233363" y="338137"/>
                  </a:lnTo>
                  <a:lnTo>
                    <a:pt x="214313" y="311943"/>
                  </a:lnTo>
                  <a:lnTo>
                    <a:pt x="207169" y="266700"/>
                  </a:lnTo>
                  <a:lnTo>
                    <a:pt x="214313" y="257175"/>
                  </a:lnTo>
                  <a:lnTo>
                    <a:pt x="261938" y="254793"/>
                  </a:lnTo>
                  <a:lnTo>
                    <a:pt x="278606" y="223837"/>
                  </a:lnTo>
                  <a:lnTo>
                    <a:pt x="319088" y="171450"/>
                  </a:lnTo>
                  <a:lnTo>
                    <a:pt x="333375" y="140493"/>
                  </a:lnTo>
                  <a:lnTo>
                    <a:pt x="340519" y="121443"/>
                  </a:lnTo>
                  <a:lnTo>
                    <a:pt x="314325" y="78581"/>
                  </a:lnTo>
                  <a:lnTo>
                    <a:pt x="323850" y="54768"/>
                  </a:lnTo>
                  <a:lnTo>
                    <a:pt x="302419" y="9525"/>
                  </a:lnTo>
                  <a:lnTo>
                    <a:pt x="285750" y="0"/>
                  </a:lnTo>
                  <a:lnTo>
                    <a:pt x="269081" y="35718"/>
                  </a:lnTo>
                  <a:lnTo>
                    <a:pt x="252413" y="73818"/>
                  </a:lnTo>
                  <a:lnTo>
                    <a:pt x="216694" y="92868"/>
                  </a:lnTo>
                  <a:lnTo>
                    <a:pt x="221456" y="109537"/>
                  </a:lnTo>
                  <a:lnTo>
                    <a:pt x="214313" y="123825"/>
                  </a:lnTo>
                  <a:lnTo>
                    <a:pt x="180975" y="138112"/>
                  </a:lnTo>
                  <a:lnTo>
                    <a:pt x="147638" y="142875"/>
                  </a:lnTo>
                  <a:lnTo>
                    <a:pt x="138113" y="171450"/>
                  </a:lnTo>
                  <a:lnTo>
                    <a:pt x="114300" y="188118"/>
                  </a:lnTo>
                  <a:lnTo>
                    <a:pt x="57150" y="202406"/>
                  </a:lnTo>
                  <a:lnTo>
                    <a:pt x="0" y="1952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: Shape 140"/>
            <p:cNvSpPr/>
            <p:nvPr/>
          </p:nvSpPr>
          <p:spPr bwMode="auto">
            <a:xfrm>
              <a:off x="5967413" y="3833813"/>
              <a:ext cx="509587" cy="673893"/>
            </a:xfrm>
            <a:custGeom>
              <a:avLst/>
              <a:gdLst>
                <a:gd name="connsiteX0" fmla="*/ 250031 w 509587"/>
                <a:gd name="connsiteY0" fmla="*/ 0 h 673893"/>
                <a:gd name="connsiteX1" fmla="*/ 188118 w 509587"/>
                <a:gd name="connsiteY1" fmla="*/ 9525 h 673893"/>
                <a:gd name="connsiteX2" fmla="*/ 171450 w 509587"/>
                <a:gd name="connsiteY2" fmla="*/ 26193 h 673893"/>
                <a:gd name="connsiteX3" fmla="*/ 138112 w 509587"/>
                <a:gd name="connsiteY3" fmla="*/ 83343 h 673893"/>
                <a:gd name="connsiteX4" fmla="*/ 92868 w 509587"/>
                <a:gd name="connsiteY4" fmla="*/ 147637 h 673893"/>
                <a:gd name="connsiteX5" fmla="*/ 45243 w 509587"/>
                <a:gd name="connsiteY5" fmla="*/ 152400 h 673893"/>
                <a:gd name="connsiteX6" fmla="*/ 45243 w 509587"/>
                <a:gd name="connsiteY6" fmla="*/ 188118 h 673893"/>
                <a:gd name="connsiteX7" fmla="*/ 61912 w 509587"/>
                <a:gd name="connsiteY7" fmla="*/ 233362 h 673893"/>
                <a:gd name="connsiteX8" fmla="*/ 19050 w 509587"/>
                <a:gd name="connsiteY8" fmla="*/ 233362 h 673893"/>
                <a:gd name="connsiteX9" fmla="*/ 0 w 509587"/>
                <a:gd name="connsiteY9" fmla="*/ 257175 h 673893"/>
                <a:gd name="connsiteX10" fmla="*/ 23812 w 509587"/>
                <a:gd name="connsiteY10" fmla="*/ 276225 h 673893"/>
                <a:gd name="connsiteX11" fmla="*/ 59531 w 509587"/>
                <a:gd name="connsiteY11" fmla="*/ 276225 h 673893"/>
                <a:gd name="connsiteX12" fmla="*/ 45243 w 509587"/>
                <a:gd name="connsiteY12" fmla="*/ 300037 h 673893"/>
                <a:gd name="connsiteX13" fmla="*/ 45243 w 509587"/>
                <a:gd name="connsiteY13" fmla="*/ 300037 h 673893"/>
                <a:gd name="connsiteX14" fmla="*/ 57150 w 509587"/>
                <a:gd name="connsiteY14" fmla="*/ 340518 h 673893"/>
                <a:gd name="connsiteX15" fmla="*/ 88106 w 509587"/>
                <a:gd name="connsiteY15" fmla="*/ 328612 h 673893"/>
                <a:gd name="connsiteX16" fmla="*/ 104775 w 509587"/>
                <a:gd name="connsiteY16" fmla="*/ 285750 h 673893"/>
                <a:gd name="connsiteX17" fmla="*/ 119062 w 509587"/>
                <a:gd name="connsiteY17" fmla="*/ 371475 h 673893"/>
                <a:gd name="connsiteX18" fmla="*/ 159543 w 509587"/>
                <a:gd name="connsiteY18" fmla="*/ 519112 h 673893"/>
                <a:gd name="connsiteX19" fmla="*/ 216693 w 509587"/>
                <a:gd name="connsiteY19" fmla="*/ 650081 h 673893"/>
                <a:gd name="connsiteX20" fmla="*/ 228600 w 509587"/>
                <a:gd name="connsiteY20" fmla="*/ 673893 h 673893"/>
                <a:gd name="connsiteX21" fmla="*/ 247650 w 509587"/>
                <a:gd name="connsiteY21" fmla="*/ 633412 h 673893"/>
                <a:gd name="connsiteX22" fmla="*/ 285750 w 509587"/>
                <a:gd name="connsiteY22" fmla="*/ 595312 h 673893"/>
                <a:gd name="connsiteX23" fmla="*/ 300037 w 509587"/>
                <a:gd name="connsiteY23" fmla="*/ 519112 h 673893"/>
                <a:gd name="connsiteX24" fmla="*/ 300037 w 509587"/>
                <a:gd name="connsiteY24" fmla="*/ 471487 h 673893"/>
                <a:gd name="connsiteX25" fmla="*/ 330993 w 509587"/>
                <a:gd name="connsiteY25" fmla="*/ 442912 h 673893"/>
                <a:gd name="connsiteX26" fmla="*/ 402431 w 509587"/>
                <a:gd name="connsiteY26" fmla="*/ 402431 h 673893"/>
                <a:gd name="connsiteX27" fmla="*/ 419100 w 509587"/>
                <a:gd name="connsiteY27" fmla="*/ 361950 h 673893"/>
                <a:gd name="connsiteX28" fmla="*/ 438150 w 509587"/>
                <a:gd name="connsiteY28" fmla="*/ 354806 h 673893"/>
                <a:gd name="connsiteX29" fmla="*/ 454818 w 509587"/>
                <a:gd name="connsiteY29" fmla="*/ 333375 h 673893"/>
                <a:gd name="connsiteX30" fmla="*/ 464343 w 509587"/>
                <a:gd name="connsiteY30" fmla="*/ 309562 h 673893"/>
                <a:gd name="connsiteX31" fmla="*/ 500062 w 509587"/>
                <a:gd name="connsiteY31" fmla="*/ 307181 h 673893"/>
                <a:gd name="connsiteX32" fmla="*/ 509587 w 509587"/>
                <a:gd name="connsiteY32" fmla="*/ 292893 h 673893"/>
                <a:gd name="connsiteX33" fmla="*/ 507206 w 509587"/>
                <a:gd name="connsiteY33" fmla="*/ 271462 h 673893"/>
                <a:gd name="connsiteX34" fmla="*/ 502443 w 509587"/>
                <a:gd name="connsiteY34" fmla="*/ 240506 h 673893"/>
                <a:gd name="connsiteX35" fmla="*/ 500062 w 509587"/>
                <a:gd name="connsiteY35" fmla="*/ 211931 h 673893"/>
                <a:gd name="connsiteX36" fmla="*/ 500062 w 509587"/>
                <a:gd name="connsiteY36" fmla="*/ 197643 h 673893"/>
                <a:gd name="connsiteX37" fmla="*/ 442912 w 509587"/>
                <a:gd name="connsiteY37" fmla="*/ 185737 h 673893"/>
                <a:gd name="connsiteX38" fmla="*/ 404812 w 509587"/>
                <a:gd name="connsiteY38" fmla="*/ 169068 h 673893"/>
                <a:gd name="connsiteX39" fmla="*/ 359568 w 509587"/>
                <a:gd name="connsiteY39" fmla="*/ 169068 h 673893"/>
                <a:gd name="connsiteX40" fmla="*/ 335756 w 509587"/>
                <a:gd name="connsiteY40" fmla="*/ 169068 h 673893"/>
                <a:gd name="connsiteX41" fmla="*/ 328612 w 509587"/>
                <a:gd name="connsiteY41" fmla="*/ 140493 h 673893"/>
                <a:gd name="connsiteX42" fmla="*/ 295275 w 509587"/>
                <a:gd name="connsiteY42" fmla="*/ 121443 h 673893"/>
                <a:gd name="connsiteX43" fmla="*/ 295275 w 509587"/>
                <a:gd name="connsiteY43" fmla="*/ 90487 h 673893"/>
                <a:gd name="connsiteX44" fmla="*/ 302418 w 509587"/>
                <a:gd name="connsiteY44" fmla="*/ 73818 h 673893"/>
                <a:gd name="connsiteX45" fmla="*/ 278606 w 509587"/>
                <a:gd name="connsiteY45" fmla="*/ 45243 h 673893"/>
                <a:gd name="connsiteX46" fmla="*/ 250031 w 509587"/>
                <a:gd name="connsiteY46" fmla="*/ 0 h 673893"/>
                <a:gd name="connsiteX0" fmla="*/ 250031 w 509587"/>
                <a:gd name="connsiteY0" fmla="*/ 0 h 673893"/>
                <a:gd name="connsiteX1" fmla="*/ 188118 w 509587"/>
                <a:gd name="connsiteY1" fmla="*/ 9525 h 673893"/>
                <a:gd name="connsiteX2" fmla="*/ 171450 w 509587"/>
                <a:gd name="connsiteY2" fmla="*/ 26193 h 673893"/>
                <a:gd name="connsiteX3" fmla="*/ 138112 w 509587"/>
                <a:gd name="connsiteY3" fmla="*/ 83343 h 673893"/>
                <a:gd name="connsiteX4" fmla="*/ 92868 w 509587"/>
                <a:gd name="connsiteY4" fmla="*/ 147637 h 673893"/>
                <a:gd name="connsiteX5" fmla="*/ 45243 w 509587"/>
                <a:gd name="connsiteY5" fmla="*/ 152400 h 673893"/>
                <a:gd name="connsiteX6" fmla="*/ 45243 w 509587"/>
                <a:gd name="connsiteY6" fmla="*/ 188118 h 673893"/>
                <a:gd name="connsiteX7" fmla="*/ 61912 w 509587"/>
                <a:gd name="connsiteY7" fmla="*/ 233362 h 673893"/>
                <a:gd name="connsiteX8" fmla="*/ 19050 w 509587"/>
                <a:gd name="connsiteY8" fmla="*/ 233362 h 673893"/>
                <a:gd name="connsiteX9" fmla="*/ 0 w 509587"/>
                <a:gd name="connsiteY9" fmla="*/ 257175 h 673893"/>
                <a:gd name="connsiteX10" fmla="*/ 23812 w 509587"/>
                <a:gd name="connsiteY10" fmla="*/ 276225 h 673893"/>
                <a:gd name="connsiteX11" fmla="*/ 59531 w 509587"/>
                <a:gd name="connsiteY11" fmla="*/ 276225 h 673893"/>
                <a:gd name="connsiteX12" fmla="*/ 45243 w 509587"/>
                <a:gd name="connsiteY12" fmla="*/ 300037 h 673893"/>
                <a:gd name="connsiteX13" fmla="*/ 45243 w 509587"/>
                <a:gd name="connsiteY13" fmla="*/ 300037 h 673893"/>
                <a:gd name="connsiteX14" fmla="*/ 57150 w 509587"/>
                <a:gd name="connsiteY14" fmla="*/ 340518 h 673893"/>
                <a:gd name="connsiteX15" fmla="*/ 88106 w 509587"/>
                <a:gd name="connsiteY15" fmla="*/ 328612 h 673893"/>
                <a:gd name="connsiteX16" fmla="*/ 104775 w 509587"/>
                <a:gd name="connsiteY16" fmla="*/ 285750 h 673893"/>
                <a:gd name="connsiteX17" fmla="*/ 119062 w 509587"/>
                <a:gd name="connsiteY17" fmla="*/ 371475 h 673893"/>
                <a:gd name="connsiteX18" fmla="*/ 159543 w 509587"/>
                <a:gd name="connsiteY18" fmla="*/ 519112 h 673893"/>
                <a:gd name="connsiteX19" fmla="*/ 216693 w 509587"/>
                <a:gd name="connsiteY19" fmla="*/ 650081 h 673893"/>
                <a:gd name="connsiteX20" fmla="*/ 228600 w 509587"/>
                <a:gd name="connsiteY20" fmla="*/ 673893 h 673893"/>
                <a:gd name="connsiteX21" fmla="*/ 247650 w 509587"/>
                <a:gd name="connsiteY21" fmla="*/ 633412 h 673893"/>
                <a:gd name="connsiteX22" fmla="*/ 285750 w 509587"/>
                <a:gd name="connsiteY22" fmla="*/ 595312 h 673893"/>
                <a:gd name="connsiteX23" fmla="*/ 300037 w 509587"/>
                <a:gd name="connsiteY23" fmla="*/ 519112 h 673893"/>
                <a:gd name="connsiteX24" fmla="*/ 300037 w 509587"/>
                <a:gd name="connsiteY24" fmla="*/ 471487 h 673893"/>
                <a:gd name="connsiteX25" fmla="*/ 330993 w 509587"/>
                <a:gd name="connsiteY25" fmla="*/ 442912 h 673893"/>
                <a:gd name="connsiteX26" fmla="*/ 402431 w 509587"/>
                <a:gd name="connsiteY26" fmla="*/ 402431 h 673893"/>
                <a:gd name="connsiteX27" fmla="*/ 419100 w 509587"/>
                <a:gd name="connsiteY27" fmla="*/ 361950 h 673893"/>
                <a:gd name="connsiteX28" fmla="*/ 438150 w 509587"/>
                <a:gd name="connsiteY28" fmla="*/ 354806 h 673893"/>
                <a:gd name="connsiteX29" fmla="*/ 454818 w 509587"/>
                <a:gd name="connsiteY29" fmla="*/ 333375 h 673893"/>
                <a:gd name="connsiteX30" fmla="*/ 464343 w 509587"/>
                <a:gd name="connsiteY30" fmla="*/ 309562 h 673893"/>
                <a:gd name="connsiteX31" fmla="*/ 500062 w 509587"/>
                <a:gd name="connsiteY31" fmla="*/ 307181 h 673893"/>
                <a:gd name="connsiteX32" fmla="*/ 509587 w 509587"/>
                <a:gd name="connsiteY32" fmla="*/ 292893 h 673893"/>
                <a:gd name="connsiteX33" fmla="*/ 507206 w 509587"/>
                <a:gd name="connsiteY33" fmla="*/ 271462 h 673893"/>
                <a:gd name="connsiteX34" fmla="*/ 502443 w 509587"/>
                <a:gd name="connsiteY34" fmla="*/ 240506 h 673893"/>
                <a:gd name="connsiteX35" fmla="*/ 500062 w 509587"/>
                <a:gd name="connsiteY35" fmla="*/ 211931 h 673893"/>
                <a:gd name="connsiteX36" fmla="*/ 500062 w 509587"/>
                <a:gd name="connsiteY36" fmla="*/ 197643 h 673893"/>
                <a:gd name="connsiteX37" fmla="*/ 442912 w 509587"/>
                <a:gd name="connsiteY37" fmla="*/ 185737 h 673893"/>
                <a:gd name="connsiteX38" fmla="*/ 404812 w 509587"/>
                <a:gd name="connsiteY38" fmla="*/ 169068 h 673893"/>
                <a:gd name="connsiteX39" fmla="*/ 359568 w 509587"/>
                <a:gd name="connsiteY39" fmla="*/ 169068 h 673893"/>
                <a:gd name="connsiteX40" fmla="*/ 335756 w 509587"/>
                <a:gd name="connsiteY40" fmla="*/ 169068 h 673893"/>
                <a:gd name="connsiteX41" fmla="*/ 328612 w 509587"/>
                <a:gd name="connsiteY41" fmla="*/ 140493 h 673893"/>
                <a:gd name="connsiteX42" fmla="*/ 295275 w 509587"/>
                <a:gd name="connsiteY42" fmla="*/ 121443 h 673893"/>
                <a:gd name="connsiteX43" fmla="*/ 295275 w 509587"/>
                <a:gd name="connsiteY43" fmla="*/ 90487 h 673893"/>
                <a:gd name="connsiteX44" fmla="*/ 302418 w 509587"/>
                <a:gd name="connsiteY44" fmla="*/ 73818 h 673893"/>
                <a:gd name="connsiteX45" fmla="*/ 288131 w 509587"/>
                <a:gd name="connsiteY45" fmla="*/ 38100 h 673893"/>
                <a:gd name="connsiteX46" fmla="*/ 250031 w 509587"/>
                <a:gd name="connsiteY46" fmla="*/ 0 h 673893"/>
                <a:gd name="connsiteX0" fmla="*/ 250031 w 509587"/>
                <a:gd name="connsiteY0" fmla="*/ 0 h 673893"/>
                <a:gd name="connsiteX1" fmla="*/ 188118 w 509587"/>
                <a:gd name="connsiteY1" fmla="*/ 9525 h 673893"/>
                <a:gd name="connsiteX2" fmla="*/ 171450 w 509587"/>
                <a:gd name="connsiteY2" fmla="*/ 26193 h 673893"/>
                <a:gd name="connsiteX3" fmla="*/ 138112 w 509587"/>
                <a:gd name="connsiteY3" fmla="*/ 83343 h 673893"/>
                <a:gd name="connsiteX4" fmla="*/ 92868 w 509587"/>
                <a:gd name="connsiteY4" fmla="*/ 147637 h 673893"/>
                <a:gd name="connsiteX5" fmla="*/ 45243 w 509587"/>
                <a:gd name="connsiteY5" fmla="*/ 152400 h 673893"/>
                <a:gd name="connsiteX6" fmla="*/ 45243 w 509587"/>
                <a:gd name="connsiteY6" fmla="*/ 188118 h 673893"/>
                <a:gd name="connsiteX7" fmla="*/ 61912 w 509587"/>
                <a:gd name="connsiteY7" fmla="*/ 233362 h 673893"/>
                <a:gd name="connsiteX8" fmla="*/ 19050 w 509587"/>
                <a:gd name="connsiteY8" fmla="*/ 233362 h 673893"/>
                <a:gd name="connsiteX9" fmla="*/ 0 w 509587"/>
                <a:gd name="connsiteY9" fmla="*/ 257175 h 673893"/>
                <a:gd name="connsiteX10" fmla="*/ 23812 w 509587"/>
                <a:gd name="connsiteY10" fmla="*/ 276225 h 673893"/>
                <a:gd name="connsiteX11" fmla="*/ 59531 w 509587"/>
                <a:gd name="connsiteY11" fmla="*/ 276225 h 673893"/>
                <a:gd name="connsiteX12" fmla="*/ 45243 w 509587"/>
                <a:gd name="connsiteY12" fmla="*/ 300037 h 673893"/>
                <a:gd name="connsiteX13" fmla="*/ 45243 w 509587"/>
                <a:gd name="connsiteY13" fmla="*/ 300037 h 673893"/>
                <a:gd name="connsiteX14" fmla="*/ 57150 w 509587"/>
                <a:gd name="connsiteY14" fmla="*/ 340518 h 673893"/>
                <a:gd name="connsiteX15" fmla="*/ 88106 w 509587"/>
                <a:gd name="connsiteY15" fmla="*/ 328612 h 673893"/>
                <a:gd name="connsiteX16" fmla="*/ 104775 w 509587"/>
                <a:gd name="connsiteY16" fmla="*/ 285750 h 673893"/>
                <a:gd name="connsiteX17" fmla="*/ 119062 w 509587"/>
                <a:gd name="connsiteY17" fmla="*/ 371475 h 673893"/>
                <a:gd name="connsiteX18" fmla="*/ 159543 w 509587"/>
                <a:gd name="connsiteY18" fmla="*/ 519112 h 673893"/>
                <a:gd name="connsiteX19" fmla="*/ 216693 w 509587"/>
                <a:gd name="connsiteY19" fmla="*/ 650081 h 673893"/>
                <a:gd name="connsiteX20" fmla="*/ 228600 w 509587"/>
                <a:gd name="connsiteY20" fmla="*/ 673893 h 673893"/>
                <a:gd name="connsiteX21" fmla="*/ 247650 w 509587"/>
                <a:gd name="connsiteY21" fmla="*/ 633412 h 673893"/>
                <a:gd name="connsiteX22" fmla="*/ 285750 w 509587"/>
                <a:gd name="connsiteY22" fmla="*/ 595312 h 673893"/>
                <a:gd name="connsiteX23" fmla="*/ 300037 w 509587"/>
                <a:gd name="connsiteY23" fmla="*/ 519112 h 673893"/>
                <a:gd name="connsiteX24" fmla="*/ 300037 w 509587"/>
                <a:gd name="connsiteY24" fmla="*/ 471487 h 673893"/>
                <a:gd name="connsiteX25" fmla="*/ 330993 w 509587"/>
                <a:gd name="connsiteY25" fmla="*/ 442912 h 673893"/>
                <a:gd name="connsiteX26" fmla="*/ 402431 w 509587"/>
                <a:gd name="connsiteY26" fmla="*/ 402431 h 673893"/>
                <a:gd name="connsiteX27" fmla="*/ 419100 w 509587"/>
                <a:gd name="connsiteY27" fmla="*/ 361950 h 673893"/>
                <a:gd name="connsiteX28" fmla="*/ 438150 w 509587"/>
                <a:gd name="connsiteY28" fmla="*/ 354806 h 673893"/>
                <a:gd name="connsiteX29" fmla="*/ 454818 w 509587"/>
                <a:gd name="connsiteY29" fmla="*/ 333375 h 673893"/>
                <a:gd name="connsiteX30" fmla="*/ 464343 w 509587"/>
                <a:gd name="connsiteY30" fmla="*/ 309562 h 673893"/>
                <a:gd name="connsiteX31" fmla="*/ 500062 w 509587"/>
                <a:gd name="connsiteY31" fmla="*/ 307181 h 673893"/>
                <a:gd name="connsiteX32" fmla="*/ 509587 w 509587"/>
                <a:gd name="connsiteY32" fmla="*/ 292893 h 673893"/>
                <a:gd name="connsiteX33" fmla="*/ 507206 w 509587"/>
                <a:gd name="connsiteY33" fmla="*/ 271462 h 673893"/>
                <a:gd name="connsiteX34" fmla="*/ 502443 w 509587"/>
                <a:gd name="connsiteY34" fmla="*/ 240506 h 673893"/>
                <a:gd name="connsiteX35" fmla="*/ 500062 w 509587"/>
                <a:gd name="connsiteY35" fmla="*/ 211931 h 673893"/>
                <a:gd name="connsiteX36" fmla="*/ 500062 w 509587"/>
                <a:gd name="connsiteY36" fmla="*/ 197643 h 673893"/>
                <a:gd name="connsiteX37" fmla="*/ 442912 w 509587"/>
                <a:gd name="connsiteY37" fmla="*/ 185737 h 673893"/>
                <a:gd name="connsiteX38" fmla="*/ 404812 w 509587"/>
                <a:gd name="connsiteY38" fmla="*/ 169068 h 673893"/>
                <a:gd name="connsiteX39" fmla="*/ 359568 w 509587"/>
                <a:gd name="connsiteY39" fmla="*/ 169068 h 673893"/>
                <a:gd name="connsiteX40" fmla="*/ 335756 w 509587"/>
                <a:gd name="connsiteY40" fmla="*/ 169068 h 673893"/>
                <a:gd name="connsiteX41" fmla="*/ 328612 w 509587"/>
                <a:gd name="connsiteY41" fmla="*/ 140493 h 673893"/>
                <a:gd name="connsiteX42" fmla="*/ 295275 w 509587"/>
                <a:gd name="connsiteY42" fmla="*/ 121443 h 673893"/>
                <a:gd name="connsiteX43" fmla="*/ 295275 w 509587"/>
                <a:gd name="connsiteY43" fmla="*/ 90487 h 673893"/>
                <a:gd name="connsiteX44" fmla="*/ 309561 w 509587"/>
                <a:gd name="connsiteY44" fmla="*/ 69056 h 673893"/>
                <a:gd name="connsiteX45" fmla="*/ 288131 w 509587"/>
                <a:gd name="connsiteY45" fmla="*/ 38100 h 673893"/>
                <a:gd name="connsiteX46" fmla="*/ 250031 w 509587"/>
                <a:gd name="connsiteY46" fmla="*/ 0 h 673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09587" h="673893">
                  <a:moveTo>
                    <a:pt x="250031" y="0"/>
                  </a:moveTo>
                  <a:lnTo>
                    <a:pt x="188118" y="9525"/>
                  </a:lnTo>
                  <a:lnTo>
                    <a:pt x="171450" y="26193"/>
                  </a:lnTo>
                  <a:lnTo>
                    <a:pt x="138112" y="83343"/>
                  </a:lnTo>
                  <a:lnTo>
                    <a:pt x="92868" y="147637"/>
                  </a:lnTo>
                  <a:lnTo>
                    <a:pt x="45243" y="152400"/>
                  </a:lnTo>
                  <a:lnTo>
                    <a:pt x="45243" y="188118"/>
                  </a:lnTo>
                  <a:lnTo>
                    <a:pt x="61912" y="233362"/>
                  </a:lnTo>
                  <a:lnTo>
                    <a:pt x="19050" y="233362"/>
                  </a:lnTo>
                  <a:lnTo>
                    <a:pt x="0" y="257175"/>
                  </a:lnTo>
                  <a:lnTo>
                    <a:pt x="23812" y="276225"/>
                  </a:lnTo>
                  <a:lnTo>
                    <a:pt x="59531" y="276225"/>
                  </a:lnTo>
                  <a:lnTo>
                    <a:pt x="45243" y="300037"/>
                  </a:lnTo>
                  <a:lnTo>
                    <a:pt x="45243" y="300037"/>
                  </a:lnTo>
                  <a:lnTo>
                    <a:pt x="57150" y="340518"/>
                  </a:lnTo>
                  <a:lnTo>
                    <a:pt x="88106" y="328612"/>
                  </a:lnTo>
                  <a:lnTo>
                    <a:pt x="104775" y="285750"/>
                  </a:lnTo>
                  <a:lnTo>
                    <a:pt x="119062" y="371475"/>
                  </a:lnTo>
                  <a:lnTo>
                    <a:pt x="159543" y="519112"/>
                  </a:lnTo>
                  <a:lnTo>
                    <a:pt x="216693" y="650081"/>
                  </a:lnTo>
                  <a:lnTo>
                    <a:pt x="228600" y="673893"/>
                  </a:lnTo>
                  <a:lnTo>
                    <a:pt x="247650" y="633412"/>
                  </a:lnTo>
                  <a:lnTo>
                    <a:pt x="285750" y="595312"/>
                  </a:lnTo>
                  <a:lnTo>
                    <a:pt x="300037" y="519112"/>
                  </a:lnTo>
                  <a:lnTo>
                    <a:pt x="300037" y="471487"/>
                  </a:lnTo>
                  <a:lnTo>
                    <a:pt x="330993" y="442912"/>
                  </a:lnTo>
                  <a:lnTo>
                    <a:pt x="402431" y="402431"/>
                  </a:lnTo>
                  <a:lnTo>
                    <a:pt x="419100" y="361950"/>
                  </a:lnTo>
                  <a:lnTo>
                    <a:pt x="438150" y="354806"/>
                  </a:lnTo>
                  <a:lnTo>
                    <a:pt x="454818" y="333375"/>
                  </a:lnTo>
                  <a:lnTo>
                    <a:pt x="464343" y="309562"/>
                  </a:lnTo>
                  <a:lnTo>
                    <a:pt x="500062" y="307181"/>
                  </a:lnTo>
                  <a:lnTo>
                    <a:pt x="509587" y="292893"/>
                  </a:lnTo>
                  <a:lnTo>
                    <a:pt x="507206" y="271462"/>
                  </a:lnTo>
                  <a:lnTo>
                    <a:pt x="502443" y="240506"/>
                  </a:lnTo>
                  <a:lnTo>
                    <a:pt x="500062" y="211931"/>
                  </a:lnTo>
                  <a:lnTo>
                    <a:pt x="500062" y="197643"/>
                  </a:lnTo>
                  <a:lnTo>
                    <a:pt x="442912" y="185737"/>
                  </a:lnTo>
                  <a:lnTo>
                    <a:pt x="404812" y="169068"/>
                  </a:lnTo>
                  <a:lnTo>
                    <a:pt x="359568" y="169068"/>
                  </a:lnTo>
                  <a:lnTo>
                    <a:pt x="335756" y="169068"/>
                  </a:lnTo>
                  <a:lnTo>
                    <a:pt x="328612" y="140493"/>
                  </a:lnTo>
                  <a:lnTo>
                    <a:pt x="295275" y="121443"/>
                  </a:lnTo>
                  <a:lnTo>
                    <a:pt x="295275" y="90487"/>
                  </a:lnTo>
                  <a:lnTo>
                    <a:pt x="309561" y="69056"/>
                  </a:lnTo>
                  <a:lnTo>
                    <a:pt x="288131" y="38100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: Shape 141"/>
            <p:cNvSpPr/>
            <p:nvPr/>
          </p:nvSpPr>
          <p:spPr bwMode="auto">
            <a:xfrm>
              <a:off x="6253163" y="4464844"/>
              <a:ext cx="42862" cy="71437"/>
            </a:xfrm>
            <a:custGeom>
              <a:avLst/>
              <a:gdLst>
                <a:gd name="connsiteX0" fmla="*/ 0 w 42862"/>
                <a:gd name="connsiteY0" fmla="*/ 0 h 71437"/>
                <a:gd name="connsiteX1" fmla="*/ 2381 w 42862"/>
                <a:gd name="connsiteY1" fmla="*/ 71437 h 71437"/>
                <a:gd name="connsiteX2" fmla="*/ 42862 w 42862"/>
                <a:gd name="connsiteY2" fmla="*/ 57150 h 71437"/>
                <a:gd name="connsiteX3" fmla="*/ 0 w 42862"/>
                <a:gd name="connsiteY3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62" h="71437">
                  <a:moveTo>
                    <a:pt x="0" y="0"/>
                  </a:moveTo>
                  <a:cubicBezTo>
                    <a:pt x="794" y="23812"/>
                    <a:pt x="1587" y="47625"/>
                    <a:pt x="2381" y="71437"/>
                  </a:cubicBezTo>
                  <a:lnTo>
                    <a:pt x="42862" y="571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: Shape 142"/>
            <p:cNvSpPr/>
            <p:nvPr/>
          </p:nvSpPr>
          <p:spPr bwMode="auto">
            <a:xfrm>
              <a:off x="6465094" y="3979069"/>
              <a:ext cx="116681" cy="166687"/>
            </a:xfrm>
            <a:custGeom>
              <a:avLst/>
              <a:gdLst>
                <a:gd name="connsiteX0" fmla="*/ 7144 w 116681"/>
                <a:gd name="connsiteY0" fmla="*/ 161925 h 166687"/>
                <a:gd name="connsiteX1" fmla="*/ 57150 w 116681"/>
                <a:gd name="connsiteY1" fmla="*/ 138112 h 166687"/>
                <a:gd name="connsiteX2" fmla="*/ 88106 w 116681"/>
                <a:gd name="connsiteY2" fmla="*/ 152400 h 166687"/>
                <a:gd name="connsiteX3" fmla="*/ 95250 w 116681"/>
                <a:gd name="connsiteY3" fmla="*/ 166687 h 166687"/>
                <a:gd name="connsiteX4" fmla="*/ 116681 w 116681"/>
                <a:gd name="connsiteY4" fmla="*/ 154781 h 166687"/>
                <a:gd name="connsiteX5" fmla="*/ 95250 w 116681"/>
                <a:gd name="connsiteY5" fmla="*/ 121444 h 166687"/>
                <a:gd name="connsiteX6" fmla="*/ 73819 w 116681"/>
                <a:gd name="connsiteY6" fmla="*/ 126206 h 166687"/>
                <a:gd name="connsiteX7" fmla="*/ 78581 w 116681"/>
                <a:gd name="connsiteY7" fmla="*/ 97631 h 166687"/>
                <a:gd name="connsiteX8" fmla="*/ 97631 w 116681"/>
                <a:gd name="connsiteY8" fmla="*/ 80962 h 166687"/>
                <a:gd name="connsiteX9" fmla="*/ 54769 w 116681"/>
                <a:gd name="connsiteY9" fmla="*/ 73819 h 166687"/>
                <a:gd name="connsiteX10" fmla="*/ 35719 w 116681"/>
                <a:gd name="connsiteY10" fmla="*/ 50006 h 166687"/>
                <a:gd name="connsiteX11" fmla="*/ 11906 w 116681"/>
                <a:gd name="connsiteY11" fmla="*/ 30956 h 166687"/>
                <a:gd name="connsiteX12" fmla="*/ 0 w 116681"/>
                <a:gd name="connsiteY12" fmla="*/ 0 h 166687"/>
                <a:gd name="connsiteX13" fmla="*/ 2381 w 116681"/>
                <a:gd name="connsiteY13" fmla="*/ 52387 h 166687"/>
                <a:gd name="connsiteX14" fmla="*/ 7144 w 116681"/>
                <a:gd name="connsiteY14" fmla="*/ 161925 h 166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6681" h="166687">
                  <a:moveTo>
                    <a:pt x="7144" y="161925"/>
                  </a:moveTo>
                  <a:lnTo>
                    <a:pt x="57150" y="138112"/>
                  </a:lnTo>
                  <a:lnTo>
                    <a:pt x="88106" y="152400"/>
                  </a:lnTo>
                  <a:lnTo>
                    <a:pt x="95250" y="166687"/>
                  </a:lnTo>
                  <a:lnTo>
                    <a:pt x="116681" y="154781"/>
                  </a:lnTo>
                  <a:lnTo>
                    <a:pt x="95250" y="121444"/>
                  </a:lnTo>
                  <a:lnTo>
                    <a:pt x="73819" y="126206"/>
                  </a:lnTo>
                  <a:lnTo>
                    <a:pt x="78581" y="97631"/>
                  </a:lnTo>
                  <a:lnTo>
                    <a:pt x="97631" y="80962"/>
                  </a:lnTo>
                  <a:lnTo>
                    <a:pt x="54769" y="73819"/>
                  </a:lnTo>
                  <a:lnTo>
                    <a:pt x="35719" y="50006"/>
                  </a:lnTo>
                  <a:lnTo>
                    <a:pt x="11906" y="30956"/>
                  </a:lnTo>
                  <a:lnTo>
                    <a:pt x="0" y="0"/>
                  </a:lnTo>
                  <a:lnTo>
                    <a:pt x="2381" y="52387"/>
                  </a:lnTo>
                  <a:lnTo>
                    <a:pt x="7144" y="16192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: Shape 143"/>
            <p:cNvSpPr/>
            <p:nvPr/>
          </p:nvSpPr>
          <p:spPr bwMode="auto">
            <a:xfrm>
              <a:off x="4812506" y="3002756"/>
              <a:ext cx="119063" cy="100013"/>
            </a:xfrm>
            <a:custGeom>
              <a:avLst/>
              <a:gdLst>
                <a:gd name="connsiteX0" fmla="*/ 0 w 119063"/>
                <a:gd name="connsiteY0" fmla="*/ 21432 h 107157"/>
                <a:gd name="connsiteX1" fmla="*/ 38100 w 119063"/>
                <a:gd name="connsiteY1" fmla="*/ 57150 h 107157"/>
                <a:gd name="connsiteX2" fmla="*/ 47625 w 119063"/>
                <a:gd name="connsiteY2" fmla="*/ 76200 h 107157"/>
                <a:gd name="connsiteX3" fmla="*/ 50007 w 119063"/>
                <a:gd name="connsiteY3" fmla="*/ 107157 h 107157"/>
                <a:gd name="connsiteX4" fmla="*/ 69057 w 119063"/>
                <a:gd name="connsiteY4" fmla="*/ 100013 h 107157"/>
                <a:gd name="connsiteX5" fmla="*/ 109538 w 119063"/>
                <a:gd name="connsiteY5" fmla="*/ 95250 h 107157"/>
                <a:gd name="connsiteX6" fmla="*/ 102394 w 119063"/>
                <a:gd name="connsiteY6" fmla="*/ 73819 h 107157"/>
                <a:gd name="connsiteX7" fmla="*/ 119063 w 119063"/>
                <a:gd name="connsiteY7" fmla="*/ 40482 h 107157"/>
                <a:gd name="connsiteX8" fmla="*/ 80963 w 119063"/>
                <a:gd name="connsiteY8" fmla="*/ 0 h 107157"/>
                <a:gd name="connsiteX9" fmla="*/ 61913 w 119063"/>
                <a:gd name="connsiteY9" fmla="*/ 4763 h 107157"/>
                <a:gd name="connsiteX10" fmla="*/ 0 w 119063"/>
                <a:gd name="connsiteY10" fmla="*/ 21432 h 107157"/>
                <a:gd name="connsiteX0" fmla="*/ 0 w 119063"/>
                <a:gd name="connsiteY0" fmla="*/ 21432 h 100013"/>
                <a:gd name="connsiteX1" fmla="*/ 38100 w 119063"/>
                <a:gd name="connsiteY1" fmla="*/ 57150 h 100013"/>
                <a:gd name="connsiteX2" fmla="*/ 47625 w 119063"/>
                <a:gd name="connsiteY2" fmla="*/ 76200 h 100013"/>
                <a:gd name="connsiteX3" fmla="*/ 40482 w 119063"/>
                <a:gd name="connsiteY3" fmla="*/ 95251 h 100013"/>
                <a:gd name="connsiteX4" fmla="*/ 69057 w 119063"/>
                <a:gd name="connsiteY4" fmla="*/ 100013 h 100013"/>
                <a:gd name="connsiteX5" fmla="*/ 109538 w 119063"/>
                <a:gd name="connsiteY5" fmla="*/ 95250 h 100013"/>
                <a:gd name="connsiteX6" fmla="*/ 102394 w 119063"/>
                <a:gd name="connsiteY6" fmla="*/ 73819 h 100013"/>
                <a:gd name="connsiteX7" fmla="*/ 119063 w 119063"/>
                <a:gd name="connsiteY7" fmla="*/ 40482 h 100013"/>
                <a:gd name="connsiteX8" fmla="*/ 80963 w 119063"/>
                <a:gd name="connsiteY8" fmla="*/ 0 h 100013"/>
                <a:gd name="connsiteX9" fmla="*/ 61913 w 119063"/>
                <a:gd name="connsiteY9" fmla="*/ 4763 h 100013"/>
                <a:gd name="connsiteX10" fmla="*/ 0 w 119063"/>
                <a:gd name="connsiteY10" fmla="*/ 21432 h 10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063" h="100013">
                  <a:moveTo>
                    <a:pt x="0" y="21432"/>
                  </a:moveTo>
                  <a:lnTo>
                    <a:pt x="38100" y="57150"/>
                  </a:lnTo>
                  <a:lnTo>
                    <a:pt x="47625" y="76200"/>
                  </a:lnTo>
                  <a:lnTo>
                    <a:pt x="40482" y="95251"/>
                  </a:lnTo>
                  <a:lnTo>
                    <a:pt x="69057" y="100013"/>
                  </a:lnTo>
                  <a:lnTo>
                    <a:pt x="109538" y="95250"/>
                  </a:lnTo>
                  <a:lnTo>
                    <a:pt x="102394" y="73819"/>
                  </a:lnTo>
                  <a:lnTo>
                    <a:pt x="119063" y="40482"/>
                  </a:lnTo>
                  <a:lnTo>
                    <a:pt x="80963" y="0"/>
                  </a:lnTo>
                  <a:lnTo>
                    <a:pt x="61913" y="4763"/>
                  </a:lnTo>
                  <a:lnTo>
                    <a:pt x="0" y="2143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: Shape 144"/>
            <p:cNvSpPr/>
            <p:nvPr/>
          </p:nvSpPr>
          <p:spPr bwMode="auto">
            <a:xfrm>
              <a:off x="4869656" y="2864644"/>
              <a:ext cx="97632" cy="80962"/>
            </a:xfrm>
            <a:custGeom>
              <a:avLst/>
              <a:gdLst>
                <a:gd name="connsiteX0" fmla="*/ 97632 w 97632"/>
                <a:gd name="connsiteY0" fmla="*/ 0 h 80962"/>
                <a:gd name="connsiteX1" fmla="*/ 9525 w 97632"/>
                <a:gd name="connsiteY1" fmla="*/ 4762 h 80962"/>
                <a:gd name="connsiteX2" fmla="*/ 0 w 97632"/>
                <a:gd name="connsiteY2" fmla="*/ 16669 h 80962"/>
                <a:gd name="connsiteX3" fmla="*/ 16669 w 97632"/>
                <a:gd name="connsiteY3" fmla="*/ 35719 h 80962"/>
                <a:gd name="connsiteX4" fmla="*/ 26194 w 97632"/>
                <a:gd name="connsiteY4" fmla="*/ 47625 h 80962"/>
                <a:gd name="connsiteX5" fmla="*/ 21432 w 97632"/>
                <a:gd name="connsiteY5" fmla="*/ 69056 h 80962"/>
                <a:gd name="connsiteX6" fmla="*/ 45244 w 97632"/>
                <a:gd name="connsiteY6" fmla="*/ 66675 h 80962"/>
                <a:gd name="connsiteX7" fmla="*/ 64294 w 97632"/>
                <a:gd name="connsiteY7" fmla="*/ 73819 h 80962"/>
                <a:gd name="connsiteX8" fmla="*/ 95250 w 97632"/>
                <a:gd name="connsiteY8" fmla="*/ 80962 h 80962"/>
                <a:gd name="connsiteX9" fmla="*/ 97632 w 97632"/>
                <a:gd name="connsiteY9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632" h="80962">
                  <a:moveTo>
                    <a:pt x="97632" y="0"/>
                  </a:moveTo>
                  <a:lnTo>
                    <a:pt x="9525" y="4762"/>
                  </a:lnTo>
                  <a:lnTo>
                    <a:pt x="0" y="16669"/>
                  </a:lnTo>
                  <a:lnTo>
                    <a:pt x="16669" y="35719"/>
                  </a:lnTo>
                  <a:lnTo>
                    <a:pt x="26194" y="47625"/>
                  </a:lnTo>
                  <a:lnTo>
                    <a:pt x="21432" y="69056"/>
                  </a:lnTo>
                  <a:lnTo>
                    <a:pt x="45244" y="66675"/>
                  </a:lnTo>
                  <a:lnTo>
                    <a:pt x="64294" y="73819"/>
                  </a:lnTo>
                  <a:lnTo>
                    <a:pt x="95250" y="80962"/>
                  </a:lnTo>
                  <a:cubicBezTo>
                    <a:pt x="94456" y="56356"/>
                    <a:pt x="93663" y="31750"/>
                    <a:pt x="97632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: Shape 145"/>
            <p:cNvSpPr/>
            <p:nvPr/>
          </p:nvSpPr>
          <p:spPr bwMode="auto">
            <a:xfrm>
              <a:off x="4812506" y="2928938"/>
              <a:ext cx="166688" cy="114300"/>
            </a:xfrm>
            <a:custGeom>
              <a:avLst/>
              <a:gdLst>
                <a:gd name="connsiteX0" fmla="*/ 116682 w 166688"/>
                <a:gd name="connsiteY0" fmla="*/ 114300 h 114300"/>
                <a:gd name="connsiteX1" fmla="*/ 166688 w 166688"/>
                <a:gd name="connsiteY1" fmla="*/ 80962 h 114300"/>
                <a:gd name="connsiteX2" fmla="*/ 166688 w 166688"/>
                <a:gd name="connsiteY2" fmla="*/ 59531 h 114300"/>
                <a:gd name="connsiteX3" fmla="*/ 145257 w 166688"/>
                <a:gd name="connsiteY3" fmla="*/ 21431 h 114300"/>
                <a:gd name="connsiteX4" fmla="*/ 100013 w 166688"/>
                <a:gd name="connsiteY4" fmla="*/ 0 h 114300"/>
                <a:gd name="connsiteX5" fmla="*/ 76200 w 166688"/>
                <a:gd name="connsiteY5" fmla="*/ 7143 h 114300"/>
                <a:gd name="connsiteX6" fmla="*/ 76200 w 166688"/>
                <a:gd name="connsiteY6" fmla="*/ 45243 h 114300"/>
                <a:gd name="connsiteX7" fmla="*/ 52388 w 166688"/>
                <a:gd name="connsiteY7" fmla="*/ 57150 h 114300"/>
                <a:gd name="connsiteX8" fmla="*/ 35719 w 166688"/>
                <a:gd name="connsiteY8" fmla="*/ 33337 h 114300"/>
                <a:gd name="connsiteX9" fmla="*/ 23813 w 166688"/>
                <a:gd name="connsiteY9" fmla="*/ 16668 h 114300"/>
                <a:gd name="connsiteX10" fmla="*/ 9525 w 166688"/>
                <a:gd name="connsiteY10" fmla="*/ 38100 h 114300"/>
                <a:gd name="connsiteX11" fmla="*/ 4763 w 166688"/>
                <a:gd name="connsiteY11" fmla="*/ 59531 h 114300"/>
                <a:gd name="connsiteX12" fmla="*/ 0 w 166688"/>
                <a:gd name="connsiteY12" fmla="*/ 95250 h 114300"/>
                <a:gd name="connsiteX13" fmla="*/ 78582 w 166688"/>
                <a:gd name="connsiteY13" fmla="*/ 76200 h 114300"/>
                <a:gd name="connsiteX14" fmla="*/ 116682 w 166688"/>
                <a:gd name="connsiteY14" fmla="*/ 11430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6688" h="114300">
                  <a:moveTo>
                    <a:pt x="116682" y="114300"/>
                  </a:moveTo>
                  <a:lnTo>
                    <a:pt x="166688" y="80962"/>
                  </a:lnTo>
                  <a:lnTo>
                    <a:pt x="166688" y="59531"/>
                  </a:lnTo>
                  <a:lnTo>
                    <a:pt x="145257" y="21431"/>
                  </a:lnTo>
                  <a:lnTo>
                    <a:pt x="100013" y="0"/>
                  </a:lnTo>
                  <a:lnTo>
                    <a:pt x="76200" y="7143"/>
                  </a:lnTo>
                  <a:lnTo>
                    <a:pt x="76200" y="45243"/>
                  </a:lnTo>
                  <a:lnTo>
                    <a:pt x="52388" y="57150"/>
                  </a:lnTo>
                  <a:lnTo>
                    <a:pt x="35719" y="33337"/>
                  </a:lnTo>
                  <a:lnTo>
                    <a:pt x="23813" y="16668"/>
                  </a:lnTo>
                  <a:lnTo>
                    <a:pt x="9525" y="38100"/>
                  </a:lnTo>
                  <a:lnTo>
                    <a:pt x="4763" y="59531"/>
                  </a:lnTo>
                  <a:lnTo>
                    <a:pt x="0" y="95250"/>
                  </a:lnTo>
                  <a:lnTo>
                    <a:pt x="78582" y="76200"/>
                  </a:lnTo>
                  <a:lnTo>
                    <a:pt x="116682" y="11430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: Shape 146"/>
            <p:cNvSpPr/>
            <p:nvPr/>
          </p:nvSpPr>
          <p:spPr bwMode="auto">
            <a:xfrm>
              <a:off x="4772025" y="3028950"/>
              <a:ext cx="85725" cy="50006"/>
            </a:xfrm>
            <a:custGeom>
              <a:avLst/>
              <a:gdLst>
                <a:gd name="connsiteX0" fmla="*/ 50006 w 85725"/>
                <a:gd name="connsiteY0" fmla="*/ 0 h 50006"/>
                <a:gd name="connsiteX1" fmla="*/ 4763 w 85725"/>
                <a:gd name="connsiteY1" fmla="*/ 26194 h 50006"/>
                <a:gd name="connsiteX2" fmla="*/ 0 w 85725"/>
                <a:gd name="connsiteY2" fmla="*/ 50006 h 50006"/>
                <a:gd name="connsiteX3" fmla="*/ 76200 w 85725"/>
                <a:gd name="connsiteY3" fmla="*/ 47625 h 50006"/>
                <a:gd name="connsiteX4" fmla="*/ 85725 w 85725"/>
                <a:gd name="connsiteY4" fmla="*/ 42863 h 50006"/>
                <a:gd name="connsiteX5" fmla="*/ 50006 w 85725"/>
                <a:gd name="connsiteY5" fmla="*/ 0 h 5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25" h="50006">
                  <a:moveTo>
                    <a:pt x="50006" y="0"/>
                  </a:moveTo>
                  <a:lnTo>
                    <a:pt x="4763" y="26194"/>
                  </a:lnTo>
                  <a:lnTo>
                    <a:pt x="0" y="50006"/>
                  </a:lnTo>
                  <a:lnTo>
                    <a:pt x="76200" y="47625"/>
                  </a:lnTo>
                  <a:lnTo>
                    <a:pt x="85725" y="42863"/>
                  </a:lnTo>
                  <a:lnTo>
                    <a:pt x="50006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: Shape 147"/>
            <p:cNvSpPr/>
            <p:nvPr/>
          </p:nvSpPr>
          <p:spPr bwMode="auto">
            <a:xfrm>
              <a:off x="4583906" y="3240881"/>
              <a:ext cx="164307" cy="76200"/>
            </a:xfrm>
            <a:custGeom>
              <a:avLst/>
              <a:gdLst>
                <a:gd name="connsiteX0" fmla="*/ 57150 w 164307"/>
                <a:gd name="connsiteY0" fmla="*/ 0 h 76200"/>
                <a:gd name="connsiteX1" fmla="*/ 0 w 164307"/>
                <a:gd name="connsiteY1" fmla="*/ 23813 h 76200"/>
                <a:gd name="connsiteX2" fmla="*/ 33338 w 164307"/>
                <a:gd name="connsiteY2" fmla="*/ 69057 h 76200"/>
                <a:gd name="connsiteX3" fmla="*/ 59532 w 164307"/>
                <a:gd name="connsiteY3" fmla="*/ 73819 h 76200"/>
                <a:gd name="connsiteX4" fmla="*/ 64294 w 164307"/>
                <a:gd name="connsiteY4" fmla="*/ 61913 h 76200"/>
                <a:gd name="connsiteX5" fmla="*/ 102394 w 164307"/>
                <a:gd name="connsiteY5" fmla="*/ 66675 h 76200"/>
                <a:gd name="connsiteX6" fmla="*/ 126207 w 164307"/>
                <a:gd name="connsiteY6" fmla="*/ 76200 h 76200"/>
                <a:gd name="connsiteX7" fmla="*/ 164307 w 164307"/>
                <a:gd name="connsiteY7" fmla="*/ 45244 h 76200"/>
                <a:gd name="connsiteX8" fmla="*/ 116682 w 164307"/>
                <a:gd name="connsiteY8" fmla="*/ 19050 h 76200"/>
                <a:gd name="connsiteX9" fmla="*/ 57150 w 164307"/>
                <a:gd name="connsiteY9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07" h="76200">
                  <a:moveTo>
                    <a:pt x="57150" y="0"/>
                  </a:moveTo>
                  <a:lnTo>
                    <a:pt x="0" y="23813"/>
                  </a:lnTo>
                  <a:lnTo>
                    <a:pt x="33338" y="69057"/>
                  </a:lnTo>
                  <a:lnTo>
                    <a:pt x="59532" y="73819"/>
                  </a:lnTo>
                  <a:lnTo>
                    <a:pt x="64294" y="61913"/>
                  </a:lnTo>
                  <a:lnTo>
                    <a:pt x="102394" y="66675"/>
                  </a:lnTo>
                  <a:lnTo>
                    <a:pt x="126207" y="76200"/>
                  </a:lnTo>
                  <a:lnTo>
                    <a:pt x="164307" y="45244"/>
                  </a:lnTo>
                  <a:lnTo>
                    <a:pt x="116682" y="19050"/>
                  </a:lnTo>
                  <a:lnTo>
                    <a:pt x="5715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: Shape 148"/>
            <p:cNvSpPr/>
            <p:nvPr/>
          </p:nvSpPr>
          <p:spPr bwMode="auto">
            <a:xfrm>
              <a:off x="4953000" y="3324225"/>
              <a:ext cx="73819" cy="102394"/>
            </a:xfrm>
            <a:custGeom>
              <a:avLst/>
              <a:gdLst>
                <a:gd name="connsiteX0" fmla="*/ 0 w 73819"/>
                <a:gd name="connsiteY0" fmla="*/ 0 h 102394"/>
                <a:gd name="connsiteX1" fmla="*/ 30956 w 73819"/>
                <a:gd name="connsiteY1" fmla="*/ 66675 h 102394"/>
                <a:gd name="connsiteX2" fmla="*/ 26194 w 73819"/>
                <a:gd name="connsiteY2" fmla="*/ 102394 h 102394"/>
                <a:gd name="connsiteX3" fmla="*/ 50006 w 73819"/>
                <a:gd name="connsiteY3" fmla="*/ 73819 h 102394"/>
                <a:gd name="connsiteX4" fmla="*/ 73819 w 73819"/>
                <a:gd name="connsiteY4" fmla="*/ 66675 h 102394"/>
                <a:gd name="connsiteX5" fmla="*/ 59531 w 73819"/>
                <a:gd name="connsiteY5" fmla="*/ 52388 h 102394"/>
                <a:gd name="connsiteX6" fmla="*/ 50006 w 73819"/>
                <a:gd name="connsiteY6" fmla="*/ 19050 h 102394"/>
                <a:gd name="connsiteX7" fmla="*/ 0 w 73819"/>
                <a:gd name="connsiteY7" fmla="*/ 0 h 10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819" h="102394">
                  <a:moveTo>
                    <a:pt x="0" y="0"/>
                  </a:moveTo>
                  <a:lnTo>
                    <a:pt x="30956" y="66675"/>
                  </a:lnTo>
                  <a:lnTo>
                    <a:pt x="26194" y="102394"/>
                  </a:lnTo>
                  <a:lnTo>
                    <a:pt x="50006" y="73819"/>
                  </a:lnTo>
                  <a:lnTo>
                    <a:pt x="73819" y="66675"/>
                  </a:lnTo>
                  <a:lnTo>
                    <a:pt x="59531" y="52388"/>
                  </a:lnTo>
                  <a:lnTo>
                    <a:pt x="50006" y="190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: Shape 149"/>
            <p:cNvSpPr/>
            <p:nvPr/>
          </p:nvSpPr>
          <p:spPr bwMode="auto">
            <a:xfrm>
              <a:off x="4793456" y="3338513"/>
              <a:ext cx="202407" cy="161925"/>
            </a:xfrm>
            <a:custGeom>
              <a:avLst/>
              <a:gdLst>
                <a:gd name="connsiteX0" fmla="*/ 59532 w 202407"/>
                <a:gd name="connsiteY0" fmla="*/ 0 h 161925"/>
                <a:gd name="connsiteX1" fmla="*/ 0 w 202407"/>
                <a:gd name="connsiteY1" fmla="*/ 66675 h 161925"/>
                <a:gd name="connsiteX2" fmla="*/ 19050 w 202407"/>
                <a:gd name="connsiteY2" fmla="*/ 102393 h 161925"/>
                <a:gd name="connsiteX3" fmla="*/ 28575 w 202407"/>
                <a:gd name="connsiteY3" fmla="*/ 123825 h 161925"/>
                <a:gd name="connsiteX4" fmla="*/ 52388 w 202407"/>
                <a:gd name="connsiteY4" fmla="*/ 121443 h 161925"/>
                <a:gd name="connsiteX5" fmla="*/ 78582 w 202407"/>
                <a:gd name="connsiteY5" fmla="*/ 152400 h 161925"/>
                <a:gd name="connsiteX6" fmla="*/ 114300 w 202407"/>
                <a:gd name="connsiteY6" fmla="*/ 157162 h 161925"/>
                <a:gd name="connsiteX7" fmla="*/ 154782 w 202407"/>
                <a:gd name="connsiteY7" fmla="*/ 145256 h 161925"/>
                <a:gd name="connsiteX8" fmla="*/ 190500 w 202407"/>
                <a:gd name="connsiteY8" fmla="*/ 161925 h 161925"/>
                <a:gd name="connsiteX9" fmla="*/ 202407 w 202407"/>
                <a:gd name="connsiteY9" fmla="*/ 111918 h 161925"/>
                <a:gd name="connsiteX10" fmla="*/ 192882 w 202407"/>
                <a:gd name="connsiteY10" fmla="*/ 85725 h 161925"/>
                <a:gd name="connsiteX11" fmla="*/ 185738 w 202407"/>
                <a:gd name="connsiteY11" fmla="*/ 54768 h 161925"/>
                <a:gd name="connsiteX12" fmla="*/ 157163 w 202407"/>
                <a:gd name="connsiteY12" fmla="*/ 2381 h 161925"/>
                <a:gd name="connsiteX13" fmla="*/ 116682 w 202407"/>
                <a:gd name="connsiteY13" fmla="*/ 19050 h 161925"/>
                <a:gd name="connsiteX14" fmla="*/ 59532 w 202407"/>
                <a:gd name="connsiteY14" fmla="*/ 0 h 161925"/>
                <a:gd name="connsiteX0" fmla="*/ 59532 w 202407"/>
                <a:gd name="connsiteY0" fmla="*/ 0 h 161925"/>
                <a:gd name="connsiteX1" fmla="*/ 0 w 202407"/>
                <a:gd name="connsiteY1" fmla="*/ 66675 h 161925"/>
                <a:gd name="connsiteX2" fmla="*/ 19050 w 202407"/>
                <a:gd name="connsiteY2" fmla="*/ 102393 h 161925"/>
                <a:gd name="connsiteX3" fmla="*/ 28575 w 202407"/>
                <a:gd name="connsiteY3" fmla="*/ 123825 h 161925"/>
                <a:gd name="connsiteX4" fmla="*/ 52388 w 202407"/>
                <a:gd name="connsiteY4" fmla="*/ 121443 h 161925"/>
                <a:gd name="connsiteX5" fmla="*/ 64294 w 202407"/>
                <a:gd name="connsiteY5" fmla="*/ 152400 h 161925"/>
                <a:gd name="connsiteX6" fmla="*/ 114300 w 202407"/>
                <a:gd name="connsiteY6" fmla="*/ 157162 h 161925"/>
                <a:gd name="connsiteX7" fmla="*/ 154782 w 202407"/>
                <a:gd name="connsiteY7" fmla="*/ 145256 h 161925"/>
                <a:gd name="connsiteX8" fmla="*/ 190500 w 202407"/>
                <a:gd name="connsiteY8" fmla="*/ 161925 h 161925"/>
                <a:gd name="connsiteX9" fmla="*/ 202407 w 202407"/>
                <a:gd name="connsiteY9" fmla="*/ 111918 h 161925"/>
                <a:gd name="connsiteX10" fmla="*/ 192882 w 202407"/>
                <a:gd name="connsiteY10" fmla="*/ 85725 h 161925"/>
                <a:gd name="connsiteX11" fmla="*/ 185738 w 202407"/>
                <a:gd name="connsiteY11" fmla="*/ 54768 h 161925"/>
                <a:gd name="connsiteX12" fmla="*/ 157163 w 202407"/>
                <a:gd name="connsiteY12" fmla="*/ 2381 h 161925"/>
                <a:gd name="connsiteX13" fmla="*/ 116682 w 202407"/>
                <a:gd name="connsiteY13" fmla="*/ 19050 h 161925"/>
                <a:gd name="connsiteX14" fmla="*/ 59532 w 202407"/>
                <a:gd name="connsiteY14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2407" h="161925">
                  <a:moveTo>
                    <a:pt x="59532" y="0"/>
                  </a:moveTo>
                  <a:lnTo>
                    <a:pt x="0" y="66675"/>
                  </a:lnTo>
                  <a:lnTo>
                    <a:pt x="19050" y="102393"/>
                  </a:lnTo>
                  <a:lnTo>
                    <a:pt x="28575" y="123825"/>
                  </a:lnTo>
                  <a:lnTo>
                    <a:pt x="52388" y="121443"/>
                  </a:lnTo>
                  <a:lnTo>
                    <a:pt x="64294" y="152400"/>
                  </a:lnTo>
                  <a:lnTo>
                    <a:pt x="114300" y="157162"/>
                  </a:lnTo>
                  <a:lnTo>
                    <a:pt x="154782" y="145256"/>
                  </a:lnTo>
                  <a:lnTo>
                    <a:pt x="190500" y="161925"/>
                  </a:lnTo>
                  <a:lnTo>
                    <a:pt x="202407" y="111918"/>
                  </a:lnTo>
                  <a:lnTo>
                    <a:pt x="192882" y="85725"/>
                  </a:lnTo>
                  <a:lnTo>
                    <a:pt x="185738" y="54768"/>
                  </a:lnTo>
                  <a:lnTo>
                    <a:pt x="157163" y="2381"/>
                  </a:lnTo>
                  <a:lnTo>
                    <a:pt x="116682" y="19050"/>
                  </a:lnTo>
                  <a:lnTo>
                    <a:pt x="59532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: Shape 150"/>
            <p:cNvSpPr/>
            <p:nvPr/>
          </p:nvSpPr>
          <p:spPr bwMode="auto">
            <a:xfrm>
              <a:off x="7662863" y="1716881"/>
              <a:ext cx="152400" cy="150019"/>
            </a:xfrm>
            <a:custGeom>
              <a:avLst/>
              <a:gdLst>
                <a:gd name="connsiteX0" fmla="*/ 7143 w 152400"/>
                <a:gd name="connsiteY0" fmla="*/ 19050 h 150019"/>
                <a:gd name="connsiteX1" fmla="*/ 0 w 152400"/>
                <a:gd name="connsiteY1" fmla="*/ 80963 h 150019"/>
                <a:gd name="connsiteX2" fmla="*/ 16668 w 152400"/>
                <a:gd name="connsiteY2" fmla="*/ 109538 h 150019"/>
                <a:gd name="connsiteX3" fmla="*/ 40481 w 152400"/>
                <a:gd name="connsiteY3" fmla="*/ 138113 h 150019"/>
                <a:gd name="connsiteX4" fmla="*/ 61912 w 152400"/>
                <a:gd name="connsiteY4" fmla="*/ 150019 h 150019"/>
                <a:gd name="connsiteX5" fmla="*/ 69056 w 152400"/>
                <a:gd name="connsiteY5" fmla="*/ 111919 h 150019"/>
                <a:gd name="connsiteX6" fmla="*/ 90487 w 152400"/>
                <a:gd name="connsiteY6" fmla="*/ 121444 h 150019"/>
                <a:gd name="connsiteX7" fmla="*/ 123825 w 152400"/>
                <a:gd name="connsiteY7" fmla="*/ 116682 h 150019"/>
                <a:gd name="connsiteX8" fmla="*/ 152400 w 152400"/>
                <a:gd name="connsiteY8" fmla="*/ 119063 h 150019"/>
                <a:gd name="connsiteX9" fmla="*/ 135731 w 152400"/>
                <a:gd name="connsiteY9" fmla="*/ 100013 h 150019"/>
                <a:gd name="connsiteX10" fmla="*/ 135731 w 152400"/>
                <a:gd name="connsiteY10" fmla="*/ 47625 h 150019"/>
                <a:gd name="connsiteX11" fmla="*/ 119062 w 152400"/>
                <a:gd name="connsiteY11" fmla="*/ 19050 h 150019"/>
                <a:gd name="connsiteX12" fmla="*/ 116681 w 152400"/>
                <a:gd name="connsiteY12" fmla="*/ 0 h 150019"/>
                <a:gd name="connsiteX13" fmla="*/ 102393 w 152400"/>
                <a:gd name="connsiteY13" fmla="*/ 40482 h 150019"/>
                <a:gd name="connsiteX14" fmla="*/ 95250 w 152400"/>
                <a:gd name="connsiteY14" fmla="*/ 54769 h 150019"/>
                <a:gd name="connsiteX15" fmla="*/ 76200 w 152400"/>
                <a:gd name="connsiteY15" fmla="*/ 40482 h 150019"/>
                <a:gd name="connsiteX16" fmla="*/ 7143 w 152400"/>
                <a:gd name="connsiteY16" fmla="*/ 19050 h 150019"/>
                <a:gd name="connsiteX0" fmla="*/ 7143 w 152400"/>
                <a:gd name="connsiteY0" fmla="*/ 19050 h 150019"/>
                <a:gd name="connsiteX1" fmla="*/ 0 w 152400"/>
                <a:gd name="connsiteY1" fmla="*/ 80963 h 150019"/>
                <a:gd name="connsiteX2" fmla="*/ 16668 w 152400"/>
                <a:gd name="connsiteY2" fmla="*/ 109538 h 150019"/>
                <a:gd name="connsiteX3" fmla="*/ 40481 w 152400"/>
                <a:gd name="connsiteY3" fmla="*/ 138113 h 150019"/>
                <a:gd name="connsiteX4" fmla="*/ 61912 w 152400"/>
                <a:gd name="connsiteY4" fmla="*/ 150019 h 150019"/>
                <a:gd name="connsiteX5" fmla="*/ 69056 w 152400"/>
                <a:gd name="connsiteY5" fmla="*/ 111919 h 150019"/>
                <a:gd name="connsiteX6" fmla="*/ 90487 w 152400"/>
                <a:gd name="connsiteY6" fmla="*/ 121444 h 150019"/>
                <a:gd name="connsiteX7" fmla="*/ 123825 w 152400"/>
                <a:gd name="connsiteY7" fmla="*/ 116682 h 150019"/>
                <a:gd name="connsiteX8" fmla="*/ 152400 w 152400"/>
                <a:gd name="connsiteY8" fmla="*/ 119063 h 150019"/>
                <a:gd name="connsiteX9" fmla="*/ 135731 w 152400"/>
                <a:gd name="connsiteY9" fmla="*/ 100013 h 150019"/>
                <a:gd name="connsiteX10" fmla="*/ 135731 w 152400"/>
                <a:gd name="connsiteY10" fmla="*/ 47625 h 150019"/>
                <a:gd name="connsiteX11" fmla="*/ 119062 w 152400"/>
                <a:gd name="connsiteY11" fmla="*/ 19050 h 150019"/>
                <a:gd name="connsiteX12" fmla="*/ 116681 w 152400"/>
                <a:gd name="connsiteY12" fmla="*/ 0 h 150019"/>
                <a:gd name="connsiteX13" fmla="*/ 102393 w 152400"/>
                <a:gd name="connsiteY13" fmla="*/ 40482 h 150019"/>
                <a:gd name="connsiteX14" fmla="*/ 95250 w 152400"/>
                <a:gd name="connsiteY14" fmla="*/ 54769 h 150019"/>
                <a:gd name="connsiteX15" fmla="*/ 76200 w 152400"/>
                <a:gd name="connsiteY15" fmla="*/ 40482 h 150019"/>
                <a:gd name="connsiteX16" fmla="*/ 42862 w 152400"/>
                <a:gd name="connsiteY16" fmla="*/ 23813 h 150019"/>
                <a:gd name="connsiteX17" fmla="*/ 7143 w 152400"/>
                <a:gd name="connsiteY17" fmla="*/ 19050 h 150019"/>
                <a:gd name="connsiteX0" fmla="*/ 7143 w 152400"/>
                <a:gd name="connsiteY0" fmla="*/ 19050 h 150019"/>
                <a:gd name="connsiteX1" fmla="*/ 0 w 152400"/>
                <a:gd name="connsiteY1" fmla="*/ 80963 h 150019"/>
                <a:gd name="connsiteX2" fmla="*/ 16668 w 152400"/>
                <a:gd name="connsiteY2" fmla="*/ 109538 h 150019"/>
                <a:gd name="connsiteX3" fmla="*/ 40481 w 152400"/>
                <a:gd name="connsiteY3" fmla="*/ 138113 h 150019"/>
                <a:gd name="connsiteX4" fmla="*/ 61912 w 152400"/>
                <a:gd name="connsiteY4" fmla="*/ 150019 h 150019"/>
                <a:gd name="connsiteX5" fmla="*/ 69056 w 152400"/>
                <a:gd name="connsiteY5" fmla="*/ 111919 h 150019"/>
                <a:gd name="connsiteX6" fmla="*/ 90487 w 152400"/>
                <a:gd name="connsiteY6" fmla="*/ 121444 h 150019"/>
                <a:gd name="connsiteX7" fmla="*/ 123825 w 152400"/>
                <a:gd name="connsiteY7" fmla="*/ 116682 h 150019"/>
                <a:gd name="connsiteX8" fmla="*/ 152400 w 152400"/>
                <a:gd name="connsiteY8" fmla="*/ 119063 h 150019"/>
                <a:gd name="connsiteX9" fmla="*/ 135731 w 152400"/>
                <a:gd name="connsiteY9" fmla="*/ 100013 h 150019"/>
                <a:gd name="connsiteX10" fmla="*/ 135731 w 152400"/>
                <a:gd name="connsiteY10" fmla="*/ 47625 h 150019"/>
                <a:gd name="connsiteX11" fmla="*/ 119062 w 152400"/>
                <a:gd name="connsiteY11" fmla="*/ 19050 h 150019"/>
                <a:gd name="connsiteX12" fmla="*/ 116681 w 152400"/>
                <a:gd name="connsiteY12" fmla="*/ 0 h 150019"/>
                <a:gd name="connsiteX13" fmla="*/ 102393 w 152400"/>
                <a:gd name="connsiteY13" fmla="*/ 40482 h 150019"/>
                <a:gd name="connsiteX14" fmla="*/ 95250 w 152400"/>
                <a:gd name="connsiteY14" fmla="*/ 54769 h 150019"/>
                <a:gd name="connsiteX15" fmla="*/ 76200 w 152400"/>
                <a:gd name="connsiteY15" fmla="*/ 40482 h 150019"/>
                <a:gd name="connsiteX16" fmla="*/ 47625 w 152400"/>
                <a:gd name="connsiteY16" fmla="*/ 4763 h 150019"/>
                <a:gd name="connsiteX17" fmla="*/ 7143 w 152400"/>
                <a:gd name="connsiteY17" fmla="*/ 1905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2400" h="150019">
                  <a:moveTo>
                    <a:pt x="7143" y="19050"/>
                  </a:moveTo>
                  <a:lnTo>
                    <a:pt x="0" y="80963"/>
                  </a:lnTo>
                  <a:lnTo>
                    <a:pt x="16668" y="109538"/>
                  </a:lnTo>
                  <a:lnTo>
                    <a:pt x="40481" y="138113"/>
                  </a:lnTo>
                  <a:lnTo>
                    <a:pt x="61912" y="150019"/>
                  </a:lnTo>
                  <a:lnTo>
                    <a:pt x="69056" y="111919"/>
                  </a:lnTo>
                  <a:lnTo>
                    <a:pt x="90487" y="121444"/>
                  </a:lnTo>
                  <a:lnTo>
                    <a:pt x="123825" y="116682"/>
                  </a:lnTo>
                  <a:lnTo>
                    <a:pt x="152400" y="119063"/>
                  </a:lnTo>
                  <a:lnTo>
                    <a:pt x="135731" y="100013"/>
                  </a:lnTo>
                  <a:lnTo>
                    <a:pt x="135731" y="47625"/>
                  </a:lnTo>
                  <a:lnTo>
                    <a:pt x="119062" y="19050"/>
                  </a:lnTo>
                  <a:lnTo>
                    <a:pt x="116681" y="0"/>
                  </a:lnTo>
                  <a:lnTo>
                    <a:pt x="102393" y="40482"/>
                  </a:lnTo>
                  <a:lnTo>
                    <a:pt x="95250" y="54769"/>
                  </a:lnTo>
                  <a:lnTo>
                    <a:pt x="76200" y="40482"/>
                  </a:lnTo>
                  <a:lnTo>
                    <a:pt x="47625" y="4763"/>
                  </a:lnTo>
                  <a:lnTo>
                    <a:pt x="7143" y="1905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4" name="Freeform: Shape 151"/>
            <p:cNvSpPr/>
            <p:nvPr/>
          </p:nvSpPr>
          <p:spPr bwMode="auto">
            <a:xfrm>
              <a:off x="7743825" y="1940719"/>
              <a:ext cx="85725" cy="42862"/>
            </a:xfrm>
            <a:custGeom>
              <a:avLst/>
              <a:gdLst>
                <a:gd name="connsiteX0" fmla="*/ 0 w 85725"/>
                <a:gd name="connsiteY0" fmla="*/ 40481 h 42862"/>
                <a:gd name="connsiteX1" fmla="*/ 85725 w 85725"/>
                <a:gd name="connsiteY1" fmla="*/ 42862 h 42862"/>
                <a:gd name="connsiteX2" fmla="*/ 50006 w 85725"/>
                <a:gd name="connsiteY2" fmla="*/ 0 h 42862"/>
                <a:gd name="connsiteX3" fmla="*/ 0 w 85725"/>
                <a:gd name="connsiteY3" fmla="*/ 40481 h 42862"/>
                <a:gd name="connsiteX0" fmla="*/ 0 w 85725"/>
                <a:gd name="connsiteY0" fmla="*/ 40481 h 42862"/>
                <a:gd name="connsiteX1" fmla="*/ 85725 w 85725"/>
                <a:gd name="connsiteY1" fmla="*/ 42862 h 42862"/>
                <a:gd name="connsiteX2" fmla="*/ 50006 w 85725"/>
                <a:gd name="connsiteY2" fmla="*/ 0 h 42862"/>
                <a:gd name="connsiteX3" fmla="*/ 26194 w 85725"/>
                <a:gd name="connsiteY3" fmla="*/ 16669 h 42862"/>
                <a:gd name="connsiteX4" fmla="*/ 0 w 85725"/>
                <a:gd name="connsiteY4" fmla="*/ 40481 h 42862"/>
                <a:gd name="connsiteX0" fmla="*/ 0 w 85725"/>
                <a:gd name="connsiteY0" fmla="*/ 40481 h 42862"/>
                <a:gd name="connsiteX1" fmla="*/ 85725 w 85725"/>
                <a:gd name="connsiteY1" fmla="*/ 42862 h 42862"/>
                <a:gd name="connsiteX2" fmla="*/ 50006 w 85725"/>
                <a:gd name="connsiteY2" fmla="*/ 0 h 42862"/>
                <a:gd name="connsiteX3" fmla="*/ 11906 w 85725"/>
                <a:gd name="connsiteY3" fmla="*/ 11907 h 42862"/>
                <a:gd name="connsiteX4" fmla="*/ 0 w 85725"/>
                <a:gd name="connsiteY4" fmla="*/ 40481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42862">
                  <a:moveTo>
                    <a:pt x="0" y="40481"/>
                  </a:moveTo>
                  <a:lnTo>
                    <a:pt x="85725" y="42862"/>
                  </a:lnTo>
                  <a:lnTo>
                    <a:pt x="50006" y="0"/>
                  </a:lnTo>
                  <a:lnTo>
                    <a:pt x="11906" y="11907"/>
                  </a:lnTo>
                  <a:lnTo>
                    <a:pt x="0" y="4048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5" name="Freeform: Shape 152"/>
            <p:cNvSpPr/>
            <p:nvPr/>
          </p:nvSpPr>
          <p:spPr bwMode="auto">
            <a:xfrm>
              <a:off x="7884319" y="1778794"/>
              <a:ext cx="126206" cy="78581"/>
            </a:xfrm>
            <a:custGeom>
              <a:avLst/>
              <a:gdLst>
                <a:gd name="connsiteX0" fmla="*/ 0 w 126206"/>
                <a:gd name="connsiteY0" fmla="*/ 0 h 78581"/>
                <a:gd name="connsiteX1" fmla="*/ 59531 w 126206"/>
                <a:gd name="connsiteY1" fmla="*/ 78581 h 78581"/>
                <a:gd name="connsiteX2" fmla="*/ 126206 w 126206"/>
                <a:gd name="connsiteY2" fmla="*/ 52387 h 78581"/>
                <a:gd name="connsiteX3" fmla="*/ 85725 w 126206"/>
                <a:gd name="connsiteY3" fmla="*/ 33337 h 78581"/>
                <a:gd name="connsiteX4" fmla="*/ 61912 w 126206"/>
                <a:gd name="connsiteY4" fmla="*/ 38100 h 78581"/>
                <a:gd name="connsiteX5" fmla="*/ 52387 w 126206"/>
                <a:gd name="connsiteY5" fmla="*/ 19050 h 78581"/>
                <a:gd name="connsiteX6" fmla="*/ 0 w 126206"/>
                <a:gd name="connsiteY6" fmla="*/ 0 h 78581"/>
                <a:gd name="connsiteX0" fmla="*/ 0 w 126206"/>
                <a:gd name="connsiteY0" fmla="*/ 0 h 78581"/>
                <a:gd name="connsiteX1" fmla="*/ 59531 w 126206"/>
                <a:gd name="connsiteY1" fmla="*/ 78581 h 78581"/>
                <a:gd name="connsiteX2" fmla="*/ 126206 w 126206"/>
                <a:gd name="connsiteY2" fmla="*/ 52387 h 78581"/>
                <a:gd name="connsiteX3" fmla="*/ 85725 w 126206"/>
                <a:gd name="connsiteY3" fmla="*/ 33337 h 78581"/>
                <a:gd name="connsiteX4" fmla="*/ 61912 w 126206"/>
                <a:gd name="connsiteY4" fmla="*/ 38100 h 78581"/>
                <a:gd name="connsiteX5" fmla="*/ 52387 w 126206"/>
                <a:gd name="connsiteY5" fmla="*/ 19050 h 78581"/>
                <a:gd name="connsiteX6" fmla="*/ 33337 w 126206"/>
                <a:gd name="connsiteY6" fmla="*/ 7144 h 78581"/>
                <a:gd name="connsiteX7" fmla="*/ 0 w 126206"/>
                <a:gd name="connsiteY7" fmla="*/ 0 h 78581"/>
                <a:gd name="connsiteX0" fmla="*/ 0 w 126206"/>
                <a:gd name="connsiteY0" fmla="*/ 0 h 78581"/>
                <a:gd name="connsiteX1" fmla="*/ 59531 w 126206"/>
                <a:gd name="connsiteY1" fmla="*/ 78581 h 78581"/>
                <a:gd name="connsiteX2" fmla="*/ 126206 w 126206"/>
                <a:gd name="connsiteY2" fmla="*/ 52387 h 78581"/>
                <a:gd name="connsiteX3" fmla="*/ 85725 w 126206"/>
                <a:gd name="connsiteY3" fmla="*/ 33337 h 78581"/>
                <a:gd name="connsiteX4" fmla="*/ 61912 w 126206"/>
                <a:gd name="connsiteY4" fmla="*/ 38100 h 78581"/>
                <a:gd name="connsiteX5" fmla="*/ 52387 w 126206"/>
                <a:gd name="connsiteY5" fmla="*/ 19050 h 78581"/>
                <a:gd name="connsiteX6" fmla="*/ 33337 w 126206"/>
                <a:gd name="connsiteY6" fmla="*/ 26194 h 78581"/>
                <a:gd name="connsiteX7" fmla="*/ 0 w 126206"/>
                <a:gd name="connsiteY7" fmla="*/ 0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206" h="78581">
                  <a:moveTo>
                    <a:pt x="0" y="0"/>
                  </a:moveTo>
                  <a:lnTo>
                    <a:pt x="59531" y="78581"/>
                  </a:lnTo>
                  <a:lnTo>
                    <a:pt x="126206" y="52387"/>
                  </a:lnTo>
                  <a:lnTo>
                    <a:pt x="85725" y="33337"/>
                  </a:lnTo>
                  <a:lnTo>
                    <a:pt x="61912" y="38100"/>
                  </a:lnTo>
                  <a:lnTo>
                    <a:pt x="52387" y="19050"/>
                  </a:lnTo>
                  <a:lnTo>
                    <a:pt x="33337" y="261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6" name="Freeform: Shape 153"/>
            <p:cNvSpPr/>
            <p:nvPr/>
          </p:nvSpPr>
          <p:spPr bwMode="auto">
            <a:xfrm>
              <a:off x="7810500" y="1747838"/>
              <a:ext cx="50006" cy="73818"/>
            </a:xfrm>
            <a:custGeom>
              <a:avLst/>
              <a:gdLst>
                <a:gd name="connsiteX0" fmla="*/ 23812 w 42862"/>
                <a:gd name="connsiteY0" fmla="*/ 73818 h 73818"/>
                <a:gd name="connsiteX1" fmla="*/ 42862 w 42862"/>
                <a:gd name="connsiteY1" fmla="*/ 23812 h 73818"/>
                <a:gd name="connsiteX2" fmla="*/ 19050 w 42862"/>
                <a:gd name="connsiteY2" fmla="*/ 0 h 73818"/>
                <a:gd name="connsiteX3" fmla="*/ 0 w 42862"/>
                <a:gd name="connsiteY3" fmla="*/ 14287 h 73818"/>
                <a:gd name="connsiteX4" fmla="*/ 23812 w 42862"/>
                <a:gd name="connsiteY4" fmla="*/ 73818 h 73818"/>
                <a:gd name="connsiteX0" fmla="*/ 23812 w 42862"/>
                <a:gd name="connsiteY0" fmla="*/ 73818 h 73818"/>
                <a:gd name="connsiteX1" fmla="*/ 42862 w 42862"/>
                <a:gd name="connsiteY1" fmla="*/ 23812 h 73818"/>
                <a:gd name="connsiteX2" fmla="*/ 19050 w 42862"/>
                <a:gd name="connsiteY2" fmla="*/ 0 h 73818"/>
                <a:gd name="connsiteX3" fmla="*/ 0 w 42862"/>
                <a:gd name="connsiteY3" fmla="*/ 14287 h 73818"/>
                <a:gd name="connsiteX4" fmla="*/ 11906 w 42862"/>
                <a:gd name="connsiteY4" fmla="*/ 38100 h 73818"/>
                <a:gd name="connsiteX5" fmla="*/ 23812 w 42862"/>
                <a:gd name="connsiteY5" fmla="*/ 73818 h 73818"/>
                <a:gd name="connsiteX0" fmla="*/ 30956 w 50006"/>
                <a:gd name="connsiteY0" fmla="*/ 73818 h 73818"/>
                <a:gd name="connsiteX1" fmla="*/ 50006 w 50006"/>
                <a:gd name="connsiteY1" fmla="*/ 23812 h 73818"/>
                <a:gd name="connsiteX2" fmla="*/ 26194 w 50006"/>
                <a:gd name="connsiteY2" fmla="*/ 0 h 73818"/>
                <a:gd name="connsiteX3" fmla="*/ 7144 w 50006"/>
                <a:gd name="connsiteY3" fmla="*/ 14287 h 73818"/>
                <a:gd name="connsiteX4" fmla="*/ 0 w 50006"/>
                <a:gd name="connsiteY4" fmla="*/ 42863 h 73818"/>
                <a:gd name="connsiteX5" fmla="*/ 30956 w 50006"/>
                <a:gd name="connsiteY5" fmla="*/ 73818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006" h="73818">
                  <a:moveTo>
                    <a:pt x="30956" y="73818"/>
                  </a:moveTo>
                  <a:lnTo>
                    <a:pt x="50006" y="23812"/>
                  </a:lnTo>
                  <a:lnTo>
                    <a:pt x="26194" y="0"/>
                  </a:lnTo>
                  <a:lnTo>
                    <a:pt x="7144" y="14287"/>
                  </a:lnTo>
                  <a:lnTo>
                    <a:pt x="0" y="42863"/>
                  </a:lnTo>
                  <a:lnTo>
                    <a:pt x="30956" y="73818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7" name="Freeform: Shape 154"/>
            <p:cNvSpPr/>
            <p:nvPr/>
          </p:nvSpPr>
          <p:spPr bwMode="auto">
            <a:xfrm>
              <a:off x="6500813" y="1057277"/>
              <a:ext cx="64294" cy="45719"/>
            </a:xfrm>
            <a:custGeom>
              <a:avLst/>
              <a:gdLst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16669 w 57150"/>
                <a:gd name="connsiteY4" fmla="*/ 0 h 71437"/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35719 w 57150"/>
                <a:gd name="connsiteY4" fmla="*/ 21431 h 71437"/>
                <a:gd name="connsiteX5" fmla="*/ 16669 w 57150"/>
                <a:gd name="connsiteY5" fmla="*/ 0 h 71437"/>
                <a:gd name="connsiteX0" fmla="*/ 16669 w 64294"/>
                <a:gd name="connsiteY0" fmla="*/ 0 h 71437"/>
                <a:gd name="connsiteX1" fmla="*/ 0 w 64294"/>
                <a:gd name="connsiteY1" fmla="*/ 52387 h 71437"/>
                <a:gd name="connsiteX2" fmla="*/ 45244 w 64294"/>
                <a:gd name="connsiteY2" fmla="*/ 71437 h 71437"/>
                <a:gd name="connsiteX3" fmla="*/ 57150 w 64294"/>
                <a:gd name="connsiteY3" fmla="*/ 38100 h 71437"/>
                <a:gd name="connsiteX4" fmla="*/ 64294 w 64294"/>
                <a:gd name="connsiteY4" fmla="*/ 14288 h 71437"/>
                <a:gd name="connsiteX5" fmla="*/ 16669 w 64294"/>
                <a:gd name="connsiteY5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294" h="71437">
                  <a:moveTo>
                    <a:pt x="16669" y="0"/>
                  </a:moveTo>
                  <a:lnTo>
                    <a:pt x="0" y="52387"/>
                  </a:lnTo>
                  <a:lnTo>
                    <a:pt x="45244" y="71437"/>
                  </a:lnTo>
                  <a:lnTo>
                    <a:pt x="57150" y="38100"/>
                  </a:lnTo>
                  <a:lnTo>
                    <a:pt x="64294" y="14288"/>
                  </a:lnTo>
                  <a:lnTo>
                    <a:pt x="16669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8" name="Freeform: Shape 155"/>
            <p:cNvSpPr/>
            <p:nvPr/>
          </p:nvSpPr>
          <p:spPr bwMode="auto">
            <a:xfrm>
              <a:off x="7027863" y="1868806"/>
              <a:ext cx="64294" cy="45719"/>
            </a:xfrm>
            <a:custGeom>
              <a:avLst/>
              <a:gdLst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16669 w 57150"/>
                <a:gd name="connsiteY4" fmla="*/ 0 h 71437"/>
                <a:gd name="connsiteX0" fmla="*/ 16669 w 57150"/>
                <a:gd name="connsiteY0" fmla="*/ 0 h 71437"/>
                <a:gd name="connsiteX1" fmla="*/ 0 w 57150"/>
                <a:gd name="connsiteY1" fmla="*/ 52387 h 71437"/>
                <a:gd name="connsiteX2" fmla="*/ 45244 w 57150"/>
                <a:gd name="connsiteY2" fmla="*/ 71437 h 71437"/>
                <a:gd name="connsiteX3" fmla="*/ 57150 w 57150"/>
                <a:gd name="connsiteY3" fmla="*/ 38100 h 71437"/>
                <a:gd name="connsiteX4" fmla="*/ 35719 w 57150"/>
                <a:gd name="connsiteY4" fmla="*/ 21431 h 71437"/>
                <a:gd name="connsiteX5" fmla="*/ 16669 w 57150"/>
                <a:gd name="connsiteY5" fmla="*/ 0 h 71437"/>
                <a:gd name="connsiteX0" fmla="*/ 16669 w 64294"/>
                <a:gd name="connsiteY0" fmla="*/ 0 h 71437"/>
                <a:gd name="connsiteX1" fmla="*/ 0 w 64294"/>
                <a:gd name="connsiteY1" fmla="*/ 52387 h 71437"/>
                <a:gd name="connsiteX2" fmla="*/ 45244 w 64294"/>
                <a:gd name="connsiteY2" fmla="*/ 71437 h 71437"/>
                <a:gd name="connsiteX3" fmla="*/ 57150 w 64294"/>
                <a:gd name="connsiteY3" fmla="*/ 38100 h 71437"/>
                <a:gd name="connsiteX4" fmla="*/ 64294 w 64294"/>
                <a:gd name="connsiteY4" fmla="*/ 14288 h 71437"/>
                <a:gd name="connsiteX5" fmla="*/ 16669 w 64294"/>
                <a:gd name="connsiteY5" fmla="*/ 0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294" h="71437">
                  <a:moveTo>
                    <a:pt x="16669" y="0"/>
                  </a:moveTo>
                  <a:lnTo>
                    <a:pt x="0" y="52387"/>
                  </a:lnTo>
                  <a:lnTo>
                    <a:pt x="45244" y="71437"/>
                  </a:lnTo>
                  <a:lnTo>
                    <a:pt x="57150" y="38100"/>
                  </a:lnTo>
                  <a:lnTo>
                    <a:pt x="64294" y="14288"/>
                  </a:lnTo>
                  <a:lnTo>
                    <a:pt x="16669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49" name="Freeform: Shape 156"/>
            <p:cNvSpPr/>
            <p:nvPr/>
          </p:nvSpPr>
          <p:spPr bwMode="auto">
            <a:xfrm>
              <a:off x="8698706" y="2124075"/>
              <a:ext cx="100013" cy="52388"/>
            </a:xfrm>
            <a:custGeom>
              <a:avLst/>
              <a:gdLst>
                <a:gd name="connsiteX0" fmla="*/ 19050 w 100013"/>
                <a:gd name="connsiteY0" fmla="*/ 0 h 52388"/>
                <a:gd name="connsiteX1" fmla="*/ 100013 w 100013"/>
                <a:gd name="connsiteY1" fmla="*/ 16669 h 52388"/>
                <a:gd name="connsiteX2" fmla="*/ 69057 w 100013"/>
                <a:gd name="connsiteY2" fmla="*/ 47625 h 52388"/>
                <a:gd name="connsiteX3" fmla="*/ 0 w 100013"/>
                <a:gd name="connsiteY3" fmla="*/ 52388 h 52388"/>
                <a:gd name="connsiteX4" fmla="*/ 19050 w 100013"/>
                <a:gd name="connsiteY4" fmla="*/ 0 h 5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13" h="52388">
                  <a:moveTo>
                    <a:pt x="19050" y="0"/>
                  </a:moveTo>
                  <a:lnTo>
                    <a:pt x="100013" y="16669"/>
                  </a:lnTo>
                  <a:lnTo>
                    <a:pt x="69057" y="47625"/>
                  </a:lnTo>
                  <a:lnTo>
                    <a:pt x="0" y="52388"/>
                  </a:lnTo>
                  <a:lnTo>
                    <a:pt x="1905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50" name="Freeform: Shape 157"/>
            <p:cNvSpPr/>
            <p:nvPr/>
          </p:nvSpPr>
          <p:spPr bwMode="auto">
            <a:xfrm>
              <a:off x="8955881" y="2662238"/>
              <a:ext cx="73819" cy="23812"/>
            </a:xfrm>
            <a:custGeom>
              <a:avLst/>
              <a:gdLst>
                <a:gd name="connsiteX0" fmla="*/ 0 w 73819"/>
                <a:gd name="connsiteY0" fmla="*/ 0 h 23812"/>
                <a:gd name="connsiteX1" fmla="*/ 73819 w 73819"/>
                <a:gd name="connsiteY1" fmla="*/ 23812 h 23812"/>
                <a:gd name="connsiteX2" fmla="*/ 66675 w 73819"/>
                <a:gd name="connsiteY2" fmla="*/ 0 h 23812"/>
                <a:gd name="connsiteX3" fmla="*/ 0 w 73819"/>
                <a:gd name="connsiteY3" fmla="*/ 0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819" h="23812">
                  <a:moveTo>
                    <a:pt x="0" y="0"/>
                  </a:moveTo>
                  <a:lnTo>
                    <a:pt x="73819" y="23812"/>
                  </a:lnTo>
                  <a:lnTo>
                    <a:pt x="666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51" name="Freeform: Shape 158"/>
            <p:cNvSpPr/>
            <p:nvPr/>
          </p:nvSpPr>
          <p:spPr bwMode="auto">
            <a:xfrm>
              <a:off x="7369969" y="3500438"/>
              <a:ext cx="150019" cy="185737"/>
            </a:xfrm>
            <a:custGeom>
              <a:avLst/>
              <a:gdLst>
                <a:gd name="connsiteX0" fmla="*/ 145256 w 145256"/>
                <a:gd name="connsiteY0" fmla="*/ 0 h 150019"/>
                <a:gd name="connsiteX1" fmla="*/ 95250 w 145256"/>
                <a:gd name="connsiteY1" fmla="*/ 66675 h 150019"/>
                <a:gd name="connsiteX2" fmla="*/ 59531 w 145256"/>
                <a:gd name="connsiteY2" fmla="*/ 92869 h 150019"/>
                <a:gd name="connsiteX3" fmla="*/ 73819 w 145256"/>
                <a:gd name="connsiteY3" fmla="*/ 116682 h 150019"/>
                <a:gd name="connsiteX4" fmla="*/ 42862 w 145256"/>
                <a:gd name="connsiteY4" fmla="*/ 150019 h 150019"/>
                <a:gd name="connsiteX5" fmla="*/ 14287 w 145256"/>
                <a:gd name="connsiteY5" fmla="*/ 138113 h 150019"/>
                <a:gd name="connsiteX6" fmla="*/ 0 w 145256"/>
                <a:gd name="connsiteY6" fmla="*/ 138113 h 150019"/>
                <a:gd name="connsiteX7" fmla="*/ 16669 w 145256"/>
                <a:gd name="connsiteY7" fmla="*/ 100013 h 150019"/>
                <a:gd name="connsiteX8" fmla="*/ 30956 w 145256"/>
                <a:gd name="connsiteY8" fmla="*/ 61913 h 150019"/>
                <a:gd name="connsiteX9" fmla="*/ 40481 w 145256"/>
                <a:gd name="connsiteY9" fmla="*/ 40482 h 150019"/>
                <a:gd name="connsiteX10" fmla="*/ 47625 w 145256"/>
                <a:gd name="connsiteY10" fmla="*/ 30957 h 150019"/>
                <a:gd name="connsiteX11" fmla="*/ 145256 w 145256"/>
                <a:gd name="connsiteY11" fmla="*/ 0 h 150019"/>
                <a:gd name="connsiteX0" fmla="*/ 150019 w 150019"/>
                <a:gd name="connsiteY0" fmla="*/ 0 h 185737"/>
                <a:gd name="connsiteX1" fmla="*/ 95250 w 150019"/>
                <a:gd name="connsiteY1" fmla="*/ 102393 h 185737"/>
                <a:gd name="connsiteX2" fmla="*/ 59531 w 150019"/>
                <a:gd name="connsiteY2" fmla="*/ 128587 h 185737"/>
                <a:gd name="connsiteX3" fmla="*/ 73819 w 150019"/>
                <a:gd name="connsiteY3" fmla="*/ 152400 h 185737"/>
                <a:gd name="connsiteX4" fmla="*/ 42862 w 150019"/>
                <a:gd name="connsiteY4" fmla="*/ 185737 h 185737"/>
                <a:gd name="connsiteX5" fmla="*/ 14287 w 150019"/>
                <a:gd name="connsiteY5" fmla="*/ 173831 h 185737"/>
                <a:gd name="connsiteX6" fmla="*/ 0 w 150019"/>
                <a:gd name="connsiteY6" fmla="*/ 173831 h 185737"/>
                <a:gd name="connsiteX7" fmla="*/ 16669 w 150019"/>
                <a:gd name="connsiteY7" fmla="*/ 135731 h 185737"/>
                <a:gd name="connsiteX8" fmla="*/ 30956 w 150019"/>
                <a:gd name="connsiteY8" fmla="*/ 97631 h 185737"/>
                <a:gd name="connsiteX9" fmla="*/ 40481 w 150019"/>
                <a:gd name="connsiteY9" fmla="*/ 76200 h 185737"/>
                <a:gd name="connsiteX10" fmla="*/ 47625 w 150019"/>
                <a:gd name="connsiteY10" fmla="*/ 66675 h 185737"/>
                <a:gd name="connsiteX11" fmla="*/ 150019 w 150019"/>
                <a:gd name="connsiteY11" fmla="*/ 0 h 185737"/>
                <a:gd name="connsiteX0" fmla="*/ 150019 w 150019"/>
                <a:gd name="connsiteY0" fmla="*/ 0 h 185737"/>
                <a:gd name="connsiteX1" fmla="*/ 116681 w 150019"/>
                <a:gd name="connsiteY1" fmla="*/ 66675 h 185737"/>
                <a:gd name="connsiteX2" fmla="*/ 95250 w 150019"/>
                <a:gd name="connsiteY2" fmla="*/ 102393 h 185737"/>
                <a:gd name="connsiteX3" fmla="*/ 59531 w 150019"/>
                <a:gd name="connsiteY3" fmla="*/ 128587 h 185737"/>
                <a:gd name="connsiteX4" fmla="*/ 73819 w 150019"/>
                <a:gd name="connsiteY4" fmla="*/ 152400 h 185737"/>
                <a:gd name="connsiteX5" fmla="*/ 42862 w 150019"/>
                <a:gd name="connsiteY5" fmla="*/ 185737 h 185737"/>
                <a:gd name="connsiteX6" fmla="*/ 14287 w 150019"/>
                <a:gd name="connsiteY6" fmla="*/ 173831 h 185737"/>
                <a:gd name="connsiteX7" fmla="*/ 0 w 150019"/>
                <a:gd name="connsiteY7" fmla="*/ 173831 h 185737"/>
                <a:gd name="connsiteX8" fmla="*/ 16669 w 150019"/>
                <a:gd name="connsiteY8" fmla="*/ 135731 h 185737"/>
                <a:gd name="connsiteX9" fmla="*/ 30956 w 150019"/>
                <a:gd name="connsiteY9" fmla="*/ 97631 h 185737"/>
                <a:gd name="connsiteX10" fmla="*/ 40481 w 150019"/>
                <a:gd name="connsiteY10" fmla="*/ 76200 h 185737"/>
                <a:gd name="connsiteX11" fmla="*/ 47625 w 150019"/>
                <a:gd name="connsiteY11" fmla="*/ 66675 h 185737"/>
                <a:gd name="connsiteX12" fmla="*/ 150019 w 150019"/>
                <a:gd name="connsiteY12" fmla="*/ 0 h 185737"/>
                <a:gd name="connsiteX0" fmla="*/ 150019 w 150019"/>
                <a:gd name="connsiteY0" fmla="*/ 0 h 185737"/>
                <a:gd name="connsiteX1" fmla="*/ 150019 w 150019"/>
                <a:gd name="connsiteY1" fmla="*/ 19050 h 185737"/>
                <a:gd name="connsiteX2" fmla="*/ 95250 w 150019"/>
                <a:gd name="connsiteY2" fmla="*/ 102393 h 185737"/>
                <a:gd name="connsiteX3" fmla="*/ 59531 w 150019"/>
                <a:gd name="connsiteY3" fmla="*/ 128587 h 185737"/>
                <a:gd name="connsiteX4" fmla="*/ 73819 w 150019"/>
                <a:gd name="connsiteY4" fmla="*/ 152400 h 185737"/>
                <a:gd name="connsiteX5" fmla="*/ 42862 w 150019"/>
                <a:gd name="connsiteY5" fmla="*/ 185737 h 185737"/>
                <a:gd name="connsiteX6" fmla="*/ 14287 w 150019"/>
                <a:gd name="connsiteY6" fmla="*/ 173831 h 185737"/>
                <a:gd name="connsiteX7" fmla="*/ 0 w 150019"/>
                <a:gd name="connsiteY7" fmla="*/ 173831 h 185737"/>
                <a:gd name="connsiteX8" fmla="*/ 16669 w 150019"/>
                <a:gd name="connsiteY8" fmla="*/ 135731 h 185737"/>
                <a:gd name="connsiteX9" fmla="*/ 30956 w 150019"/>
                <a:gd name="connsiteY9" fmla="*/ 97631 h 185737"/>
                <a:gd name="connsiteX10" fmla="*/ 40481 w 150019"/>
                <a:gd name="connsiteY10" fmla="*/ 76200 h 185737"/>
                <a:gd name="connsiteX11" fmla="*/ 47625 w 150019"/>
                <a:gd name="connsiteY11" fmla="*/ 66675 h 185737"/>
                <a:gd name="connsiteX12" fmla="*/ 150019 w 150019"/>
                <a:gd name="connsiteY12" fmla="*/ 0 h 18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0019" h="185737">
                  <a:moveTo>
                    <a:pt x="150019" y="0"/>
                  </a:moveTo>
                  <a:lnTo>
                    <a:pt x="150019" y="19050"/>
                  </a:lnTo>
                  <a:lnTo>
                    <a:pt x="95250" y="102393"/>
                  </a:lnTo>
                  <a:lnTo>
                    <a:pt x="59531" y="128587"/>
                  </a:lnTo>
                  <a:lnTo>
                    <a:pt x="73819" y="152400"/>
                  </a:lnTo>
                  <a:lnTo>
                    <a:pt x="42862" y="185737"/>
                  </a:lnTo>
                  <a:lnTo>
                    <a:pt x="14287" y="173831"/>
                  </a:lnTo>
                  <a:lnTo>
                    <a:pt x="0" y="173831"/>
                  </a:lnTo>
                  <a:lnTo>
                    <a:pt x="16669" y="135731"/>
                  </a:lnTo>
                  <a:lnTo>
                    <a:pt x="30956" y="97631"/>
                  </a:lnTo>
                  <a:lnTo>
                    <a:pt x="40481" y="76200"/>
                  </a:lnTo>
                  <a:lnTo>
                    <a:pt x="47625" y="66675"/>
                  </a:lnTo>
                  <a:lnTo>
                    <a:pt x="15001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: Shape 159"/>
            <p:cNvSpPr/>
            <p:nvPr/>
          </p:nvSpPr>
          <p:spPr bwMode="auto">
            <a:xfrm>
              <a:off x="7400925" y="3650456"/>
              <a:ext cx="71438" cy="135732"/>
            </a:xfrm>
            <a:custGeom>
              <a:avLst/>
              <a:gdLst>
                <a:gd name="connsiteX0" fmla="*/ 9525 w 71438"/>
                <a:gd name="connsiteY0" fmla="*/ 0 h 104775"/>
                <a:gd name="connsiteX1" fmla="*/ 0 w 71438"/>
                <a:gd name="connsiteY1" fmla="*/ 104775 h 104775"/>
                <a:gd name="connsiteX2" fmla="*/ 50006 w 71438"/>
                <a:gd name="connsiteY2" fmla="*/ 85725 h 104775"/>
                <a:gd name="connsiteX3" fmla="*/ 71438 w 71438"/>
                <a:gd name="connsiteY3" fmla="*/ 26193 h 104775"/>
                <a:gd name="connsiteX4" fmla="*/ 9525 w 71438"/>
                <a:gd name="connsiteY4" fmla="*/ 0 h 104775"/>
                <a:gd name="connsiteX0" fmla="*/ 9525 w 71438"/>
                <a:gd name="connsiteY0" fmla="*/ 0 h 104775"/>
                <a:gd name="connsiteX1" fmla="*/ 0 w 71438"/>
                <a:gd name="connsiteY1" fmla="*/ 104775 h 104775"/>
                <a:gd name="connsiteX2" fmla="*/ 50006 w 71438"/>
                <a:gd name="connsiteY2" fmla="*/ 85725 h 104775"/>
                <a:gd name="connsiteX3" fmla="*/ 71438 w 71438"/>
                <a:gd name="connsiteY3" fmla="*/ 26193 h 104775"/>
                <a:gd name="connsiteX4" fmla="*/ 35719 w 71438"/>
                <a:gd name="connsiteY4" fmla="*/ 14287 h 104775"/>
                <a:gd name="connsiteX5" fmla="*/ 9525 w 71438"/>
                <a:gd name="connsiteY5" fmla="*/ 0 h 104775"/>
                <a:gd name="connsiteX0" fmla="*/ 9525 w 71438"/>
                <a:gd name="connsiteY0" fmla="*/ 30957 h 135732"/>
                <a:gd name="connsiteX1" fmla="*/ 0 w 71438"/>
                <a:gd name="connsiteY1" fmla="*/ 135732 h 135732"/>
                <a:gd name="connsiteX2" fmla="*/ 50006 w 71438"/>
                <a:gd name="connsiteY2" fmla="*/ 116682 h 135732"/>
                <a:gd name="connsiteX3" fmla="*/ 71438 w 71438"/>
                <a:gd name="connsiteY3" fmla="*/ 57150 h 135732"/>
                <a:gd name="connsiteX4" fmla="*/ 47625 w 71438"/>
                <a:gd name="connsiteY4" fmla="*/ 0 h 135732"/>
                <a:gd name="connsiteX5" fmla="*/ 9525 w 71438"/>
                <a:gd name="connsiteY5" fmla="*/ 30957 h 13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438" h="135732">
                  <a:moveTo>
                    <a:pt x="9525" y="30957"/>
                  </a:moveTo>
                  <a:lnTo>
                    <a:pt x="0" y="135732"/>
                  </a:lnTo>
                  <a:lnTo>
                    <a:pt x="50006" y="116682"/>
                  </a:lnTo>
                  <a:lnTo>
                    <a:pt x="71438" y="57150"/>
                  </a:lnTo>
                  <a:lnTo>
                    <a:pt x="47625" y="0"/>
                  </a:lnTo>
                  <a:lnTo>
                    <a:pt x="9525" y="3095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: Shape 160"/>
            <p:cNvSpPr/>
            <p:nvPr/>
          </p:nvSpPr>
          <p:spPr bwMode="auto">
            <a:xfrm>
              <a:off x="6822281" y="4107656"/>
              <a:ext cx="152400" cy="373857"/>
            </a:xfrm>
            <a:custGeom>
              <a:avLst/>
              <a:gdLst>
                <a:gd name="connsiteX0" fmla="*/ 116682 w 152400"/>
                <a:gd name="connsiteY0" fmla="*/ 26194 h 373857"/>
                <a:gd name="connsiteX1" fmla="*/ 71438 w 152400"/>
                <a:gd name="connsiteY1" fmla="*/ 0 h 373857"/>
                <a:gd name="connsiteX2" fmla="*/ 0 w 152400"/>
                <a:gd name="connsiteY2" fmla="*/ 0 h 373857"/>
                <a:gd name="connsiteX3" fmla="*/ 2382 w 152400"/>
                <a:gd name="connsiteY3" fmla="*/ 47625 h 373857"/>
                <a:gd name="connsiteX4" fmla="*/ 16669 w 152400"/>
                <a:gd name="connsiteY4" fmla="*/ 61913 h 373857"/>
                <a:gd name="connsiteX5" fmla="*/ 33338 w 152400"/>
                <a:gd name="connsiteY5" fmla="*/ 57150 h 373857"/>
                <a:gd name="connsiteX6" fmla="*/ 45244 w 152400"/>
                <a:gd name="connsiteY6" fmla="*/ 88107 h 373857"/>
                <a:gd name="connsiteX7" fmla="*/ 45244 w 152400"/>
                <a:gd name="connsiteY7" fmla="*/ 88107 h 373857"/>
                <a:gd name="connsiteX8" fmla="*/ 116682 w 152400"/>
                <a:gd name="connsiteY8" fmla="*/ 204788 h 373857"/>
                <a:gd name="connsiteX9" fmla="*/ 107157 w 152400"/>
                <a:gd name="connsiteY9" fmla="*/ 254794 h 373857"/>
                <a:gd name="connsiteX10" fmla="*/ 45244 w 152400"/>
                <a:gd name="connsiteY10" fmla="*/ 323850 h 373857"/>
                <a:gd name="connsiteX11" fmla="*/ 45244 w 152400"/>
                <a:gd name="connsiteY11" fmla="*/ 373857 h 373857"/>
                <a:gd name="connsiteX12" fmla="*/ 95250 w 152400"/>
                <a:gd name="connsiteY12" fmla="*/ 338138 h 373857"/>
                <a:gd name="connsiteX13" fmla="*/ 121444 w 152400"/>
                <a:gd name="connsiteY13" fmla="*/ 321469 h 373857"/>
                <a:gd name="connsiteX14" fmla="*/ 152400 w 152400"/>
                <a:gd name="connsiteY14" fmla="*/ 273844 h 373857"/>
                <a:gd name="connsiteX15" fmla="*/ 150019 w 152400"/>
                <a:gd name="connsiteY15" fmla="*/ 221457 h 373857"/>
                <a:gd name="connsiteX16" fmla="*/ 126207 w 152400"/>
                <a:gd name="connsiteY16" fmla="*/ 185738 h 373857"/>
                <a:gd name="connsiteX17" fmla="*/ 69057 w 152400"/>
                <a:gd name="connsiteY17" fmla="*/ 114300 h 373857"/>
                <a:gd name="connsiteX18" fmla="*/ 76200 w 152400"/>
                <a:gd name="connsiteY18" fmla="*/ 78582 h 373857"/>
                <a:gd name="connsiteX19" fmla="*/ 116682 w 152400"/>
                <a:gd name="connsiteY19" fmla="*/ 26194 h 37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2400" h="373857">
                  <a:moveTo>
                    <a:pt x="116682" y="26194"/>
                  </a:moveTo>
                  <a:lnTo>
                    <a:pt x="71438" y="0"/>
                  </a:lnTo>
                  <a:lnTo>
                    <a:pt x="0" y="0"/>
                  </a:lnTo>
                  <a:lnTo>
                    <a:pt x="2382" y="47625"/>
                  </a:lnTo>
                  <a:lnTo>
                    <a:pt x="16669" y="61913"/>
                  </a:lnTo>
                  <a:lnTo>
                    <a:pt x="33338" y="57150"/>
                  </a:lnTo>
                  <a:lnTo>
                    <a:pt x="45244" y="88107"/>
                  </a:lnTo>
                  <a:lnTo>
                    <a:pt x="45244" y="88107"/>
                  </a:lnTo>
                  <a:lnTo>
                    <a:pt x="116682" y="204788"/>
                  </a:lnTo>
                  <a:lnTo>
                    <a:pt x="107157" y="254794"/>
                  </a:lnTo>
                  <a:lnTo>
                    <a:pt x="45244" y="323850"/>
                  </a:lnTo>
                  <a:lnTo>
                    <a:pt x="45244" y="373857"/>
                  </a:lnTo>
                  <a:lnTo>
                    <a:pt x="95250" y="338138"/>
                  </a:lnTo>
                  <a:lnTo>
                    <a:pt x="121444" y="321469"/>
                  </a:lnTo>
                  <a:lnTo>
                    <a:pt x="152400" y="273844"/>
                  </a:lnTo>
                  <a:lnTo>
                    <a:pt x="150019" y="221457"/>
                  </a:lnTo>
                  <a:lnTo>
                    <a:pt x="126207" y="185738"/>
                  </a:lnTo>
                  <a:lnTo>
                    <a:pt x="69057" y="114300"/>
                  </a:lnTo>
                  <a:lnTo>
                    <a:pt x="76200" y="78582"/>
                  </a:lnTo>
                  <a:lnTo>
                    <a:pt x="116682" y="2619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: Shape 161"/>
            <p:cNvSpPr/>
            <p:nvPr/>
          </p:nvSpPr>
          <p:spPr bwMode="auto">
            <a:xfrm>
              <a:off x="6765131" y="4119563"/>
              <a:ext cx="173832" cy="221456"/>
            </a:xfrm>
            <a:custGeom>
              <a:avLst/>
              <a:gdLst>
                <a:gd name="connsiteX0" fmla="*/ 50007 w 173832"/>
                <a:gd name="connsiteY0" fmla="*/ 0 h 221456"/>
                <a:gd name="connsiteX1" fmla="*/ 0 w 173832"/>
                <a:gd name="connsiteY1" fmla="*/ 57150 h 221456"/>
                <a:gd name="connsiteX2" fmla="*/ 14288 w 173832"/>
                <a:gd name="connsiteY2" fmla="*/ 88106 h 221456"/>
                <a:gd name="connsiteX3" fmla="*/ 14288 w 173832"/>
                <a:gd name="connsiteY3" fmla="*/ 138112 h 221456"/>
                <a:gd name="connsiteX4" fmla="*/ 45244 w 173832"/>
                <a:gd name="connsiteY4" fmla="*/ 123825 h 221456"/>
                <a:gd name="connsiteX5" fmla="*/ 59532 w 173832"/>
                <a:gd name="connsiteY5" fmla="*/ 121443 h 221456"/>
                <a:gd name="connsiteX6" fmla="*/ 78582 w 173832"/>
                <a:gd name="connsiteY6" fmla="*/ 100012 h 221456"/>
                <a:gd name="connsiteX7" fmla="*/ 102394 w 173832"/>
                <a:gd name="connsiteY7" fmla="*/ 135731 h 221456"/>
                <a:gd name="connsiteX8" fmla="*/ 121444 w 173832"/>
                <a:gd name="connsiteY8" fmla="*/ 176212 h 221456"/>
                <a:gd name="connsiteX9" fmla="*/ 130969 w 173832"/>
                <a:gd name="connsiteY9" fmla="*/ 219075 h 221456"/>
                <a:gd name="connsiteX10" fmla="*/ 169069 w 173832"/>
                <a:gd name="connsiteY10" fmla="*/ 221456 h 221456"/>
                <a:gd name="connsiteX11" fmla="*/ 173832 w 173832"/>
                <a:gd name="connsiteY11" fmla="*/ 195262 h 221456"/>
                <a:gd name="connsiteX12" fmla="*/ 133350 w 173832"/>
                <a:gd name="connsiteY12" fmla="*/ 135731 h 221456"/>
                <a:gd name="connsiteX13" fmla="*/ 90488 w 173832"/>
                <a:gd name="connsiteY13" fmla="*/ 47625 h 221456"/>
                <a:gd name="connsiteX14" fmla="*/ 78582 w 173832"/>
                <a:gd name="connsiteY14" fmla="*/ 50006 h 221456"/>
                <a:gd name="connsiteX15" fmla="*/ 50007 w 173832"/>
                <a:gd name="connsiteY15" fmla="*/ 0 h 221456"/>
                <a:gd name="connsiteX0" fmla="*/ 50007 w 173832"/>
                <a:gd name="connsiteY0" fmla="*/ 0 h 221456"/>
                <a:gd name="connsiteX1" fmla="*/ 0 w 173832"/>
                <a:gd name="connsiteY1" fmla="*/ 57150 h 221456"/>
                <a:gd name="connsiteX2" fmla="*/ 14288 w 173832"/>
                <a:gd name="connsiteY2" fmla="*/ 88106 h 221456"/>
                <a:gd name="connsiteX3" fmla="*/ 14288 w 173832"/>
                <a:gd name="connsiteY3" fmla="*/ 138112 h 221456"/>
                <a:gd name="connsiteX4" fmla="*/ 45244 w 173832"/>
                <a:gd name="connsiteY4" fmla="*/ 123825 h 221456"/>
                <a:gd name="connsiteX5" fmla="*/ 59532 w 173832"/>
                <a:gd name="connsiteY5" fmla="*/ 121443 h 221456"/>
                <a:gd name="connsiteX6" fmla="*/ 78582 w 173832"/>
                <a:gd name="connsiteY6" fmla="*/ 100012 h 221456"/>
                <a:gd name="connsiteX7" fmla="*/ 102394 w 173832"/>
                <a:gd name="connsiteY7" fmla="*/ 135731 h 221456"/>
                <a:gd name="connsiteX8" fmla="*/ 121444 w 173832"/>
                <a:gd name="connsiteY8" fmla="*/ 176212 h 221456"/>
                <a:gd name="connsiteX9" fmla="*/ 130969 w 173832"/>
                <a:gd name="connsiteY9" fmla="*/ 219075 h 221456"/>
                <a:gd name="connsiteX10" fmla="*/ 169069 w 173832"/>
                <a:gd name="connsiteY10" fmla="*/ 221456 h 221456"/>
                <a:gd name="connsiteX11" fmla="*/ 173832 w 173832"/>
                <a:gd name="connsiteY11" fmla="*/ 195262 h 221456"/>
                <a:gd name="connsiteX12" fmla="*/ 133350 w 173832"/>
                <a:gd name="connsiteY12" fmla="*/ 135731 h 221456"/>
                <a:gd name="connsiteX13" fmla="*/ 90488 w 173832"/>
                <a:gd name="connsiteY13" fmla="*/ 47625 h 221456"/>
                <a:gd name="connsiteX14" fmla="*/ 78582 w 173832"/>
                <a:gd name="connsiteY14" fmla="*/ 50006 h 221456"/>
                <a:gd name="connsiteX15" fmla="*/ 61913 w 173832"/>
                <a:gd name="connsiteY15" fmla="*/ 28575 h 221456"/>
                <a:gd name="connsiteX16" fmla="*/ 50007 w 173832"/>
                <a:gd name="connsiteY16" fmla="*/ 0 h 221456"/>
                <a:gd name="connsiteX0" fmla="*/ 50007 w 173832"/>
                <a:gd name="connsiteY0" fmla="*/ 0 h 221456"/>
                <a:gd name="connsiteX1" fmla="*/ 0 w 173832"/>
                <a:gd name="connsiteY1" fmla="*/ 57150 h 221456"/>
                <a:gd name="connsiteX2" fmla="*/ 14288 w 173832"/>
                <a:gd name="connsiteY2" fmla="*/ 88106 h 221456"/>
                <a:gd name="connsiteX3" fmla="*/ 14288 w 173832"/>
                <a:gd name="connsiteY3" fmla="*/ 138112 h 221456"/>
                <a:gd name="connsiteX4" fmla="*/ 45244 w 173832"/>
                <a:gd name="connsiteY4" fmla="*/ 123825 h 221456"/>
                <a:gd name="connsiteX5" fmla="*/ 59532 w 173832"/>
                <a:gd name="connsiteY5" fmla="*/ 121443 h 221456"/>
                <a:gd name="connsiteX6" fmla="*/ 78582 w 173832"/>
                <a:gd name="connsiteY6" fmla="*/ 100012 h 221456"/>
                <a:gd name="connsiteX7" fmla="*/ 102394 w 173832"/>
                <a:gd name="connsiteY7" fmla="*/ 135731 h 221456"/>
                <a:gd name="connsiteX8" fmla="*/ 121444 w 173832"/>
                <a:gd name="connsiteY8" fmla="*/ 176212 h 221456"/>
                <a:gd name="connsiteX9" fmla="*/ 130969 w 173832"/>
                <a:gd name="connsiteY9" fmla="*/ 219075 h 221456"/>
                <a:gd name="connsiteX10" fmla="*/ 169069 w 173832"/>
                <a:gd name="connsiteY10" fmla="*/ 221456 h 221456"/>
                <a:gd name="connsiteX11" fmla="*/ 173832 w 173832"/>
                <a:gd name="connsiteY11" fmla="*/ 195262 h 221456"/>
                <a:gd name="connsiteX12" fmla="*/ 133350 w 173832"/>
                <a:gd name="connsiteY12" fmla="*/ 135731 h 221456"/>
                <a:gd name="connsiteX13" fmla="*/ 90488 w 173832"/>
                <a:gd name="connsiteY13" fmla="*/ 47625 h 221456"/>
                <a:gd name="connsiteX14" fmla="*/ 78582 w 173832"/>
                <a:gd name="connsiteY14" fmla="*/ 50006 h 221456"/>
                <a:gd name="connsiteX15" fmla="*/ 54769 w 173832"/>
                <a:gd name="connsiteY15" fmla="*/ 42863 h 221456"/>
                <a:gd name="connsiteX16" fmla="*/ 50007 w 173832"/>
                <a:gd name="connsiteY16" fmla="*/ 0 h 221456"/>
                <a:gd name="connsiteX0" fmla="*/ 50007 w 173832"/>
                <a:gd name="connsiteY0" fmla="*/ 0 h 221456"/>
                <a:gd name="connsiteX1" fmla="*/ 0 w 173832"/>
                <a:gd name="connsiteY1" fmla="*/ 57150 h 221456"/>
                <a:gd name="connsiteX2" fmla="*/ 14288 w 173832"/>
                <a:gd name="connsiteY2" fmla="*/ 88106 h 221456"/>
                <a:gd name="connsiteX3" fmla="*/ 14288 w 173832"/>
                <a:gd name="connsiteY3" fmla="*/ 138112 h 221456"/>
                <a:gd name="connsiteX4" fmla="*/ 45244 w 173832"/>
                <a:gd name="connsiteY4" fmla="*/ 123825 h 221456"/>
                <a:gd name="connsiteX5" fmla="*/ 59532 w 173832"/>
                <a:gd name="connsiteY5" fmla="*/ 121443 h 221456"/>
                <a:gd name="connsiteX6" fmla="*/ 78582 w 173832"/>
                <a:gd name="connsiteY6" fmla="*/ 100012 h 221456"/>
                <a:gd name="connsiteX7" fmla="*/ 102394 w 173832"/>
                <a:gd name="connsiteY7" fmla="*/ 135731 h 221456"/>
                <a:gd name="connsiteX8" fmla="*/ 121444 w 173832"/>
                <a:gd name="connsiteY8" fmla="*/ 176212 h 221456"/>
                <a:gd name="connsiteX9" fmla="*/ 130969 w 173832"/>
                <a:gd name="connsiteY9" fmla="*/ 219075 h 221456"/>
                <a:gd name="connsiteX10" fmla="*/ 169069 w 173832"/>
                <a:gd name="connsiteY10" fmla="*/ 221456 h 221456"/>
                <a:gd name="connsiteX11" fmla="*/ 173832 w 173832"/>
                <a:gd name="connsiteY11" fmla="*/ 195262 h 221456"/>
                <a:gd name="connsiteX12" fmla="*/ 133350 w 173832"/>
                <a:gd name="connsiteY12" fmla="*/ 135731 h 221456"/>
                <a:gd name="connsiteX13" fmla="*/ 90488 w 173832"/>
                <a:gd name="connsiteY13" fmla="*/ 47625 h 221456"/>
                <a:gd name="connsiteX14" fmla="*/ 73820 w 173832"/>
                <a:gd name="connsiteY14" fmla="*/ 69056 h 221456"/>
                <a:gd name="connsiteX15" fmla="*/ 54769 w 173832"/>
                <a:gd name="connsiteY15" fmla="*/ 42863 h 221456"/>
                <a:gd name="connsiteX16" fmla="*/ 50007 w 173832"/>
                <a:gd name="connsiteY16" fmla="*/ 0 h 221456"/>
                <a:gd name="connsiteX0" fmla="*/ 50007 w 173832"/>
                <a:gd name="connsiteY0" fmla="*/ 0 h 221456"/>
                <a:gd name="connsiteX1" fmla="*/ 0 w 173832"/>
                <a:gd name="connsiteY1" fmla="*/ 57150 h 221456"/>
                <a:gd name="connsiteX2" fmla="*/ 14288 w 173832"/>
                <a:gd name="connsiteY2" fmla="*/ 88106 h 221456"/>
                <a:gd name="connsiteX3" fmla="*/ 14288 w 173832"/>
                <a:gd name="connsiteY3" fmla="*/ 138112 h 221456"/>
                <a:gd name="connsiteX4" fmla="*/ 45244 w 173832"/>
                <a:gd name="connsiteY4" fmla="*/ 123825 h 221456"/>
                <a:gd name="connsiteX5" fmla="*/ 59532 w 173832"/>
                <a:gd name="connsiteY5" fmla="*/ 121443 h 221456"/>
                <a:gd name="connsiteX6" fmla="*/ 78582 w 173832"/>
                <a:gd name="connsiteY6" fmla="*/ 100012 h 221456"/>
                <a:gd name="connsiteX7" fmla="*/ 102394 w 173832"/>
                <a:gd name="connsiteY7" fmla="*/ 135731 h 221456"/>
                <a:gd name="connsiteX8" fmla="*/ 121444 w 173832"/>
                <a:gd name="connsiteY8" fmla="*/ 176212 h 221456"/>
                <a:gd name="connsiteX9" fmla="*/ 130969 w 173832"/>
                <a:gd name="connsiteY9" fmla="*/ 219075 h 221456"/>
                <a:gd name="connsiteX10" fmla="*/ 169069 w 173832"/>
                <a:gd name="connsiteY10" fmla="*/ 221456 h 221456"/>
                <a:gd name="connsiteX11" fmla="*/ 173832 w 173832"/>
                <a:gd name="connsiteY11" fmla="*/ 195262 h 221456"/>
                <a:gd name="connsiteX12" fmla="*/ 133350 w 173832"/>
                <a:gd name="connsiteY12" fmla="*/ 135731 h 221456"/>
                <a:gd name="connsiteX13" fmla="*/ 90488 w 173832"/>
                <a:gd name="connsiteY13" fmla="*/ 47625 h 221456"/>
                <a:gd name="connsiteX14" fmla="*/ 76201 w 173832"/>
                <a:gd name="connsiteY14" fmla="*/ 52387 h 221456"/>
                <a:gd name="connsiteX15" fmla="*/ 54769 w 173832"/>
                <a:gd name="connsiteY15" fmla="*/ 42863 h 221456"/>
                <a:gd name="connsiteX16" fmla="*/ 50007 w 173832"/>
                <a:gd name="connsiteY16" fmla="*/ 0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3832" h="221456">
                  <a:moveTo>
                    <a:pt x="50007" y="0"/>
                  </a:moveTo>
                  <a:lnTo>
                    <a:pt x="0" y="57150"/>
                  </a:lnTo>
                  <a:lnTo>
                    <a:pt x="14288" y="88106"/>
                  </a:lnTo>
                  <a:lnTo>
                    <a:pt x="14288" y="138112"/>
                  </a:lnTo>
                  <a:lnTo>
                    <a:pt x="45244" y="123825"/>
                  </a:lnTo>
                  <a:lnTo>
                    <a:pt x="59532" y="121443"/>
                  </a:lnTo>
                  <a:lnTo>
                    <a:pt x="78582" y="100012"/>
                  </a:lnTo>
                  <a:lnTo>
                    <a:pt x="102394" y="135731"/>
                  </a:lnTo>
                  <a:lnTo>
                    <a:pt x="121444" y="176212"/>
                  </a:lnTo>
                  <a:lnTo>
                    <a:pt x="130969" y="219075"/>
                  </a:lnTo>
                  <a:lnTo>
                    <a:pt x="169069" y="221456"/>
                  </a:lnTo>
                  <a:lnTo>
                    <a:pt x="173832" y="195262"/>
                  </a:lnTo>
                  <a:lnTo>
                    <a:pt x="133350" y="135731"/>
                  </a:lnTo>
                  <a:lnTo>
                    <a:pt x="90488" y="47625"/>
                  </a:lnTo>
                  <a:lnTo>
                    <a:pt x="76201" y="52387"/>
                  </a:lnTo>
                  <a:lnTo>
                    <a:pt x="54769" y="42863"/>
                  </a:lnTo>
                  <a:lnTo>
                    <a:pt x="50007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55" name="Freeform: Shape 162"/>
            <p:cNvSpPr/>
            <p:nvPr/>
          </p:nvSpPr>
          <p:spPr bwMode="auto">
            <a:xfrm>
              <a:off x="6686549" y="4048125"/>
              <a:ext cx="130970" cy="114300"/>
            </a:xfrm>
            <a:custGeom>
              <a:avLst/>
              <a:gdLst>
                <a:gd name="connsiteX0" fmla="*/ 0 w 107156"/>
                <a:gd name="connsiteY0" fmla="*/ 0 h 114300"/>
                <a:gd name="connsiteX1" fmla="*/ 19050 w 107156"/>
                <a:gd name="connsiteY1" fmla="*/ 54769 h 114300"/>
                <a:gd name="connsiteX2" fmla="*/ 50006 w 107156"/>
                <a:gd name="connsiteY2" fmla="*/ 92869 h 114300"/>
                <a:gd name="connsiteX3" fmla="*/ 66675 w 107156"/>
                <a:gd name="connsiteY3" fmla="*/ 114300 h 114300"/>
                <a:gd name="connsiteX4" fmla="*/ 107156 w 107156"/>
                <a:gd name="connsiteY4" fmla="*/ 76200 h 114300"/>
                <a:gd name="connsiteX5" fmla="*/ 107156 w 107156"/>
                <a:gd name="connsiteY5" fmla="*/ 47625 h 114300"/>
                <a:gd name="connsiteX6" fmla="*/ 71437 w 107156"/>
                <a:gd name="connsiteY6" fmla="*/ 0 h 114300"/>
                <a:gd name="connsiteX7" fmla="*/ 0 w 107156"/>
                <a:gd name="connsiteY7" fmla="*/ 0 h 114300"/>
                <a:gd name="connsiteX0" fmla="*/ 0 w 107156"/>
                <a:gd name="connsiteY0" fmla="*/ 0 h 114300"/>
                <a:gd name="connsiteX1" fmla="*/ 7143 w 107156"/>
                <a:gd name="connsiteY1" fmla="*/ 23813 h 114300"/>
                <a:gd name="connsiteX2" fmla="*/ 19050 w 107156"/>
                <a:gd name="connsiteY2" fmla="*/ 54769 h 114300"/>
                <a:gd name="connsiteX3" fmla="*/ 50006 w 107156"/>
                <a:gd name="connsiteY3" fmla="*/ 92869 h 114300"/>
                <a:gd name="connsiteX4" fmla="*/ 66675 w 107156"/>
                <a:gd name="connsiteY4" fmla="*/ 114300 h 114300"/>
                <a:gd name="connsiteX5" fmla="*/ 107156 w 107156"/>
                <a:gd name="connsiteY5" fmla="*/ 76200 h 114300"/>
                <a:gd name="connsiteX6" fmla="*/ 107156 w 107156"/>
                <a:gd name="connsiteY6" fmla="*/ 47625 h 114300"/>
                <a:gd name="connsiteX7" fmla="*/ 71437 w 107156"/>
                <a:gd name="connsiteY7" fmla="*/ 0 h 114300"/>
                <a:gd name="connsiteX8" fmla="*/ 0 w 107156"/>
                <a:gd name="connsiteY8" fmla="*/ 0 h 114300"/>
                <a:gd name="connsiteX0" fmla="*/ 23814 w 130970"/>
                <a:gd name="connsiteY0" fmla="*/ 0 h 114300"/>
                <a:gd name="connsiteX1" fmla="*/ 0 w 130970"/>
                <a:gd name="connsiteY1" fmla="*/ 21432 h 114300"/>
                <a:gd name="connsiteX2" fmla="*/ 42864 w 130970"/>
                <a:gd name="connsiteY2" fmla="*/ 54769 h 114300"/>
                <a:gd name="connsiteX3" fmla="*/ 73820 w 130970"/>
                <a:gd name="connsiteY3" fmla="*/ 92869 h 114300"/>
                <a:gd name="connsiteX4" fmla="*/ 90489 w 130970"/>
                <a:gd name="connsiteY4" fmla="*/ 114300 h 114300"/>
                <a:gd name="connsiteX5" fmla="*/ 130970 w 130970"/>
                <a:gd name="connsiteY5" fmla="*/ 76200 h 114300"/>
                <a:gd name="connsiteX6" fmla="*/ 130970 w 130970"/>
                <a:gd name="connsiteY6" fmla="*/ 47625 h 114300"/>
                <a:gd name="connsiteX7" fmla="*/ 95251 w 130970"/>
                <a:gd name="connsiteY7" fmla="*/ 0 h 114300"/>
                <a:gd name="connsiteX8" fmla="*/ 23814 w 130970"/>
                <a:gd name="connsiteY8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970" h="114300">
                  <a:moveTo>
                    <a:pt x="23814" y="0"/>
                  </a:moveTo>
                  <a:lnTo>
                    <a:pt x="0" y="21432"/>
                  </a:lnTo>
                  <a:lnTo>
                    <a:pt x="42864" y="54769"/>
                  </a:lnTo>
                  <a:lnTo>
                    <a:pt x="73820" y="92869"/>
                  </a:lnTo>
                  <a:lnTo>
                    <a:pt x="90489" y="114300"/>
                  </a:lnTo>
                  <a:lnTo>
                    <a:pt x="130970" y="76200"/>
                  </a:lnTo>
                  <a:lnTo>
                    <a:pt x="130970" y="47625"/>
                  </a:lnTo>
                  <a:lnTo>
                    <a:pt x="95251" y="0"/>
                  </a:lnTo>
                  <a:lnTo>
                    <a:pt x="23814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" name="Freeform: Shape 163"/>
            <p:cNvSpPr/>
            <p:nvPr/>
          </p:nvSpPr>
          <p:spPr bwMode="auto">
            <a:xfrm>
              <a:off x="6562725" y="3950494"/>
              <a:ext cx="180975" cy="476250"/>
            </a:xfrm>
            <a:custGeom>
              <a:avLst/>
              <a:gdLst>
                <a:gd name="connsiteX0" fmla="*/ 145256 w 180975"/>
                <a:gd name="connsiteY0" fmla="*/ 95250 h 381000"/>
                <a:gd name="connsiteX1" fmla="*/ 142875 w 180975"/>
                <a:gd name="connsiteY1" fmla="*/ 23812 h 381000"/>
                <a:gd name="connsiteX2" fmla="*/ 126206 w 180975"/>
                <a:gd name="connsiteY2" fmla="*/ 0 h 381000"/>
                <a:gd name="connsiteX3" fmla="*/ 107156 w 180975"/>
                <a:gd name="connsiteY3" fmla="*/ 50006 h 381000"/>
                <a:gd name="connsiteX4" fmla="*/ 64294 w 180975"/>
                <a:gd name="connsiteY4" fmla="*/ 61912 h 381000"/>
                <a:gd name="connsiteX5" fmla="*/ 64294 w 180975"/>
                <a:gd name="connsiteY5" fmla="*/ 88106 h 381000"/>
                <a:gd name="connsiteX6" fmla="*/ 42863 w 180975"/>
                <a:gd name="connsiteY6" fmla="*/ 128587 h 381000"/>
                <a:gd name="connsiteX7" fmla="*/ 26194 w 180975"/>
                <a:gd name="connsiteY7" fmla="*/ 157162 h 381000"/>
                <a:gd name="connsiteX8" fmla="*/ 14288 w 180975"/>
                <a:gd name="connsiteY8" fmla="*/ 176212 h 381000"/>
                <a:gd name="connsiteX9" fmla="*/ 9525 w 180975"/>
                <a:gd name="connsiteY9" fmla="*/ 200025 h 381000"/>
                <a:gd name="connsiteX10" fmla="*/ 0 w 180975"/>
                <a:gd name="connsiteY10" fmla="*/ 223837 h 381000"/>
                <a:gd name="connsiteX11" fmla="*/ 30956 w 180975"/>
                <a:gd name="connsiteY11" fmla="*/ 247650 h 381000"/>
                <a:gd name="connsiteX12" fmla="*/ 54769 w 180975"/>
                <a:gd name="connsiteY12" fmla="*/ 292894 h 381000"/>
                <a:gd name="connsiteX13" fmla="*/ 54769 w 180975"/>
                <a:gd name="connsiteY13" fmla="*/ 342900 h 381000"/>
                <a:gd name="connsiteX14" fmla="*/ 76200 w 180975"/>
                <a:gd name="connsiteY14" fmla="*/ 357187 h 381000"/>
                <a:gd name="connsiteX15" fmla="*/ 80963 w 180975"/>
                <a:gd name="connsiteY15" fmla="*/ 333375 h 381000"/>
                <a:gd name="connsiteX16" fmla="*/ 95250 w 180975"/>
                <a:gd name="connsiteY16" fmla="*/ 333375 h 381000"/>
                <a:gd name="connsiteX17" fmla="*/ 121444 w 180975"/>
                <a:gd name="connsiteY17" fmla="*/ 321469 h 381000"/>
                <a:gd name="connsiteX18" fmla="*/ 138113 w 180975"/>
                <a:gd name="connsiteY18" fmla="*/ 333375 h 381000"/>
                <a:gd name="connsiteX19" fmla="*/ 138113 w 180975"/>
                <a:gd name="connsiteY19" fmla="*/ 381000 h 381000"/>
                <a:gd name="connsiteX20" fmla="*/ 152400 w 180975"/>
                <a:gd name="connsiteY20" fmla="*/ 323850 h 381000"/>
                <a:gd name="connsiteX21" fmla="*/ 138113 w 180975"/>
                <a:gd name="connsiteY21" fmla="*/ 295275 h 381000"/>
                <a:gd name="connsiteX22" fmla="*/ 130969 w 180975"/>
                <a:gd name="connsiteY22" fmla="*/ 257175 h 381000"/>
                <a:gd name="connsiteX23" fmla="*/ 147638 w 180975"/>
                <a:gd name="connsiteY23" fmla="*/ 247650 h 381000"/>
                <a:gd name="connsiteX24" fmla="*/ 176213 w 180975"/>
                <a:gd name="connsiteY24" fmla="*/ 240506 h 381000"/>
                <a:gd name="connsiteX25" fmla="*/ 180975 w 180975"/>
                <a:gd name="connsiteY25" fmla="*/ 223837 h 381000"/>
                <a:gd name="connsiteX26" fmla="*/ 180975 w 180975"/>
                <a:gd name="connsiteY26" fmla="*/ 190500 h 381000"/>
                <a:gd name="connsiteX27" fmla="*/ 176213 w 180975"/>
                <a:gd name="connsiteY27" fmla="*/ 171450 h 381000"/>
                <a:gd name="connsiteX28" fmla="*/ 145256 w 180975"/>
                <a:gd name="connsiteY28" fmla="*/ 95250 h 381000"/>
                <a:gd name="connsiteX0" fmla="*/ 145256 w 180975"/>
                <a:gd name="connsiteY0" fmla="*/ 95250 h 381000"/>
                <a:gd name="connsiteX1" fmla="*/ 142875 w 180975"/>
                <a:gd name="connsiteY1" fmla="*/ 23812 h 381000"/>
                <a:gd name="connsiteX2" fmla="*/ 126206 w 180975"/>
                <a:gd name="connsiteY2" fmla="*/ 0 h 381000"/>
                <a:gd name="connsiteX3" fmla="*/ 107156 w 180975"/>
                <a:gd name="connsiteY3" fmla="*/ 50006 h 381000"/>
                <a:gd name="connsiteX4" fmla="*/ 64294 w 180975"/>
                <a:gd name="connsiteY4" fmla="*/ 61912 h 381000"/>
                <a:gd name="connsiteX5" fmla="*/ 64294 w 180975"/>
                <a:gd name="connsiteY5" fmla="*/ 88106 h 381000"/>
                <a:gd name="connsiteX6" fmla="*/ 42863 w 180975"/>
                <a:gd name="connsiteY6" fmla="*/ 128587 h 381000"/>
                <a:gd name="connsiteX7" fmla="*/ 26194 w 180975"/>
                <a:gd name="connsiteY7" fmla="*/ 157162 h 381000"/>
                <a:gd name="connsiteX8" fmla="*/ 14288 w 180975"/>
                <a:gd name="connsiteY8" fmla="*/ 176212 h 381000"/>
                <a:gd name="connsiteX9" fmla="*/ 9525 w 180975"/>
                <a:gd name="connsiteY9" fmla="*/ 200025 h 381000"/>
                <a:gd name="connsiteX10" fmla="*/ 0 w 180975"/>
                <a:gd name="connsiteY10" fmla="*/ 223837 h 381000"/>
                <a:gd name="connsiteX11" fmla="*/ 30956 w 180975"/>
                <a:gd name="connsiteY11" fmla="*/ 247650 h 381000"/>
                <a:gd name="connsiteX12" fmla="*/ 54769 w 180975"/>
                <a:gd name="connsiteY12" fmla="*/ 292894 h 381000"/>
                <a:gd name="connsiteX13" fmla="*/ 54769 w 180975"/>
                <a:gd name="connsiteY13" fmla="*/ 342900 h 381000"/>
                <a:gd name="connsiteX14" fmla="*/ 76200 w 180975"/>
                <a:gd name="connsiteY14" fmla="*/ 357187 h 381000"/>
                <a:gd name="connsiteX15" fmla="*/ 80963 w 180975"/>
                <a:gd name="connsiteY15" fmla="*/ 333375 h 381000"/>
                <a:gd name="connsiteX16" fmla="*/ 95250 w 180975"/>
                <a:gd name="connsiteY16" fmla="*/ 333375 h 381000"/>
                <a:gd name="connsiteX17" fmla="*/ 121444 w 180975"/>
                <a:gd name="connsiteY17" fmla="*/ 321469 h 381000"/>
                <a:gd name="connsiteX18" fmla="*/ 138113 w 180975"/>
                <a:gd name="connsiteY18" fmla="*/ 333375 h 381000"/>
                <a:gd name="connsiteX19" fmla="*/ 138113 w 180975"/>
                <a:gd name="connsiteY19" fmla="*/ 381000 h 381000"/>
                <a:gd name="connsiteX20" fmla="*/ 152400 w 180975"/>
                <a:gd name="connsiteY20" fmla="*/ 323850 h 381000"/>
                <a:gd name="connsiteX21" fmla="*/ 138113 w 180975"/>
                <a:gd name="connsiteY21" fmla="*/ 295275 h 381000"/>
                <a:gd name="connsiteX22" fmla="*/ 130969 w 180975"/>
                <a:gd name="connsiteY22" fmla="*/ 257175 h 381000"/>
                <a:gd name="connsiteX23" fmla="*/ 147638 w 180975"/>
                <a:gd name="connsiteY23" fmla="*/ 247650 h 381000"/>
                <a:gd name="connsiteX24" fmla="*/ 176213 w 180975"/>
                <a:gd name="connsiteY24" fmla="*/ 240506 h 381000"/>
                <a:gd name="connsiteX25" fmla="*/ 180975 w 180975"/>
                <a:gd name="connsiteY25" fmla="*/ 223837 h 381000"/>
                <a:gd name="connsiteX26" fmla="*/ 180975 w 180975"/>
                <a:gd name="connsiteY26" fmla="*/ 190500 h 381000"/>
                <a:gd name="connsiteX27" fmla="*/ 176213 w 180975"/>
                <a:gd name="connsiteY27" fmla="*/ 171450 h 381000"/>
                <a:gd name="connsiteX28" fmla="*/ 154781 w 180975"/>
                <a:gd name="connsiteY28" fmla="*/ 135731 h 381000"/>
                <a:gd name="connsiteX29" fmla="*/ 145256 w 180975"/>
                <a:gd name="connsiteY29" fmla="*/ 95250 h 381000"/>
                <a:gd name="connsiteX0" fmla="*/ 145256 w 180975"/>
                <a:gd name="connsiteY0" fmla="*/ 95250 h 381000"/>
                <a:gd name="connsiteX1" fmla="*/ 142875 w 180975"/>
                <a:gd name="connsiteY1" fmla="*/ 23812 h 381000"/>
                <a:gd name="connsiteX2" fmla="*/ 126206 w 180975"/>
                <a:gd name="connsiteY2" fmla="*/ 0 h 381000"/>
                <a:gd name="connsiteX3" fmla="*/ 107156 w 180975"/>
                <a:gd name="connsiteY3" fmla="*/ 50006 h 381000"/>
                <a:gd name="connsiteX4" fmla="*/ 64294 w 180975"/>
                <a:gd name="connsiteY4" fmla="*/ 61912 h 381000"/>
                <a:gd name="connsiteX5" fmla="*/ 64294 w 180975"/>
                <a:gd name="connsiteY5" fmla="*/ 88106 h 381000"/>
                <a:gd name="connsiteX6" fmla="*/ 42863 w 180975"/>
                <a:gd name="connsiteY6" fmla="*/ 128587 h 381000"/>
                <a:gd name="connsiteX7" fmla="*/ 26194 w 180975"/>
                <a:gd name="connsiteY7" fmla="*/ 157162 h 381000"/>
                <a:gd name="connsiteX8" fmla="*/ 14288 w 180975"/>
                <a:gd name="connsiteY8" fmla="*/ 176212 h 381000"/>
                <a:gd name="connsiteX9" fmla="*/ 9525 w 180975"/>
                <a:gd name="connsiteY9" fmla="*/ 200025 h 381000"/>
                <a:gd name="connsiteX10" fmla="*/ 0 w 180975"/>
                <a:gd name="connsiteY10" fmla="*/ 223837 h 381000"/>
                <a:gd name="connsiteX11" fmla="*/ 30956 w 180975"/>
                <a:gd name="connsiteY11" fmla="*/ 247650 h 381000"/>
                <a:gd name="connsiteX12" fmla="*/ 54769 w 180975"/>
                <a:gd name="connsiteY12" fmla="*/ 292894 h 381000"/>
                <a:gd name="connsiteX13" fmla="*/ 54769 w 180975"/>
                <a:gd name="connsiteY13" fmla="*/ 342900 h 381000"/>
                <a:gd name="connsiteX14" fmla="*/ 76200 w 180975"/>
                <a:gd name="connsiteY14" fmla="*/ 357187 h 381000"/>
                <a:gd name="connsiteX15" fmla="*/ 80963 w 180975"/>
                <a:gd name="connsiteY15" fmla="*/ 333375 h 381000"/>
                <a:gd name="connsiteX16" fmla="*/ 95250 w 180975"/>
                <a:gd name="connsiteY16" fmla="*/ 333375 h 381000"/>
                <a:gd name="connsiteX17" fmla="*/ 121444 w 180975"/>
                <a:gd name="connsiteY17" fmla="*/ 321469 h 381000"/>
                <a:gd name="connsiteX18" fmla="*/ 138113 w 180975"/>
                <a:gd name="connsiteY18" fmla="*/ 333375 h 381000"/>
                <a:gd name="connsiteX19" fmla="*/ 138113 w 180975"/>
                <a:gd name="connsiteY19" fmla="*/ 381000 h 381000"/>
                <a:gd name="connsiteX20" fmla="*/ 152400 w 180975"/>
                <a:gd name="connsiteY20" fmla="*/ 323850 h 381000"/>
                <a:gd name="connsiteX21" fmla="*/ 138113 w 180975"/>
                <a:gd name="connsiteY21" fmla="*/ 295275 h 381000"/>
                <a:gd name="connsiteX22" fmla="*/ 130969 w 180975"/>
                <a:gd name="connsiteY22" fmla="*/ 257175 h 381000"/>
                <a:gd name="connsiteX23" fmla="*/ 147638 w 180975"/>
                <a:gd name="connsiteY23" fmla="*/ 247650 h 381000"/>
                <a:gd name="connsiteX24" fmla="*/ 176213 w 180975"/>
                <a:gd name="connsiteY24" fmla="*/ 240506 h 381000"/>
                <a:gd name="connsiteX25" fmla="*/ 180975 w 180975"/>
                <a:gd name="connsiteY25" fmla="*/ 223837 h 381000"/>
                <a:gd name="connsiteX26" fmla="*/ 180975 w 180975"/>
                <a:gd name="connsiteY26" fmla="*/ 190500 h 381000"/>
                <a:gd name="connsiteX27" fmla="*/ 176213 w 180975"/>
                <a:gd name="connsiteY27" fmla="*/ 171450 h 381000"/>
                <a:gd name="connsiteX28" fmla="*/ 142875 w 180975"/>
                <a:gd name="connsiteY28" fmla="*/ 135731 h 381000"/>
                <a:gd name="connsiteX29" fmla="*/ 145256 w 180975"/>
                <a:gd name="connsiteY29" fmla="*/ 95250 h 381000"/>
                <a:gd name="connsiteX0" fmla="*/ 145256 w 180975"/>
                <a:gd name="connsiteY0" fmla="*/ 95250 h 381000"/>
                <a:gd name="connsiteX1" fmla="*/ 142875 w 180975"/>
                <a:gd name="connsiteY1" fmla="*/ 23812 h 381000"/>
                <a:gd name="connsiteX2" fmla="*/ 126206 w 180975"/>
                <a:gd name="connsiteY2" fmla="*/ 0 h 381000"/>
                <a:gd name="connsiteX3" fmla="*/ 107156 w 180975"/>
                <a:gd name="connsiteY3" fmla="*/ 50006 h 381000"/>
                <a:gd name="connsiteX4" fmla="*/ 64294 w 180975"/>
                <a:gd name="connsiteY4" fmla="*/ 61912 h 381000"/>
                <a:gd name="connsiteX5" fmla="*/ 64294 w 180975"/>
                <a:gd name="connsiteY5" fmla="*/ 88106 h 381000"/>
                <a:gd name="connsiteX6" fmla="*/ 42863 w 180975"/>
                <a:gd name="connsiteY6" fmla="*/ 128587 h 381000"/>
                <a:gd name="connsiteX7" fmla="*/ 26194 w 180975"/>
                <a:gd name="connsiteY7" fmla="*/ 157162 h 381000"/>
                <a:gd name="connsiteX8" fmla="*/ 14288 w 180975"/>
                <a:gd name="connsiteY8" fmla="*/ 176212 h 381000"/>
                <a:gd name="connsiteX9" fmla="*/ 9525 w 180975"/>
                <a:gd name="connsiteY9" fmla="*/ 200025 h 381000"/>
                <a:gd name="connsiteX10" fmla="*/ 0 w 180975"/>
                <a:gd name="connsiteY10" fmla="*/ 223837 h 381000"/>
                <a:gd name="connsiteX11" fmla="*/ 30956 w 180975"/>
                <a:gd name="connsiteY11" fmla="*/ 247650 h 381000"/>
                <a:gd name="connsiteX12" fmla="*/ 54769 w 180975"/>
                <a:gd name="connsiteY12" fmla="*/ 292894 h 381000"/>
                <a:gd name="connsiteX13" fmla="*/ 54769 w 180975"/>
                <a:gd name="connsiteY13" fmla="*/ 342900 h 381000"/>
                <a:gd name="connsiteX14" fmla="*/ 76200 w 180975"/>
                <a:gd name="connsiteY14" fmla="*/ 357187 h 381000"/>
                <a:gd name="connsiteX15" fmla="*/ 80963 w 180975"/>
                <a:gd name="connsiteY15" fmla="*/ 333375 h 381000"/>
                <a:gd name="connsiteX16" fmla="*/ 95250 w 180975"/>
                <a:gd name="connsiteY16" fmla="*/ 333375 h 381000"/>
                <a:gd name="connsiteX17" fmla="*/ 121444 w 180975"/>
                <a:gd name="connsiteY17" fmla="*/ 321469 h 381000"/>
                <a:gd name="connsiteX18" fmla="*/ 138113 w 180975"/>
                <a:gd name="connsiteY18" fmla="*/ 333375 h 381000"/>
                <a:gd name="connsiteX19" fmla="*/ 138113 w 180975"/>
                <a:gd name="connsiteY19" fmla="*/ 381000 h 381000"/>
                <a:gd name="connsiteX20" fmla="*/ 152400 w 180975"/>
                <a:gd name="connsiteY20" fmla="*/ 323850 h 381000"/>
                <a:gd name="connsiteX21" fmla="*/ 138113 w 180975"/>
                <a:gd name="connsiteY21" fmla="*/ 295275 h 381000"/>
                <a:gd name="connsiteX22" fmla="*/ 130969 w 180975"/>
                <a:gd name="connsiteY22" fmla="*/ 257175 h 381000"/>
                <a:gd name="connsiteX23" fmla="*/ 147638 w 180975"/>
                <a:gd name="connsiteY23" fmla="*/ 247650 h 381000"/>
                <a:gd name="connsiteX24" fmla="*/ 176213 w 180975"/>
                <a:gd name="connsiteY24" fmla="*/ 240506 h 381000"/>
                <a:gd name="connsiteX25" fmla="*/ 180975 w 180975"/>
                <a:gd name="connsiteY25" fmla="*/ 223837 h 381000"/>
                <a:gd name="connsiteX26" fmla="*/ 180975 w 180975"/>
                <a:gd name="connsiteY26" fmla="*/ 190500 h 381000"/>
                <a:gd name="connsiteX27" fmla="*/ 176213 w 180975"/>
                <a:gd name="connsiteY27" fmla="*/ 171450 h 381000"/>
                <a:gd name="connsiteX28" fmla="*/ 142875 w 180975"/>
                <a:gd name="connsiteY28" fmla="*/ 135731 h 381000"/>
                <a:gd name="connsiteX29" fmla="*/ 145256 w 180975"/>
                <a:gd name="connsiteY29" fmla="*/ 95250 h 381000"/>
                <a:gd name="connsiteX0" fmla="*/ 145256 w 180975"/>
                <a:gd name="connsiteY0" fmla="*/ 95250 h 457200"/>
                <a:gd name="connsiteX1" fmla="*/ 142875 w 180975"/>
                <a:gd name="connsiteY1" fmla="*/ 23812 h 457200"/>
                <a:gd name="connsiteX2" fmla="*/ 126206 w 180975"/>
                <a:gd name="connsiteY2" fmla="*/ 0 h 457200"/>
                <a:gd name="connsiteX3" fmla="*/ 107156 w 180975"/>
                <a:gd name="connsiteY3" fmla="*/ 50006 h 457200"/>
                <a:gd name="connsiteX4" fmla="*/ 64294 w 180975"/>
                <a:gd name="connsiteY4" fmla="*/ 61912 h 457200"/>
                <a:gd name="connsiteX5" fmla="*/ 64294 w 180975"/>
                <a:gd name="connsiteY5" fmla="*/ 88106 h 457200"/>
                <a:gd name="connsiteX6" fmla="*/ 42863 w 180975"/>
                <a:gd name="connsiteY6" fmla="*/ 128587 h 457200"/>
                <a:gd name="connsiteX7" fmla="*/ 26194 w 180975"/>
                <a:gd name="connsiteY7" fmla="*/ 157162 h 457200"/>
                <a:gd name="connsiteX8" fmla="*/ 14288 w 180975"/>
                <a:gd name="connsiteY8" fmla="*/ 176212 h 457200"/>
                <a:gd name="connsiteX9" fmla="*/ 9525 w 180975"/>
                <a:gd name="connsiteY9" fmla="*/ 200025 h 457200"/>
                <a:gd name="connsiteX10" fmla="*/ 0 w 180975"/>
                <a:gd name="connsiteY10" fmla="*/ 223837 h 457200"/>
                <a:gd name="connsiteX11" fmla="*/ 30956 w 180975"/>
                <a:gd name="connsiteY11" fmla="*/ 247650 h 457200"/>
                <a:gd name="connsiteX12" fmla="*/ 54769 w 180975"/>
                <a:gd name="connsiteY12" fmla="*/ 292894 h 457200"/>
                <a:gd name="connsiteX13" fmla="*/ 54769 w 180975"/>
                <a:gd name="connsiteY13" fmla="*/ 342900 h 457200"/>
                <a:gd name="connsiteX14" fmla="*/ 76200 w 180975"/>
                <a:gd name="connsiteY14" fmla="*/ 357187 h 457200"/>
                <a:gd name="connsiteX15" fmla="*/ 80963 w 180975"/>
                <a:gd name="connsiteY15" fmla="*/ 333375 h 457200"/>
                <a:gd name="connsiteX16" fmla="*/ 95250 w 180975"/>
                <a:gd name="connsiteY16" fmla="*/ 333375 h 457200"/>
                <a:gd name="connsiteX17" fmla="*/ 121444 w 180975"/>
                <a:gd name="connsiteY17" fmla="*/ 321469 h 457200"/>
                <a:gd name="connsiteX18" fmla="*/ 138113 w 180975"/>
                <a:gd name="connsiteY18" fmla="*/ 333375 h 457200"/>
                <a:gd name="connsiteX19" fmla="*/ 169069 w 180975"/>
                <a:gd name="connsiteY19" fmla="*/ 457200 h 457200"/>
                <a:gd name="connsiteX20" fmla="*/ 152400 w 180975"/>
                <a:gd name="connsiteY20" fmla="*/ 323850 h 457200"/>
                <a:gd name="connsiteX21" fmla="*/ 138113 w 180975"/>
                <a:gd name="connsiteY21" fmla="*/ 295275 h 457200"/>
                <a:gd name="connsiteX22" fmla="*/ 130969 w 180975"/>
                <a:gd name="connsiteY22" fmla="*/ 257175 h 457200"/>
                <a:gd name="connsiteX23" fmla="*/ 147638 w 180975"/>
                <a:gd name="connsiteY23" fmla="*/ 247650 h 457200"/>
                <a:gd name="connsiteX24" fmla="*/ 176213 w 180975"/>
                <a:gd name="connsiteY24" fmla="*/ 240506 h 457200"/>
                <a:gd name="connsiteX25" fmla="*/ 180975 w 180975"/>
                <a:gd name="connsiteY25" fmla="*/ 223837 h 457200"/>
                <a:gd name="connsiteX26" fmla="*/ 180975 w 180975"/>
                <a:gd name="connsiteY26" fmla="*/ 190500 h 457200"/>
                <a:gd name="connsiteX27" fmla="*/ 176213 w 180975"/>
                <a:gd name="connsiteY27" fmla="*/ 171450 h 457200"/>
                <a:gd name="connsiteX28" fmla="*/ 142875 w 180975"/>
                <a:gd name="connsiteY28" fmla="*/ 135731 h 457200"/>
                <a:gd name="connsiteX29" fmla="*/ 145256 w 180975"/>
                <a:gd name="connsiteY29" fmla="*/ 95250 h 457200"/>
                <a:gd name="connsiteX0" fmla="*/ 145256 w 180975"/>
                <a:gd name="connsiteY0" fmla="*/ 95250 h 457200"/>
                <a:gd name="connsiteX1" fmla="*/ 142875 w 180975"/>
                <a:gd name="connsiteY1" fmla="*/ 23812 h 457200"/>
                <a:gd name="connsiteX2" fmla="*/ 126206 w 180975"/>
                <a:gd name="connsiteY2" fmla="*/ 0 h 457200"/>
                <a:gd name="connsiteX3" fmla="*/ 107156 w 180975"/>
                <a:gd name="connsiteY3" fmla="*/ 50006 h 457200"/>
                <a:gd name="connsiteX4" fmla="*/ 64294 w 180975"/>
                <a:gd name="connsiteY4" fmla="*/ 61912 h 457200"/>
                <a:gd name="connsiteX5" fmla="*/ 64294 w 180975"/>
                <a:gd name="connsiteY5" fmla="*/ 88106 h 457200"/>
                <a:gd name="connsiteX6" fmla="*/ 42863 w 180975"/>
                <a:gd name="connsiteY6" fmla="*/ 128587 h 457200"/>
                <a:gd name="connsiteX7" fmla="*/ 26194 w 180975"/>
                <a:gd name="connsiteY7" fmla="*/ 157162 h 457200"/>
                <a:gd name="connsiteX8" fmla="*/ 14288 w 180975"/>
                <a:gd name="connsiteY8" fmla="*/ 176212 h 457200"/>
                <a:gd name="connsiteX9" fmla="*/ 9525 w 180975"/>
                <a:gd name="connsiteY9" fmla="*/ 200025 h 457200"/>
                <a:gd name="connsiteX10" fmla="*/ 0 w 180975"/>
                <a:gd name="connsiteY10" fmla="*/ 223837 h 457200"/>
                <a:gd name="connsiteX11" fmla="*/ 30956 w 180975"/>
                <a:gd name="connsiteY11" fmla="*/ 247650 h 457200"/>
                <a:gd name="connsiteX12" fmla="*/ 54769 w 180975"/>
                <a:gd name="connsiteY12" fmla="*/ 292894 h 457200"/>
                <a:gd name="connsiteX13" fmla="*/ 54769 w 180975"/>
                <a:gd name="connsiteY13" fmla="*/ 342900 h 457200"/>
                <a:gd name="connsiteX14" fmla="*/ 76200 w 180975"/>
                <a:gd name="connsiteY14" fmla="*/ 357187 h 457200"/>
                <a:gd name="connsiteX15" fmla="*/ 80963 w 180975"/>
                <a:gd name="connsiteY15" fmla="*/ 333375 h 457200"/>
                <a:gd name="connsiteX16" fmla="*/ 95250 w 180975"/>
                <a:gd name="connsiteY16" fmla="*/ 333375 h 457200"/>
                <a:gd name="connsiteX17" fmla="*/ 121444 w 180975"/>
                <a:gd name="connsiteY17" fmla="*/ 321469 h 457200"/>
                <a:gd name="connsiteX18" fmla="*/ 138113 w 180975"/>
                <a:gd name="connsiteY18" fmla="*/ 333375 h 457200"/>
                <a:gd name="connsiteX19" fmla="*/ 169069 w 180975"/>
                <a:gd name="connsiteY19" fmla="*/ 457200 h 457200"/>
                <a:gd name="connsiteX20" fmla="*/ 130968 w 180975"/>
                <a:gd name="connsiteY20" fmla="*/ 340519 h 457200"/>
                <a:gd name="connsiteX21" fmla="*/ 138113 w 180975"/>
                <a:gd name="connsiteY21" fmla="*/ 295275 h 457200"/>
                <a:gd name="connsiteX22" fmla="*/ 130969 w 180975"/>
                <a:gd name="connsiteY22" fmla="*/ 257175 h 457200"/>
                <a:gd name="connsiteX23" fmla="*/ 147638 w 180975"/>
                <a:gd name="connsiteY23" fmla="*/ 247650 h 457200"/>
                <a:gd name="connsiteX24" fmla="*/ 176213 w 180975"/>
                <a:gd name="connsiteY24" fmla="*/ 240506 h 457200"/>
                <a:gd name="connsiteX25" fmla="*/ 180975 w 180975"/>
                <a:gd name="connsiteY25" fmla="*/ 223837 h 457200"/>
                <a:gd name="connsiteX26" fmla="*/ 180975 w 180975"/>
                <a:gd name="connsiteY26" fmla="*/ 190500 h 457200"/>
                <a:gd name="connsiteX27" fmla="*/ 176213 w 180975"/>
                <a:gd name="connsiteY27" fmla="*/ 171450 h 457200"/>
                <a:gd name="connsiteX28" fmla="*/ 142875 w 180975"/>
                <a:gd name="connsiteY28" fmla="*/ 135731 h 457200"/>
                <a:gd name="connsiteX29" fmla="*/ 145256 w 180975"/>
                <a:gd name="connsiteY29" fmla="*/ 95250 h 457200"/>
                <a:gd name="connsiteX0" fmla="*/ 145256 w 180975"/>
                <a:gd name="connsiteY0" fmla="*/ 95250 h 457200"/>
                <a:gd name="connsiteX1" fmla="*/ 142875 w 180975"/>
                <a:gd name="connsiteY1" fmla="*/ 23812 h 457200"/>
                <a:gd name="connsiteX2" fmla="*/ 126206 w 180975"/>
                <a:gd name="connsiteY2" fmla="*/ 0 h 457200"/>
                <a:gd name="connsiteX3" fmla="*/ 107156 w 180975"/>
                <a:gd name="connsiteY3" fmla="*/ 50006 h 457200"/>
                <a:gd name="connsiteX4" fmla="*/ 64294 w 180975"/>
                <a:gd name="connsiteY4" fmla="*/ 61912 h 457200"/>
                <a:gd name="connsiteX5" fmla="*/ 64294 w 180975"/>
                <a:gd name="connsiteY5" fmla="*/ 88106 h 457200"/>
                <a:gd name="connsiteX6" fmla="*/ 42863 w 180975"/>
                <a:gd name="connsiteY6" fmla="*/ 128587 h 457200"/>
                <a:gd name="connsiteX7" fmla="*/ 26194 w 180975"/>
                <a:gd name="connsiteY7" fmla="*/ 157162 h 457200"/>
                <a:gd name="connsiteX8" fmla="*/ 14288 w 180975"/>
                <a:gd name="connsiteY8" fmla="*/ 176212 h 457200"/>
                <a:gd name="connsiteX9" fmla="*/ 9525 w 180975"/>
                <a:gd name="connsiteY9" fmla="*/ 200025 h 457200"/>
                <a:gd name="connsiteX10" fmla="*/ 0 w 180975"/>
                <a:gd name="connsiteY10" fmla="*/ 223837 h 457200"/>
                <a:gd name="connsiteX11" fmla="*/ 30956 w 180975"/>
                <a:gd name="connsiteY11" fmla="*/ 247650 h 457200"/>
                <a:gd name="connsiteX12" fmla="*/ 54769 w 180975"/>
                <a:gd name="connsiteY12" fmla="*/ 292894 h 457200"/>
                <a:gd name="connsiteX13" fmla="*/ 54769 w 180975"/>
                <a:gd name="connsiteY13" fmla="*/ 342900 h 457200"/>
                <a:gd name="connsiteX14" fmla="*/ 76200 w 180975"/>
                <a:gd name="connsiteY14" fmla="*/ 357187 h 457200"/>
                <a:gd name="connsiteX15" fmla="*/ 80963 w 180975"/>
                <a:gd name="connsiteY15" fmla="*/ 333375 h 457200"/>
                <a:gd name="connsiteX16" fmla="*/ 95250 w 180975"/>
                <a:gd name="connsiteY16" fmla="*/ 333375 h 457200"/>
                <a:gd name="connsiteX17" fmla="*/ 121444 w 180975"/>
                <a:gd name="connsiteY17" fmla="*/ 321469 h 457200"/>
                <a:gd name="connsiteX18" fmla="*/ 138113 w 180975"/>
                <a:gd name="connsiteY18" fmla="*/ 333375 h 457200"/>
                <a:gd name="connsiteX19" fmla="*/ 169069 w 180975"/>
                <a:gd name="connsiteY19" fmla="*/ 457200 h 457200"/>
                <a:gd name="connsiteX20" fmla="*/ 142874 w 180975"/>
                <a:gd name="connsiteY20" fmla="*/ 345281 h 457200"/>
                <a:gd name="connsiteX21" fmla="*/ 138113 w 180975"/>
                <a:gd name="connsiteY21" fmla="*/ 295275 h 457200"/>
                <a:gd name="connsiteX22" fmla="*/ 130969 w 180975"/>
                <a:gd name="connsiteY22" fmla="*/ 257175 h 457200"/>
                <a:gd name="connsiteX23" fmla="*/ 147638 w 180975"/>
                <a:gd name="connsiteY23" fmla="*/ 247650 h 457200"/>
                <a:gd name="connsiteX24" fmla="*/ 176213 w 180975"/>
                <a:gd name="connsiteY24" fmla="*/ 240506 h 457200"/>
                <a:gd name="connsiteX25" fmla="*/ 180975 w 180975"/>
                <a:gd name="connsiteY25" fmla="*/ 223837 h 457200"/>
                <a:gd name="connsiteX26" fmla="*/ 180975 w 180975"/>
                <a:gd name="connsiteY26" fmla="*/ 190500 h 457200"/>
                <a:gd name="connsiteX27" fmla="*/ 176213 w 180975"/>
                <a:gd name="connsiteY27" fmla="*/ 171450 h 457200"/>
                <a:gd name="connsiteX28" fmla="*/ 142875 w 180975"/>
                <a:gd name="connsiteY28" fmla="*/ 135731 h 457200"/>
                <a:gd name="connsiteX29" fmla="*/ 145256 w 180975"/>
                <a:gd name="connsiteY29" fmla="*/ 95250 h 457200"/>
                <a:gd name="connsiteX0" fmla="*/ 145256 w 180975"/>
                <a:gd name="connsiteY0" fmla="*/ 95250 h 457200"/>
                <a:gd name="connsiteX1" fmla="*/ 142875 w 180975"/>
                <a:gd name="connsiteY1" fmla="*/ 23812 h 457200"/>
                <a:gd name="connsiteX2" fmla="*/ 126206 w 180975"/>
                <a:gd name="connsiteY2" fmla="*/ 0 h 457200"/>
                <a:gd name="connsiteX3" fmla="*/ 107156 w 180975"/>
                <a:gd name="connsiteY3" fmla="*/ 50006 h 457200"/>
                <a:gd name="connsiteX4" fmla="*/ 64294 w 180975"/>
                <a:gd name="connsiteY4" fmla="*/ 61912 h 457200"/>
                <a:gd name="connsiteX5" fmla="*/ 64294 w 180975"/>
                <a:gd name="connsiteY5" fmla="*/ 88106 h 457200"/>
                <a:gd name="connsiteX6" fmla="*/ 42863 w 180975"/>
                <a:gd name="connsiteY6" fmla="*/ 128587 h 457200"/>
                <a:gd name="connsiteX7" fmla="*/ 26194 w 180975"/>
                <a:gd name="connsiteY7" fmla="*/ 157162 h 457200"/>
                <a:gd name="connsiteX8" fmla="*/ 14288 w 180975"/>
                <a:gd name="connsiteY8" fmla="*/ 176212 h 457200"/>
                <a:gd name="connsiteX9" fmla="*/ 9525 w 180975"/>
                <a:gd name="connsiteY9" fmla="*/ 200025 h 457200"/>
                <a:gd name="connsiteX10" fmla="*/ 0 w 180975"/>
                <a:gd name="connsiteY10" fmla="*/ 223837 h 457200"/>
                <a:gd name="connsiteX11" fmla="*/ 30956 w 180975"/>
                <a:gd name="connsiteY11" fmla="*/ 247650 h 457200"/>
                <a:gd name="connsiteX12" fmla="*/ 54769 w 180975"/>
                <a:gd name="connsiteY12" fmla="*/ 292894 h 457200"/>
                <a:gd name="connsiteX13" fmla="*/ 54769 w 180975"/>
                <a:gd name="connsiteY13" fmla="*/ 342900 h 457200"/>
                <a:gd name="connsiteX14" fmla="*/ 76200 w 180975"/>
                <a:gd name="connsiteY14" fmla="*/ 357187 h 457200"/>
                <a:gd name="connsiteX15" fmla="*/ 80963 w 180975"/>
                <a:gd name="connsiteY15" fmla="*/ 333375 h 457200"/>
                <a:gd name="connsiteX16" fmla="*/ 95250 w 180975"/>
                <a:gd name="connsiteY16" fmla="*/ 333375 h 457200"/>
                <a:gd name="connsiteX17" fmla="*/ 121444 w 180975"/>
                <a:gd name="connsiteY17" fmla="*/ 321469 h 457200"/>
                <a:gd name="connsiteX18" fmla="*/ 154781 w 180975"/>
                <a:gd name="connsiteY18" fmla="*/ 330994 h 457200"/>
                <a:gd name="connsiteX19" fmla="*/ 169069 w 180975"/>
                <a:gd name="connsiteY19" fmla="*/ 457200 h 457200"/>
                <a:gd name="connsiteX20" fmla="*/ 142874 w 180975"/>
                <a:gd name="connsiteY20" fmla="*/ 345281 h 457200"/>
                <a:gd name="connsiteX21" fmla="*/ 138113 w 180975"/>
                <a:gd name="connsiteY21" fmla="*/ 295275 h 457200"/>
                <a:gd name="connsiteX22" fmla="*/ 130969 w 180975"/>
                <a:gd name="connsiteY22" fmla="*/ 257175 h 457200"/>
                <a:gd name="connsiteX23" fmla="*/ 147638 w 180975"/>
                <a:gd name="connsiteY23" fmla="*/ 247650 h 457200"/>
                <a:gd name="connsiteX24" fmla="*/ 176213 w 180975"/>
                <a:gd name="connsiteY24" fmla="*/ 240506 h 457200"/>
                <a:gd name="connsiteX25" fmla="*/ 180975 w 180975"/>
                <a:gd name="connsiteY25" fmla="*/ 223837 h 457200"/>
                <a:gd name="connsiteX26" fmla="*/ 180975 w 180975"/>
                <a:gd name="connsiteY26" fmla="*/ 190500 h 457200"/>
                <a:gd name="connsiteX27" fmla="*/ 176213 w 180975"/>
                <a:gd name="connsiteY27" fmla="*/ 171450 h 457200"/>
                <a:gd name="connsiteX28" fmla="*/ 142875 w 180975"/>
                <a:gd name="connsiteY28" fmla="*/ 135731 h 457200"/>
                <a:gd name="connsiteX29" fmla="*/ 145256 w 180975"/>
                <a:gd name="connsiteY29" fmla="*/ 95250 h 457200"/>
                <a:gd name="connsiteX0" fmla="*/ 145256 w 180975"/>
                <a:gd name="connsiteY0" fmla="*/ 95250 h 457200"/>
                <a:gd name="connsiteX1" fmla="*/ 142875 w 180975"/>
                <a:gd name="connsiteY1" fmla="*/ 23812 h 457200"/>
                <a:gd name="connsiteX2" fmla="*/ 126206 w 180975"/>
                <a:gd name="connsiteY2" fmla="*/ 0 h 457200"/>
                <a:gd name="connsiteX3" fmla="*/ 107156 w 180975"/>
                <a:gd name="connsiteY3" fmla="*/ 50006 h 457200"/>
                <a:gd name="connsiteX4" fmla="*/ 64294 w 180975"/>
                <a:gd name="connsiteY4" fmla="*/ 61912 h 457200"/>
                <a:gd name="connsiteX5" fmla="*/ 64294 w 180975"/>
                <a:gd name="connsiteY5" fmla="*/ 88106 h 457200"/>
                <a:gd name="connsiteX6" fmla="*/ 42863 w 180975"/>
                <a:gd name="connsiteY6" fmla="*/ 128587 h 457200"/>
                <a:gd name="connsiteX7" fmla="*/ 26194 w 180975"/>
                <a:gd name="connsiteY7" fmla="*/ 157162 h 457200"/>
                <a:gd name="connsiteX8" fmla="*/ 14288 w 180975"/>
                <a:gd name="connsiteY8" fmla="*/ 176212 h 457200"/>
                <a:gd name="connsiteX9" fmla="*/ 9525 w 180975"/>
                <a:gd name="connsiteY9" fmla="*/ 200025 h 457200"/>
                <a:gd name="connsiteX10" fmla="*/ 0 w 180975"/>
                <a:gd name="connsiteY10" fmla="*/ 223837 h 457200"/>
                <a:gd name="connsiteX11" fmla="*/ 30956 w 180975"/>
                <a:gd name="connsiteY11" fmla="*/ 247650 h 457200"/>
                <a:gd name="connsiteX12" fmla="*/ 54769 w 180975"/>
                <a:gd name="connsiteY12" fmla="*/ 292894 h 457200"/>
                <a:gd name="connsiteX13" fmla="*/ 54769 w 180975"/>
                <a:gd name="connsiteY13" fmla="*/ 342900 h 457200"/>
                <a:gd name="connsiteX14" fmla="*/ 76200 w 180975"/>
                <a:gd name="connsiteY14" fmla="*/ 357187 h 457200"/>
                <a:gd name="connsiteX15" fmla="*/ 80963 w 180975"/>
                <a:gd name="connsiteY15" fmla="*/ 333375 h 457200"/>
                <a:gd name="connsiteX16" fmla="*/ 95250 w 180975"/>
                <a:gd name="connsiteY16" fmla="*/ 333375 h 457200"/>
                <a:gd name="connsiteX17" fmla="*/ 121444 w 180975"/>
                <a:gd name="connsiteY17" fmla="*/ 321469 h 457200"/>
                <a:gd name="connsiteX18" fmla="*/ 154781 w 180975"/>
                <a:gd name="connsiteY18" fmla="*/ 330994 h 457200"/>
                <a:gd name="connsiteX19" fmla="*/ 169069 w 180975"/>
                <a:gd name="connsiteY19" fmla="*/ 457200 h 457200"/>
                <a:gd name="connsiteX20" fmla="*/ 130967 w 180975"/>
                <a:gd name="connsiteY20" fmla="*/ 357188 h 457200"/>
                <a:gd name="connsiteX21" fmla="*/ 138113 w 180975"/>
                <a:gd name="connsiteY21" fmla="*/ 295275 h 457200"/>
                <a:gd name="connsiteX22" fmla="*/ 130969 w 180975"/>
                <a:gd name="connsiteY22" fmla="*/ 257175 h 457200"/>
                <a:gd name="connsiteX23" fmla="*/ 147638 w 180975"/>
                <a:gd name="connsiteY23" fmla="*/ 247650 h 457200"/>
                <a:gd name="connsiteX24" fmla="*/ 176213 w 180975"/>
                <a:gd name="connsiteY24" fmla="*/ 240506 h 457200"/>
                <a:gd name="connsiteX25" fmla="*/ 180975 w 180975"/>
                <a:gd name="connsiteY25" fmla="*/ 223837 h 457200"/>
                <a:gd name="connsiteX26" fmla="*/ 180975 w 180975"/>
                <a:gd name="connsiteY26" fmla="*/ 190500 h 457200"/>
                <a:gd name="connsiteX27" fmla="*/ 176213 w 180975"/>
                <a:gd name="connsiteY27" fmla="*/ 171450 h 457200"/>
                <a:gd name="connsiteX28" fmla="*/ 142875 w 180975"/>
                <a:gd name="connsiteY28" fmla="*/ 135731 h 457200"/>
                <a:gd name="connsiteX29" fmla="*/ 145256 w 180975"/>
                <a:gd name="connsiteY29" fmla="*/ 95250 h 457200"/>
                <a:gd name="connsiteX0" fmla="*/ 145256 w 192880"/>
                <a:gd name="connsiteY0" fmla="*/ 95250 h 457200"/>
                <a:gd name="connsiteX1" fmla="*/ 142875 w 192880"/>
                <a:gd name="connsiteY1" fmla="*/ 23812 h 457200"/>
                <a:gd name="connsiteX2" fmla="*/ 126206 w 192880"/>
                <a:gd name="connsiteY2" fmla="*/ 0 h 457200"/>
                <a:gd name="connsiteX3" fmla="*/ 107156 w 192880"/>
                <a:gd name="connsiteY3" fmla="*/ 50006 h 457200"/>
                <a:gd name="connsiteX4" fmla="*/ 64294 w 192880"/>
                <a:gd name="connsiteY4" fmla="*/ 61912 h 457200"/>
                <a:gd name="connsiteX5" fmla="*/ 64294 w 192880"/>
                <a:gd name="connsiteY5" fmla="*/ 88106 h 457200"/>
                <a:gd name="connsiteX6" fmla="*/ 42863 w 192880"/>
                <a:gd name="connsiteY6" fmla="*/ 128587 h 457200"/>
                <a:gd name="connsiteX7" fmla="*/ 26194 w 192880"/>
                <a:gd name="connsiteY7" fmla="*/ 157162 h 457200"/>
                <a:gd name="connsiteX8" fmla="*/ 14288 w 192880"/>
                <a:gd name="connsiteY8" fmla="*/ 176212 h 457200"/>
                <a:gd name="connsiteX9" fmla="*/ 9525 w 192880"/>
                <a:gd name="connsiteY9" fmla="*/ 200025 h 457200"/>
                <a:gd name="connsiteX10" fmla="*/ 0 w 192880"/>
                <a:gd name="connsiteY10" fmla="*/ 223837 h 457200"/>
                <a:gd name="connsiteX11" fmla="*/ 30956 w 192880"/>
                <a:gd name="connsiteY11" fmla="*/ 247650 h 457200"/>
                <a:gd name="connsiteX12" fmla="*/ 54769 w 192880"/>
                <a:gd name="connsiteY12" fmla="*/ 292894 h 457200"/>
                <a:gd name="connsiteX13" fmla="*/ 54769 w 192880"/>
                <a:gd name="connsiteY13" fmla="*/ 342900 h 457200"/>
                <a:gd name="connsiteX14" fmla="*/ 76200 w 192880"/>
                <a:gd name="connsiteY14" fmla="*/ 357187 h 457200"/>
                <a:gd name="connsiteX15" fmla="*/ 80963 w 192880"/>
                <a:gd name="connsiteY15" fmla="*/ 333375 h 457200"/>
                <a:gd name="connsiteX16" fmla="*/ 95250 w 192880"/>
                <a:gd name="connsiteY16" fmla="*/ 333375 h 457200"/>
                <a:gd name="connsiteX17" fmla="*/ 121444 w 192880"/>
                <a:gd name="connsiteY17" fmla="*/ 321469 h 457200"/>
                <a:gd name="connsiteX18" fmla="*/ 154781 w 192880"/>
                <a:gd name="connsiteY18" fmla="*/ 330994 h 457200"/>
                <a:gd name="connsiteX19" fmla="*/ 169069 w 192880"/>
                <a:gd name="connsiteY19" fmla="*/ 457200 h 457200"/>
                <a:gd name="connsiteX20" fmla="*/ 192880 w 192880"/>
                <a:gd name="connsiteY20" fmla="*/ 347663 h 457200"/>
                <a:gd name="connsiteX21" fmla="*/ 138113 w 192880"/>
                <a:gd name="connsiteY21" fmla="*/ 295275 h 457200"/>
                <a:gd name="connsiteX22" fmla="*/ 130969 w 192880"/>
                <a:gd name="connsiteY22" fmla="*/ 257175 h 457200"/>
                <a:gd name="connsiteX23" fmla="*/ 147638 w 192880"/>
                <a:gd name="connsiteY23" fmla="*/ 247650 h 457200"/>
                <a:gd name="connsiteX24" fmla="*/ 176213 w 192880"/>
                <a:gd name="connsiteY24" fmla="*/ 240506 h 457200"/>
                <a:gd name="connsiteX25" fmla="*/ 180975 w 192880"/>
                <a:gd name="connsiteY25" fmla="*/ 223837 h 457200"/>
                <a:gd name="connsiteX26" fmla="*/ 180975 w 192880"/>
                <a:gd name="connsiteY26" fmla="*/ 190500 h 457200"/>
                <a:gd name="connsiteX27" fmla="*/ 176213 w 192880"/>
                <a:gd name="connsiteY27" fmla="*/ 171450 h 457200"/>
                <a:gd name="connsiteX28" fmla="*/ 142875 w 192880"/>
                <a:gd name="connsiteY28" fmla="*/ 135731 h 457200"/>
                <a:gd name="connsiteX29" fmla="*/ 145256 w 192880"/>
                <a:gd name="connsiteY29" fmla="*/ 95250 h 457200"/>
                <a:gd name="connsiteX0" fmla="*/ 145256 w 192880"/>
                <a:gd name="connsiteY0" fmla="*/ 95250 h 457200"/>
                <a:gd name="connsiteX1" fmla="*/ 142875 w 192880"/>
                <a:gd name="connsiteY1" fmla="*/ 23812 h 457200"/>
                <a:gd name="connsiteX2" fmla="*/ 126206 w 192880"/>
                <a:gd name="connsiteY2" fmla="*/ 0 h 457200"/>
                <a:gd name="connsiteX3" fmla="*/ 107156 w 192880"/>
                <a:gd name="connsiteY3" fmla="*/ 50006 h 457200"/>
                <a:gd name="connsiteX4" fmla="*/ 64294 w 192880"/>
                <a:gd name="connsiteY4" fmla="*/ 61912 h 457200"/>
                <a:gd name="connsiteX5" fmla="*/ 64294 w 192880"/>
                <a:gd name="connsiteY5" fmla="*/ 88106 h 457200"/>
                <a:gd name="connsiteX6" fmla="*/ 42863 w 192880"/>
                <a:gd name="connsiteY6" fmla="*/ 128587 h 457200"/>
                <a:gd name="connsiteX7" fmla="*/ 26194 w 192880"/>
                <a:gd name="connsiteY7" fmla="*/ 157162 h 457200"/>
                <a:gd name="connsiteX8" fmla="*/ 14288 w 192880"/>
                <a:gd name="connsiteY8" fmla="*/ 176212 h 457200"/>
                <a:gd name="connsiteX9" fmla="*/ 9525 w 192880"/>
                <a:gd name="connsiteY9" fmla="*/ 200025 h 457200"/>
                <a:gd name="connsiteX10" fmla="*/ 0 w 192880"/>
                <a:gd name="connsiteY10" fmla="*/ 223837 h 457200"/>
                <a:gd name="connsiteX11" fmla="*/ 30956 w 192880"/>
                <a:gd name="connsiteY11" fmla="*/ 247650 h 457200"/>
                <a:gd name="connsiteX12" fmla="*/ 54769 w 192880"/>
                <a:gd name="connsiteY12" fmla="*/ 292894 h 457200"/>
                <a:gd name="connsiteX13" fmla="*/ 54769 w 192880"/>
                <a:gd name="connsiteY13" fmla="*/ 342900 h 457200"/>
                <a:gd name="connsiteX14" fmla="*/ 76200 w 192880"/>
                <a:gd name="connsiteY14" fmla="*/ 357187 h 457200"/>
                <a:gd name="connsiteX15" fmla="*/ 80963 w 192880"/>
                <a:gd name="connsiteY15" fmla="*/ 333375 h 457200"/>
                <a:gd name="connsiteX16" fmla="*/ 95250 w 192880"/>
                <a:gd name="connsiteY16" fmla="*/ 333375 h 457200"/>
                <a:gd name="connsiteX17" fmla="*/ 121444 w 192880"/>
                <a:gd name="connsiteY17" fmla="*/ 321469 h 457200"/>
                <a:gd name="connsiteX18" fmla="*/ 135731 w 192880"/>
                <a:gd name="connsiteY18" fmla="*/ 357187 h 457200"/>
                <a:gd name="connsiteX19" fmla="*/ 169069 w 192880"/>
                <a:gd name="connsiteY19" fmla="*/ 457200 h 457200"/>
                <a:gd name="connsiteX20" fmla="*/ 192880 w 192880"/>
                <a:gd name="connsiteY20" fmla="*/ 347663 h 457200"/>
                <a:gd name="connsiteX21" fmla="*/ 138113 w 192880"/>
                <a:gd name="connsiteY21" fmla="*/ 295275 h 457200"/>
                <a:gd name="connsiteX22" fmla="*/ 130969 w 192880"/>
                <a:gd name="connsiteY22" fmla="*/ 257175 h 457200"/>
                <a:gd name="connsiteX23" fmla="*/ 147638 w 192880"/>
                <a:gd name="connsiteY23" fmla="*/ 247650 h 457200"/>
                <a:gd name="connsiteX24" fmla="*/ 176213 w 192880"/>
                <a:gd name="connsiteY24" fmla="*/ 240506 h 457200"/>
                <a:gd name="connsiteX25" fmla="*/ 180975 w 192880"/>
                <a:gd name="connsiteY25" fmla="*/ 223837 h 457200"/>
                <a:gd name="connsiteX26" fmla="*/ 180975 w 192880"/>
                <a:gd name="connsiteY26" fmla="*/ 190500 h 457200"/>
                <a:gd name="connsiteX27" fmla="*/ 176213 w 192880"/>
                <a:gd name="connsiteY27" fmla="*/ 171450 h 457200"/>
                <a:gd name="connsiteX28" fmla="*/ 142875 w 192880"/>
                <a:gd name="connsiteY28" fmla="*/ 135731 h 457200"/>
                <a:gd name="connsiteX29" fmla="*/ 145256 w 192880"/>
                <a:gd name="connsiteY29" fmla="*/ 95250 h 457200"/>
                <a:gd name="connsiteX0" fmla="*/ 145256 w 180975"/>
                <a:gd name="connsiteY0" fmla="*/ 95250 h 457200"/>
                <a:gd name="connsiteX1" fmla="*/ 142875 w 180975"/>
                <a:gd name="connsiteY1" fmla="*/ 23812 h 457200"/>
                <a:gd name="connsiteX2" fmla="*/ 126206 w 180975"/>
                <a:gd name="connsiteY2" fmla="*/ 0 h 457200"/>
                <a:gd name="connsiteX3" fmla="*/ 107156 w 180975"/>
                <a:gd name="connsiteY3" fmla="*/ 50006 h 457200"/>
                <a:gd name="connsiteX4" fmla="*/ 64294 w 180975"/>
                <a:gd name="connsiteY4" fmla="*/ 61912 h 457200"/>
                <a:gd name="connsiteX5" fmla="*/ 64294 w 180975"/>
                <a:gd name="connsiteY5" fmla="*/ 88106 h 457200"/>
                <a:gd name="connsiteX6" fmla="*/ 42863 w 180975"/>
                <a:gd name="connsiteY6" fmla="*/ 128587 h 457200"/>
                <a:gd name="connsiteX7" fmla="*/ 26194 w 180975"/>
                <a:gd name="connsiteY7" fmla="*/ 157162 h 457200"/>
                <a:gd name="connsiteX8" fmla="*/ 14288 w 180975"/>
                <a:gd name="connsiteY8" fmla="*/ 176212 h 457200"/>
                <a:gd name="connsiteX9" fmla="*/ 9525 w 180975"/>
                <a:gd name="connsiteY9" fmla="*/ 200025 h 457200"/>
                <a:gd name="connsiteX10" fmla="*/ 0 w 180975"/>
                <a:gd name="connsiteY10" fmla="*/ 223837 h 457200"/>
                <a:gd name="connsiteX11" fmla="*/ 30956 w 180975"/>
                <a:gd name="connsiteY11" fmla="*/ 247650 h 457200"/>
                <a:gd name="connsiteX12" fmla="*/ 54769 w 180975"/>
                <a:gd name="connsiteY12" fmla="*/ 292894 h 457200"/>
                <a:gd name="connsiteX13" fmla="*/ 54769 w 180975"/>
                <a:gd name="connsiteY13" fmla="*/ 342900 h 457200"/>
                <a:gd name="connsiteX14" fmla="*/ 76200 w 180975"/>
                <a:gd name="connsiteY14" fmla="*/ 357187 h 457200"/>
                <a:gd name="connsiteX15" fmla="*/ 80963 w 180975"/>
                <a:gd name="connsiteY15" fmla="*/ 333375 h 457200"/>
                <a:gd name="connsiteX16" fmla="*/ 95250 w 180975"/>
                <a:gd name="connsiteY16" fmla="*/ 333375 h 457200"/>
                <a:gd name="connsiteX17" fmla="*/ 121444 w 180975"/>
                <a:gd name="connsiteY17" fmla="*/ 321469 h 457200"/>
                <a:gd name="connsiteX18" fmla="*/ 135731 w 180975"/>
                <a:gd name="connsiteY18" fmla="*/ 357187 h 457200"/>
                <a:gd name="connsiteX19" fmla="*/ 169069 w 180975"/>
                <a:gd name="connsiteY19" fmla="*/ 457200 h 457200"/>
                <a:gd name="connsiteX20" fmla="*/ 154780 w 180975"/>
                <a:gd name="connsiteY20" fmla="*/ 307181 h 457200"/>
                <a:gd name="connsiteX21" fmla="*/ 138113 w 180975"/>
                <a:gd name="connsiteY21" fmla="*/ 295275 h 457200"/>
                <a:gd name="connsiteX22" fmla="*/ 130969 w 180975"/>
                <a:gd name="connsiteY22" fmla="*/ 257175 h 457200"/>
                <a:gd name="connsiteX23" fmla="*/ 147638 w 180975"/>
                <a:gd name="connsiteY23" fmla="*/ 247650 h 457200"/>
                <a:gd name="connsiteX24" fmla="*/ 176213 w 180975"/>
                <a:gd name="connsiteY24" fmla="*/ 240506 h 457200"/>
                <a:gd name="connsiteX25" fmla="*/ 180975 w 180975"/>
                <a:gd name="connsiteY25" fmla="*/ 223837 h 457200"/>
                <a:gd name="connsiteX26" fmla="*/ 180975 w 180975"/>
                <a:gd name="connsiteY26" fmla="*/ 190500 h 457200"/>
                <a:gd name="connsiteX27" fmla="*/ 176213 w 180975"/>
                <a:gd name="connsiteY27" fmla="*/ 171450 h 457200"/>
                <a:gd name="connsiteX28" fmla="*/ 142875 w 180975"/>
                <a:gd name="connsiteY28" fmla="*/ 135731 h 457200"/>
                <a:gd name="connsiteX29" fmla="*/ 145256 w 180975"/>
                <a:gd name="connsiteY29" fmla="*/ 95250 h 457200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35731 w 180975"/>
                <a:gd name="connsiteY18" fmla="*/ 357187 h 483394"/>
                <a:gd name="connsiteX19" fmla="*/ 150019 w 180975"/>
                <a:gd name="connsiteY19" fmla="*/ 483394 h 483394"/>
                <a:gd name="connsiteX20" fmla="*/ 154780 w 180975"/>
                <a:gd name="connsiteY20" fmla="*/ 307181 h 483394"/>
                <a:gd name="connsiteX21" fmla="*/ 138113 w 180975"/>
                <a:gd name="connsiteY21" fmla="*/ 295275 h 483394"/>
                <a:gd name="connsiteX22" fmla="*/ 130969 w 180975"/>
                <a:gd name="connsiteY22" fmla="*/ 257175 h 483394"/>
                <a:gd name="connsiteX23" fmla="*/ 147638 w 180975"/>
                <a:gd name="connsiteY23" fmla="*/ 247650 h 483394"/>
                <a:gd name="connsiteX24" fmla="*/ 176213 w 180975"/>
                <a:gd name="connsiteY24" fmla="*/ 240506 h 483394"/>
                <a:gd name="connsiteX25" fmla="*/ 180975 w 180975"/>
                <a:gd name="connsiteY25" fmla="*/ 223837 h 483394"/>
                <a:gd name="connsiteX26" fmla="*/ 180975 w 180975"/>
                <a:gd name="connsiteY26" fmla="*/ 190500 h 483394"/>
                <a:gd name="connsiteX27" fmla="*/ 176213 w 180975"/>
                <a:gd name="connsiteY27" fmla="*/ 171450 h 483394"/>
                <a:gd name="connsiteX28" fmla="*/ 142875 w 180975"/>
                <a:gd name="connsiteY28" fmla="*/ 135731 h 483394"/>
                <a:gd name="connsiteX29" fmla="*/ 145256 w 180975"/>
                <a:gd name="connsiteY29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54780 w 180975"/>
                <a:gd name="connsiteY20" fmla="*/ 307181 h 483394"/>
                <a:gd name="connsiteX21" fmla="*/ 138113 w 180975"/>
                <a:gd name="connsiteY21" fmla="*/ 295275 h 483394"/>
                <a:gd name="connsiteX22" fmla="*/ 130969 w 180975"/>
                <a:gd name="connsiteY22" fmla="*/ 257175 h 483394"/>
                <a:gd name="connsiteX23" fmla="*/ 147638 w 180975"/>
                <a:gd name="connsiteY23" fmla="*/ 247650 h 483394"/>
                <a:gd name="connsiteX24" fmla="*/ 176213 w 180975"/>
                <a:gd name="connsiteY24" fmla="*/ 240506 h 483394"/>
                <a:gd name="connsiteX25" fmla="*/ 180975 w 180975"/>
                <a:gd name="connsiteY25" fmla="*/ 223837 h 483394"/>
                <a:gd name="connsiteX26" fmla="*/ 180975 w 180975"/>
                <a:gd name="connsiteY26" fmla="*/ 190500 h 483394"/>
                <a:gd name="connsiteX27" fmla="*/ 176213 w 180975"/>
                <a:gd name="connsiteY27" fmla="*/ 171450 h 483394"/>
                <a:gd name="connsiteX28" fmla="*/ 142875 w 180975"/>
                <a:gd name="connsiteY28" fmla="*/ 135731 h 483394"/>
                <a:gd name="connsiteX29" fmla="*/ 145256 w 180975"/>
                <a:gd name="connsiteY29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50019 w 180975"/>
                <a:gd name="connsiteY20" fmla="*/ 376237 h 483394"/>
                <a:gd name="connsiteX21" fmla="*/ 154780 w 180975"/>
                <a:gd name="connsiteY21" fmla="*/ 307181 h 483394"/>
                <a:gd name="connsiteX22" fmla="*/ 138113 w 180975"/>
                <a:gd name="connsiteY22" fmla="*/ 295275 h 483394"/>
                <a:gd name="connsiteX23" fmla="*/ 130969 w 180975"/>
                <a:gd name="connsiteY23" fmla="*/ 257175 h 483394"/>
                <a:gd name="connsiteX24" fmla="*/ 147638 w 180975"/>
                <a:gd name="connsiteY24" fmla="*/ 247650 h 483394"/>
                <a:gd name="connsiteX25" fmla="*/ 176213 w 180975"/>
                <a:gd name="connsiteY25" fmla="*/ 240506 h 483394"/>
                <a:gd name="connsiteX26" fmla="*/ 180975 w 180975"/>
                <a:gd name="connsiteY26" fmla="*/ 223837 h 483394"/>
                <a:gd name="connsiteX27" fmla="*/ 180975 w 180975"/>
                <a:gd name="connsiteY27" fmla="*/ 190500 h 483394"/>
                <a:gd name="connsiteX28" fmla="*/ 176213 w 180975"/>
                <a:gd name="connsiteY28" fmla="*/ 171450 h 483394"/>
                <a:gd name="connsiteX29" fmla="*/ 142875 w 180975"/>
                <a:gd name="connsiteY29" fmla="*/ 135731 h 483394"/>
                <a:gd name="connsiteX30" fmla="*/ 145256 w 180975"/>
                <a:gd name="connsiteY30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42876 w 180975"/>
                <a:gd name="connsiteY20" fmla="*/ 381000 h 483394"/>
                <a:gd name="connsiteX21" fmla="*/ 154780 w 180975"/>
                <a:gd name="connsiteY21" fmla="*/ 307181 h 483394"/>
                <a:gd name="connsiteX22" fmla="*/ 138113 w 180975"/>
                <a:gd name="connsiteY22" fmla="*/ 295275 h 483394"/>
                <a:gd name="connsiteX23" fmla="*/ 130969 w 180975"/>
                <a:gd name="connsiteY23" fmla="*/ 257175 h 483394"/>
                <a:gd name="connsiteX24" fmla="*/ 147638 w 180975"/>
                <a:gd name="connsiteY24" fmla="*/ 247650 h 483394"/>
                <a:gd name="connsiteX25" fmla="*/ 176213 w 180975"/>
                <a:gd name="connsiteY25" fmla="*/ 240506 h 483394"/>
                <a:gd name="connsiteX26" fmla="*/ 180975 w 180975"/>
                <a:gd name="connsiteY26" fmla="*/ 223837 h 483394"/>
                <a:gd name="connsiteX27" fmla="*/ 180975 w 180975"/>
                <a:gd name="connsiteY27" fmla="*/ 190500 h 483394"/>
                <a:gd name="connsiteX28" fmla="*/ 176213 w 180975"/>
                <a:gd name="connsiteY28" fmla="*/ 171450 h 483394"/>
                <a:gd name="connsiteX29" fmla="*/ 142875 w 180975"/>
                <a:gd name="connsiteY29" fmla="*/ 135731 h 483394"/>
                <a:gd name="connsiteX30" fmla="*/ 145256 w 180975"/>
                <a:gd name="connsiteY30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42876 w 180975"/>
                <a:gd name="connsiteY20" fmla="*/ 381000 h 483394"/>
                <a:gd name="connsiteX21" fmla="*/ 140494 w 180975"/>
                <a:gd name="connsiteY21" fmla="*/ 395287 h 483394"/>
                <a:gd name="connsiteX22" fmla="*/ 154780 w 180975"/>
                <a:gd name="connsiteY22" fmla="*/ 307181 h 483394"/>
                <a:gd name="connsiteX23" fmla="*/ 138113 w 180975"/>
                <a:gd name="connsiteY23" fmla="*/ 295275 h 483394"/>
                <a:gd name="connsiteX24" fmla="*/ 130969 w 180975"/>
                <a:gd name="connsiteY24" fmla="*/ 257175 h 483394"/>
                <a:gd name="connsiteX25" fmla="*/ 147638 w 180975"/>
                <a:gd name="connsiteY25" fmla="*/ 247650 h 483394"/>
                <a:gd name="connsiteX26" fmla="*/ 176213 w 180975"/>
                <a:gd name="connsiteY26" fmla="*/ 240506 h 483394"/>
                <a:gd name="connsiteX27" fmla="*/ 180975 w 180975"/>
                <a:gd name="connsiteY27" fmla="*/ 223837 h 483394"/>
                <a:gd name="connsiteX28" fmla="*/ 180975 w 180975"/>
                <a:gd name="connsiteY28" fmla="*/ 190500 h 483394"/>
                <a:gd name="connsiteX29" fmla="*/ 176213 w 180975"/>
                <a:gd name="connsiteY29" fmla="*/ 171450 h 483394"/>
                <a:gd name="connsiteX30" fmla="*/ 142875 w 180975"/>
                <a:gd name="connsiteY30" fmla="*/ 135731 h 483394"/>
                <a:gd name="connsiteX31" fmla="*/ 145256 w 180975"/>
                <a:gd name="connsiteY31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42876 w 180975"/>
                <a:gd name="connsiteY20" fmla="*/ 381000 h 483394"/>
                <a:gd name="connsiteX21" fmla="*/ 152400 w 180975"/>
                <a:gd name="connsiteY21" fmla="*/ 345281 h 483394"/>
                <a:gd name="connsiteX22" fmla="*/ 154780 w 180975"/>
                <a:gd name="connsiteY22" fmla="*/ 307181 h 483394"/>
                <a:gd name="connsiteX23" fmla="*/ 138113 w 180975"/>
                <a:gd name="connsiteY23" fmla="*/ 295275 h 483394"/>
                <a:gd name="connsiteX24" fmla="*/ 130969 w 180975"/>
                <a:gd name="connsiteY24" fmla="*/ 257175 h 483394"/>
                <a:gd name="connsiteX25" fmla="*/ 147638 w 180975"/>
                <a:gd name="connsiteY25" fmla="*/ 247650 h 483394"/>
                <a:gd name="connsiteX26" fmla="*/ 176213 w 180975"/>
                <a:gd name="connsiteY26" fmla="*/ 240506 h 483394"/>
                <a:gd name="connsiteX27" fmla="*/ 180975 w 180975"/>
                <a:gd name="connsiteY27" fmla="*/ 223837 h 483394"/>
                <a:gd name="connsiteX28" fmla="*/ 180975 w 180975"/>
                <a:gd name="connsiteY28" fmla="*/ 190500 h 483394"/>
                <a:gd name="connsiteX29" fmla="*/ 176213 w 180975"/>
                <a:gd name="connsiteY29" fmla="*/ 171450 h 483394"/>
                <a:gd name="connsiteX30" fmla="*/ 142875 w 180975"/>
                <a:gd name="connsiteY30" fmla="*/ 135731 h 483394"/>
                <a:gd name="connsiteX31" fmla="*/ 145256 w 180975"/>
                <a:gd name="connsiteY31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76213 w 180975"/>
                <a:gd name="connsiteY20" fmla="*/ 385763 h 483394"/>
                <a:gd name="connsiteX21" fmla="*/ 152400 w 180975"/>
                <a:gd name="connsiteY21" fmla="*/ 345281 h 483394"/>
                <a:gd name="connsiteX22" fmla="*/ 154780 w 180975"/>
                <a:gd name="connsiteY22" fmla="*/ 307181 h 483394"/>
                <a:gd name="connsiteX23" fmla="*/ 138113 w 180975"/>
                <a:gd name="connsiteY23" fmla="*/ 295275 h 483394"/>
                <a:gd name="connsiteX24" fmla="*/ 130969 w 180975"/>
                <a:gd name="connsiteY24" fmla="*/ 257175 h 483394"/>
                <a:gd name="connsiteX25" fmla="*/ 147638 w 180975"/>
                <a:gd name="connsiteY25" fmla="*/ 247650 h 483394"/>
                <a:gd name="connsiteX26" fmla="*/ 176213 w 180975"/>
                <a:gd name="connsiteY26" fmla="*/ 240506 h 483394"/>
                <a:gd name="connsiteX27" fmla="*/ 180975 w 180975"/>
                <a:gd name="connsiteY27" fmla="*/ 223837 h 483394"/>
                <a:gd name="connsiteX28" fmla="*/ 180975 w 180975"/>
                <a:gd name="connsiteY28" fmla="*/ 190500 h 483394"/>
                <a:gd name="connsiteX29" fmla="*/ 176213 w 180975"/>
                <a:gd name="connsiteY29" fmla="*/ 171450 h 483394"/>
                <a:gd name="connsiteX30" fmla="*/ 142875 w 180975"/>
                <a:gd name="connsiteY30" fmla="*/ 135731 h 483394"/>
                <a:gd name="connsiteX31" fmla="*/ 145256 w 180975"/>
                <a:gd name="connsiteY31" fmla="*/ 95250 h 483394"/>
                <a:gd name="connsiteX0" fmla="*/ 145256 w 180975"/>
                <a:gd name="connsiteY0" fmla="*/ 95250 h 483394"/>
                <a:gd name="connsiteX1" fmla="*/ 142875 w 180975"/>
                <a:gd name="connsiteY1" fmla="*/ 23812 h 483394"/>
                <a:gd name="connsiteX2" fmla="*/ 126206 w 180975"/>
                <a:gd name="connsiteY2" fmla="*/ 0 h 483394"/>
                <a:gd name="connsiteX3" fmla="*/ 107156 w 180975"/>
                <a:gd name="connsiteY3" fmla="*/ 50006 h 483394"/>
                <a:gd name="connsiteX4" fmla="*/ 64294 w 180975"/>
                <a:gd name="connsiteY4" fmla="*/ 61912 h 483394"/>
                <a:gd name="connsiteX5" fmla="*/ 64294 w 180975"/>
                <a:gd name="connsiteY5" fmla="*/ 88106 h 483394"/>
                <a:gd name="connsiteX6" fmla="*/ 42863 w 180975"/>
                <a:gd name="connsiteY6" fmla="*/ 128587 h 483394"/>
                <a:gd name="connsiteX7" fmla="*/ 26194 w 180975"/>
                <a:gd name="connsiteY7" fmla="*/ 157162 h 483394"/>
                <a:gd name="connsiteX8" fmla="*/ 14288 w 180975"/>
                <a:gd name="connsiteY8" fmla="*/ 176212 h 483394"/>
                <a:gd name="connsiteX9" fmla="*/ 9525 w 180975"/>
                <a:gd name="connsiteY9" fmla="*/ 200025 h 483394"/>
                <a:gd name="connsiteX10" fmla="*/ 0 w 180975"/>
                <a:gd name="connsiteY10" fmla="*/ 223837 h 483394"/>
                <a:gd name="connsiteX11" fmla="*/ 30956 w 180975"/>
                <a:gd name="connsiteY11" fmla="*/ 247650 h 483394"/>
                <a:gd name="connsiteX12" fmla="*/ 54769 w 180975"/>
                <a:gd name="connsiteY12" fmla="*/ 292894 h 483394"/>
                <a:gd name="connsiteX13" fmla="*/ 54769 w 180975"/>
                <a:gd name="connsiteY13" fmla="*/ 342900 h 483394"/>
                <a:gd name="connsiteX14" fmla="*/ 76200 w 180975"/>
                <a:gd name="connsiteY14" fmla="*/ 357187 h 483394"/>
                <a:gd name="connsiteX15" fmla="*/ 80963 w 180975"/>
                <a:gd name="connsiteY15" fmla="*/ 333375 h 483394"/>
                <a:gd name="connsiteX16" fmla="*/ 95250 w 180975"/>
                <a:gd name="connsiteY16" fmla="*/ 333375 h 483394"/>
                <a:gd name="connsiteX17" fmla="*/ 121444 w 180975"/>
                <a:gd name="connsiteY17" fmla="*/ 321469 h 483394"/>
                <a:gd name="connsiteX18" fmla="*/ 121443 w 180975"/>
                <a:gd name="connsiteY18" fmla="*/ 373856 h 483394"/>
                <a:gd name="connsiteX19" fmla="*/ 150019 w 180975"/>
                <a:gd name="connsiteY19" fmla="*/ 483394 h 483394"/>
                <a:gd name="connsiteX20" fmla="*/ 176213 w 180975"/>
                <a:gd name="connsiteY20" fmla="*/ 385763 h 483394"/>
                <a:gd name="connsiteX21" fmla="*/ 145257 w 180975"/>
                <a:gd name="connsiteY21" fmla="*/ 383381 h 483394"/>
                <a:gd name="connsiteX22" fmla="*/ 154780 w 180975"/>
                <a:gd name="connsiteY22" fmla="*/ 307181 h 483394"/>
                <a:gd name="connsiteX23" fmla="*/ 138113 w 180975"/>
                <a:gd name="connsiteY23" fmla="*/ 295275 h 483394"/>
                <a:gd name="connsiteX24" fmla="*/ 130969 w 180975"/>
                <a:gd name="connsiteY24" fmla="*/ 257175 h 483394"/>
                <a:gd name="connsiteX25" fmla="*/ 147638 w 180975"/>
                <a:gd name="connsiteY25" fmla="*/ 247650 h 483394"/>
                <a:gd name="connsiteX26" fmla="*/ 176213 w 180975"/>
                <a:gd name="connsiteY26" fmla="*/ 240506 h 483394"/>
                <a:gd name="connsiteX27" fmla="*/ 180975 w 180975"/>
                <a:gd name="connsiteY27" fmla="*/ 223837 h 483394"/>
                <a:gd name="connsiteX28" fmla="*/ 180975 w 180975"/>
                <a:gd name="connsiteY28" fmla="*/ 190500 h 483394"/>
                <a:gd name="connsiteX29" fmla="*/ 176213 w 180975"/>
                <a:gd name="connsiteY29" fmla="*/ 171450 h 483394"/>
                <a:gd name="connsiteX30" fmla="*/ 142875 w 180975"/>
                <a:gd name="connsiteY30" fmla="*/ 135731 h 483394"/>
                <a:gd name="connsiteX31" fmla="*/ 145256 w 180975"/>
                <a:gd name="connsiteY31" fmla="*/ 95250 h 483394"/>
                <a:gd name="connsiteX0" fmla="*/ 145256 w 180975"/>
                <a:gd name="connsiteY0" fmla="*/ 95250 h 476250"/>
                <a:gd name="connsiteX1" fmla="*/ 142875 w 180975"/>
                <a:gd name="connsiteY1" fmla="*/ 23812 h 476250"/>
                <a:gd name="connsiteX2" fmla="*/ 126206 w 180975"/>
                <a:gd name="connsiteY2" fmla="*/ 0 h 476250"/>
                <a:gd name="connsiteX3" fmla="*/ 107156 w 180975"/>
                <a:gd name="connsiteY3" fmla="*/ 50006 h 476250"/>
                <a:gd name="connsiteX4" fmla="*/ 64294 w 180975"/>
                <a:gd name="connsiteY4" fmla="*/ 61912 h 476250"/>
                <a:gd name="connsiteX5" fmla="*/ 64294 w 180975"/>
                <a:gd name="connsiteY5" fmla="*/ 88106 h 476250"/>
                <a:gd name="connsiteX6" fmla="*/ 42863 w 180975"/>
                <a:gd name="connsiteY6" fmla="*/ 128587 h 476250"/>
                <a:gd name="connsiteX7" fmla="*/ 26194 w 180975"/>
                <a:gd name="connsiteY7" fmla="*/ 157162 h 476250"/>
                <a:gd name="connsiteX8" fmla="*/ 14288 w 180975"/>
                <a:gd name="connsiteY8" fmla="*/ 176212 h 476250"/>
                <a:gd name="connsiteX9" fmla="*/ 9525 w 180975"/>
                <a:gd name="connsiteY9" fmla="*/ 200025 h 476250"/>
                <a:gd name="connsiteX10" fmla="*/ 0 w 180975"/>
                <a:gd name="connsiteY10" fmla="*/ 223837 h 476250"/>
                <a:gd name="connsiteX11" fmla="*/ 30956 w 180975"/>
                <a:gd name="connsiteY11" fmla="*/ 247650 h 476250"/>
                <a:gd name="connsiteX12" fmla="*/ 54769 w 180975"/>
                <a:gd name="connsiteY12" fmla="*/ 292894 h 476250"/>
                <a:gd name="connsiteX13" fmla="*/ 54769 w 180975"/>
                <a:gd name="connsiteY13" fmla="*/ 342900 h 476250"/>
                <a:gd name="connsiteX14" fmla="*/ 76200 w 180975"/>
                <a:gd name="connsiteY14" fmla="*/ 357187 h 476250"/>
                <a:gd name="connsiteX15" fmla="*/ 80963 w 180975"/>
                <a:gd name="connsiteY15" fmla="*/ 333375 h 476250"/>
                <a:gd name="connsiteX16" fmla="*/ 95250 w 180975"/>
                <a:gd name="connsiteY16" fmla="*/ 333375 h 476250"/>
                <a:gd name="connsiteX17" fmla="*/ 121444 w 180975"/>
                <a:gd name="connsiteY17" fmla="*/ 321469 h 476250"/>
                <a:gd name="connsiteX18" fmla="*/ 121443 w 180975"/>
                <a:gd name="connsiteY18" fmla="*/ 373856 h 476250"/>
                <a:gd name="connsiteX19" fmla="*/ 164307 w 180975"/>
                <a:gd name="connsiteY19" fmla="*/ 476250 h 476250"/>
                <a:gd name="connsiteX20" fmla="*/ 176213 w 180975"/>
                <a:gd name="connsiteY20" fmla="*/ 385763 h 476250"/>
                <a:gd name="connsiteX21" fmla="*/ 145257 w 180975"/>
                <a:gd name="connsiteY21" fmla="*/ 383381 h 476250"/>
                <a:gd name="connsiteX22" fmla="*/ 154780 w 180975"/>
                <a:gd name="connsiteY22" fmla="*/ 307181 h 476250"/>
                <a:gd name="connsiteX23" fmla="*/ 138113 w 180975"/>
                <a:gd name="connsiteY23" fmla="*/ 295275 h 476250"/>
                <a:gd name="connsiteX24" fmla="*/ 130969 w 180975"/>
                <a:gd name="connsiteY24" fmla="*/ 257175 h 476250"/>
                <a:gd name="connsiteX25" fmla="*/ 147638 w 180975"/>
                <a:gd name="connsiteY25" fmla="*/ 247650 h 476250"/>
                <a:gd name="connsiteX26" fmla="*/ 176213 w 180975"/>
                <a:gd name="connsiteY26" fmla="*/ 240506 h 476250"/>
                <a:gd name="connsiteX27" fmla="*/ 180975 w 180975"/>
                <a:gd name="connsiteY27" fmla="*/ 223837 h 476250"/>
                <a:gd name="connsiteX28" fmla="*/ 180975 w 180975"/>
                <a:gd name="connsiteY28" fmla="*/ 190500 h 476250"/>
                <a:gd name="connsiteX29" fmla="*/ 176213 w 180975"/>
                <a:gd name="connsiteY29" fmla="*/ 171450 h 476250"/>
                <a:gd name="connsiteX30" fmla="*/ 142875 w 180975"/>
                <a:gd name="connsiteY30" fmla="*/ 135731 h 476250"/>
                <a:gd name="connsiteX31" fmla="*/ 145256 w 180975"/>
                <a:gd name="connsiteY31" fmla="*/ 95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0975" h="476250">
                  <a:moveTo>
                    <a:pt x="145256" y="95250"/>
                  </a:moveTo>
                  <a:cubicBezTo>
                    <a:pt x="144462" y="71437"/>
                    <a:pt x="143669" y="47625"/>
                    <a:pt x="142875" y="23812"/>
                  </a:cubicBezTo>
                  <a:lnTo>
                    <a:pt x="126206" y="0"/>
                  </a:lnTo>
                  <a:lnTo>
                    <a:pt x="107156" y="50006"/>
                  </a:lnTo>
                  <a:lnTo>
                    <a:pt x="64294" y="61912"/>
                  </a:lnTo>
                  <a:lnTo>
                    <a:pt x="64294" y="88106"/>
                  </a:lnTo>
                  <a:lnTo>
                    <a:pt x="42863" y="128587"/>
                  </a:lnTo>
                  <a:lnTo>
                    <a:pt x="26194" y="157162"/>
                  </a:lnTo>
                  <a:lnTo>
                    <a:pt x="14288" y="176212"/>
                  </a:lnTo>
                  <a:lnTo>
                    <a:pt x="9525" y="200025"/>
                  </a:lnTo>
                  <a:lnTo>
                    <a:pt x="0" y="223837"/>
                  </a:lnTo>
                  <a:lnTo>
                    <a:pt x="30956" y="247650"/>
                  </a:lnTo>
                  <a:lnTo>
                    <a:pt x="54769" y="292894"/>
                  </a:lnTo>
                  <a:lnTo>
                    <a:pt x="54769" y="342900"/>
                  </a:lnTo>
                  <a:lnTo>
                    <a:pt x="76200" y="357187"/>
                  </a:lnTo>
                  <a:lnTo>
                    <a:pt x="80963" y="333375"/>
                  </a:lnTo>
                  <a:lnTo>
                    <a:pt x="95250" y="333375"/>
                  </a:lnTo>
                  <a:lnTo>
                    <a:pt x="121444" y="321469"/>
                  </a:lnTo>
                  <a:cubicBezTo>
                    <a:pt x="121444" y="338931"/>
                    <a:pt x="121443" y="356394"/>
                    <a:pt x="121443" y="373856"/>
                  </a:cubicBezTo>
                  <a:lnTo>
                    <a:pt x="164307" y="476250"/>
                  </a:lnTo>
                  <a:lnTo>
                    <a:pt x="176213" y="385763"/>
                  </a:lnTo>
                  <a:lnTo>
                    <a:pt x="145257" y="383381"/>
                  </a:lnTo>
                  <a:lnTo>
                    <a:pt x="154780" y="307181"/>
                  </a:lnTo>
                  <a:lnTo>
                    <a:pt x="138113" y="295275"/>
                  </a:lnTo>
                  <a:lnTo>
                    <a:pt x="130969" y="257175"/>
                  </a:lnTo>
                  <a:lnTo>
                    <a:pt x="147638" y="247650"/>
                  </a:lnTo>
                  <a:lnTo>
                    <a:pt x="176213" y="240506"/>
                  </a:lnTo>
                  <a:lnTo>
                    <a:pt x="180975" y="223837"/>
                  </a:lnTo>
                  <a:lnTo>
                    <a:pt x="180975" y="190500"/>
                  </a:lnTo>
                  <a:lnTo>
                    <a:pt x="176213" y="171450"/>
                  </a:lnTo>
                  <a:lnTo>
                    <a:pt x="142875" y="135731"/>
                  </a:lnTo>
                  <a:lnTo>
                    <a:pt x="145256" y="9525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: Shape 164"/>
            <p:cNvSpPr/>
            <p:nvPr/>
          </p:nvSpPr>
          <p:spPr bwMode="auto">
            <a:xfrm>
              <a:off x="6255544" y="3907631"/>
              <a:ext cx="209550" cy="121444"/>
            </a:xfrm>
            <a:custGeom>
              <a:avLst/>
              <a:gdLst>
                <a:gd name="connsiteX0" fmla="*/ 209550 w 209550"/>
                <a:gd name="connsiteY0" fmla="*/ 121444 h 121444"/>
                <a:gd name="connsiteX1" fmla="*/ 209550 w 209550"/>
                <a:gd name="connsiteY1" fmla="*/ 64294 h 121444"/>
                <a:gd name="connsiteX2" fmla="*/ 147637 w 209550"/>
                <a:gd name="connsiteY2" fmla="*/ 57150 h 121444"/>
                <a:gd name="connsiteX3" fmla="*/ 21431 w 209550"/>
                <a:gd name="connsiteY3" fmla="*/ 0 h 121444"/>
                <a:gd name="connsiteX4" fmla="*/ 0 w 209550"/>
                <a:gd name="connsiteY4" fmla="*/ 19050 h 121444"/>
                <a:gd name="connsiteX5" fmla="*/ 2381 w 209550"/>
                <a:gd name="connsiteY5" fmla="*/ 45244 h 121444"/>
                <a:gd name="connsiteX6" fmla="*/ 35719 w 209550"/>
                <a:gd name="connsiteY6" fmla="*/ 66675 h 121444"/>
                <a:gd name="connsiteX7" fmla="*/ 50006 w 209550"/>
                <a:gd name="connsiteY7" fmla="*/ 97632 h 121444"/>
                <a:gd name="connsiteX8" fmla="*/ 121444 w 209550"/>
                <a:gd name="connsiteY8" fmla="*/ 92869 h 121444"/>
                <a:gd name="connsiteX9" fmla="*/ 145256 w 209550"/>
                <a:gd name="connsiteY9" fmla="*/ 111919 h 121444"/>
                <a:gd name="connsiteX10" fmla="*/ 209550 w 209550"/>
                <a:gd name="connsiteY10" fmla="*/ 121444 h 121444"/>
                <a:gd name="connsiteX0" fmla="*/ 209550 w 209550"/>
                <a:gd name="connsiteY0" fmla="*/ 121444 h 121444"/>
                <a:gd name="connsiteX1" fmla="*/ 209550 w 209550"/>
                <a:gd name="connsiteY1" fmla="*/ 64294 h 121444"/>
                <a:gd name="connsiteX2" fmla="*/ 147637 w 209550"/>
                <a:gd name="connsiteY2" fmla="*/ 57150 h 121444"/>
                <a:gd name="connsiteX3" fmla="*/ 76200 w 209550"/>
                <a:gd name="connsiteY3" fmla="*/ 26194 h 121444"/>
                <a:gd name="connsiteX4" fmla="*/ 21431 w 209550"/>
                <a:gd name="connsiteY4" fmla="*/ 0 h 121444"/>
                <a:gd name="connsiteX5" fmla="*/ 0 w 209550"/>
                <a:gd name="connsiteY5" fmla="*/ 19050 h 121444"/>
                <a:gd name="connsiteX6" fmla="*/ 2381 w 209550"/>
                <a:gd name="connsiteY6" fmla="*/ 45244 h 121444"/>
                <a:gd name="connsiteX7" fmla="*/ 35719 w 209550"/>
                <a:gd name="connsiteY7" fmla="*/ 66675 h 121444"/>
                <a:gd name="connsiteX8" fmla="*/ 50006 w 209550"/>
                <a:gd name="connsiteY8" fmla="*/ 97632 h 121444"/>
                <a:gd name="connsiteX9" fmla="*/ 121444 w 209550"/>
                <a:gd name="connsiteY9" fmla="*/ 92869 h 121444"/>
                <a:gd name="connsiteX10" fmla="*/ 145256 w 209550"/>
                <a:gd name="connsiteY10" fmla="*/ 111919 h 121444"/>
                <a:gd name="connsiteX11" fmla="*/ 209550 w 209550"/>
                <a:gd name="connsiteY11" fmla="*/ 121444 h 121444"/>
                <a:gd name="connsiteX0" fmla="*/ 209550 w 209550"/>
                <a:gd name="connsiteY0" fmla="*/ 121444 h 121444"/>
                <a:gd name="connsiteX1" fmla="*/ 209550 w 209550"/>
                <a:gd name="connsiteY1" fmla="*/ 64294 h 121444"/>
                <a:gd name="connsiteX2" fmla="*/ 147637 w 209550"/>
                <a:gd name="connsiteY2" fmla="*/ 57150 h 121444"/>
                <a:gd name="connsiteX3" fmla="*/ 71437 w 209550"/>
                <a:gd name="connsiteY3" fmla="*/ 14288 h 121444"/>
                <a:gd name="connsiteX4" fmla="*/ 21431 w 209550"/>
                <a:gd name="connsiteY4" fmla="*/ 0 h 121444"/>
                <a:gd name="connsiteX5" fmla="*/ 0 w 209550"/>
                <a:gd name="connsiteY5" fmla="*/ 19050 h 121444"/>
                <a:gd name="connsiteX6" fmla="*/ 2381 w 209550"/>
                <a:gd name="connsiteY6" fmla="*/ 45244 h 121444"/>
                <a:gd name="connsiteX7" fmla="*/ 35719 w 209550"/>
                <a:gd name="connsiteY7" fmla="*/ 66675 h 121444"/>
                <a:gd name="connsiteX8" fmla="*/ 50006 w 209550"/>
                <a:gd name="connsiteY8" fmla="*/ 97632 h 121444"/>
                <a:gd name="connsiteX9" fmla="*/ 121444 w 209550"/>
                <a:gd name="connsiteY9" fmla="*/ 92869 h 121444"/>
                <a:gd name="connsiteX10" fmla="*/ 145256 w 209550"/>
                <a:gd name="connsiteY10" fmla="*/ 111919 h 121444"/>
                <a:gd name="connsiteX11" fmla="*/ 209550 w 209550"/>
                <a:gd name="connsiteY11" fmla="*/ 121444 h 121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50" h="121444">
                  <a:moveTo>
                    <a:pt x="209550" y="121444"/>
                  </a:moveTo>
                  <a:lnTo>
                    <a:pt x="209550" y="64294"/>
                  </a:lnTo>
                  <a:lnTo>
                    <a:pt x="147637" y="57150"/>
                  </a:lnTo>
                  <a:lnTo>
                    <a:pt x="71437" y="14288"/>
                  </a:lnTo>
                  <a:lnTo>
                    <a:pt x="21431" y="0"/>
                  </a:lnTo>
                  <a:lnTo>
                    <a:pt x="0" y="19050"/>
                  </a:lnTo>
                  <a:lnTo>
                    <a:pt x="2381" y="45244"/>
                  </a:lnTo>
                  <a:lnTo>
                    <a:pt x="35719" y="66675"/>
                  </a:lnTo>
                  <a:lnTo>
                    <a:pt x="50006" y="97632"/>
                  </a:lnTo>
                  <a:lnTo>
                    <a:pt x="121444" y="92869"/>
                  </a:lnTo>
                  <a:lnTo>
                    <a:pt x="145256" y="111919"/>
                  </a:lnTo>
                  <a:lnTo>
                    <a:pt x="209550" y="12144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: Shape 165"/>
            <p:cNvSpPr/>
            <p:nvPr/>
          </p:nvSpPr>
          <p:spPr bwMode="auto">
            <a:xfrm>
              <a:off x="6457950" y="3955256"/>
              <a:ext cx="226220" cy="171450"/>
            </a:xfrm>
            <a:custGeom>
              <a:avLst/>
              <a:gdLst>
                <a:gd name="connsiteX0" fmla="*/ 209550 w 209550"/>
                <a:gd name="connsiteY0" fmla="*/ 23812 h 150018"/>
                <a:gd name="connsiteX1" fmla="*/ 166688 w 209550"/>
                <a:gd name="connsiteY1" fmla="*/ 64293 h 150018"/>
                <a:gd name="connsiteX2" fmla="*/ 111919 w 209550"/>
                <a:gd name="connsiteY2" fmla="*/ 150018 h 150018"/>
                <a:gd name="connsiteX3" fmla="*/ 97631 w 209550"/>
                <a:gd name="connsiteY3" fmla="*/ 128587 h 150018"/>
                <a:gd name="connsiteX4" fmla="*/ 80963 w 209550"/>
                <a:gd name="connsiteY4" fmla="*/ 123825 h 150018"/>
                <a:gd name="connsiteX5" fmla="*/ 83344 w 209550"/>
                <a:gd name="connsiteY5" fmla="*/ 95250 h 150018"/>
                <a:gd name="connsiteX6" fmla="*/ 100013 w 209550"/>
                <a:gd name="connsiteY6" fmla="*/ 83343 h 150018"/>
                <a:gd name="connsiteX7" fmla="*/ 69056 w 209550"/>
                <a:gd name="connsiteY7" fmla="*/ 76200 h 150018"/>
                <a:gd name="connsiteX8" fmla="*/ 30956 w 209550"/>
                <a:gd name="connsiteY8" fmla="*/ 42862 h 150018"/>
                <a:gd name="connsiteX9" fmla="*/ 0 w 209550"/>
                <a:gd name="connsiteY9" fmla="*/ 0 h 150018"/>
                <a:gd name="connsiteX10" fmla="*/ 26194 w 209550"/>
                <a:gd name="connsiteY10" fmla="*/ 0 h 150018"/>
                <a:gd name="connsiteX11" fmla="*/ 40481 w 209550"/>
                <a:gd name="connsiteY11" fmla="*/ 33337 h 150018"/>
                <a:gd name="connsiteX12" fmla="*/ 71438 w 209550"/>
                <a:gd name="connsiteY12" fmla="*/ 40481 h 150018"/>
                <a:gd name="connsiteX13" fmla="*/ 102394 w 209550"/>
                <a:gd name="connsiteY13" fmla="*/ 16668 h 150018"/>
                <a:gd name="connsiteX14" fmla="*/ 130969 w 209550"/>
                <a:gd name="connsiteY14" fmla="*/ 19050 h 150018"/>
                <a:gd name="connsiteX15" fmla="*/ 209550 w 209550"/>
                <a:gd name="connsiteY15" fmla="*/ 23812 h 150018"/>
                <a:gd name="connsiteX0" fmla="*/ 209550 w 209550"/>
                <a:gd name="connsiteY0" fmla="*/ 23812 h 150018"/>
                <a:gd name="connsiteX1" fmla="*/ 166688 w 209550"/>
                <a:gd name="connsiteY1" fmla="*/ 64293 h 150018"/>
                <a:gd name="connsiteX2" fmla="*/ 111919 w 209550"/>
                <a:gd name="connsiteY2" fmla="*/ 150018 h 150018"/>
                <a:gd name="connsiteX3" fmla="*/ 97631 w 209550"/>
                <a:gd name="connsiteY3" fmla="*/ 128587 h 150018"/>
                <a:gd name="connsiteX4" fmla="*/ 80963 w 209550"/>
                <a:gd name="connsiteY4" fmla="*/ 123825 h 150018"/>
                <a:gd name="connsiteX5" fmla="*/ 83344 w 209550"/>
                <a:gd name="connsiteY5" fmla="*/ 95250 h 150018"/>
                <a:gd name="connsiteX6" fmla="*/ 100013 w 209550"/>
                <a:gd name="connsiteY6" fmla="*/ 83343 h 150018"/>
                <a:gd name="connsiteX7" fmla="*/ 69056 w 209550"/>
                <a:gd name="connsiteY7" fmla="*/ 76200 h 150018"/>
                <a:gd name="connsiteX8" fmla="*/ 30956 w 209550"/>
                <a:gd name="connsiteY8" fmla="*/ 42862 h 150018"/>
                <a:gd name="connsiteX9" fmla="*/ 0 w 209550"/>
                <a:gd name="connsiteY9" fmla="*/ 0 h 150018"/>
                <a:gd name="connsiteX10" fmla="*/ 26194 w 209550"/>
                <a:gd name="connsiteY10" fmla="*/ 0 h 150018"/>
                <a:gd name="connsiteX11" fmla="*/ 40481 w 209550"/>
                <a:gd name="connsiteY11" fmla="*/ 33337 h 150018"/>
                <a:gd name="connsiteX12" fmla="*/ 71438 w 209550"/>
                <a:gd name="connsiteY12" fmla="*/ 40481 h 150018"/>
                <a:gd name="connsiteX13" fmla="*/ 102394 w 209550"/>
                <a:gd name="connsiteY13" fmla="*/ 16668 h 150018"/>
                <a:gd name="connsiteX14" fmla="*/ 130969 w 209550"/>
                <a:gd name="connsiteY14" fmla="*/ 19050 h 150018"/>
                <a:gd name="connsiteX15" fmla="*/ 166688 w 209550"/>
                <a:gd name="connsiteY15" fmla="*/ 19050 h 150018"/>
                <a:gd name="connsiteX16" fmla="*/ 209550 w 209550"/>
                <a:gd name="connsiteY16" fmla="*/ 23812 h 150018"/>
                <a:gd name="connsiteX0" fmla="*/ 209550 w 209550"/>
                <a:gd name="connsiteY0" fmla="*/ 38100 h 164306"/>
                <a:gd name="connsiteX1" fmla="*/ 166688 w 209550"/>
                <a:gd name="connsiteY1" fmla="*/ 78581 h 164306"/>
                <a:gd name="connsiteX2" fmla="*/ 111919 w 209550"/>
                <a:gd name="connsiteY2" fmla="*/ 164306 h 164306"/>
                <a:gd name="connsiteX3" fmla="*/ 97631 w 209550"/>
                <a:gd name="connsiteY3" fmla="*/ 142875 h 164306"/>
                <a:gd name="connsiteX4" fmla="*/ 80963 w 209550"/>
                <a:gd name="connsiteY4" fmla="*/ 138113 h 164306"/>
                <a:gd name="connsiteX5" fmla="*/ 83344 w 209550"/>
                <a:gd name="connsiteY5" fmla="*/ 109538 h 164306"/>
                <a:gd name="connsiteX6" fmla="*/ 100013 w 209550"/>
                <a:gd name="connsiteY6" fmla="*/ 97631 h 164306"/>
                <a:gd name="connsiteX7" fmla="*/ 69056 w 209550"/>
                <a:gd name="connsiteY7" fmla="*/ 90488 h 164306"/>
                <a:gd name="connsiteX8" fmla="*/ 30956 w 209550"/>
                <a:gd name="connsiteY8" fmla="*/ 57150 h 164306"/>
                <a:gd name="connsiteX9" fmla="*/ 0 w 209550"/>
                <a:gd name="connsiteY9" fmla="*/ 14288 h 164306"/>
                <a:gd name="connsiteX10" fmla="*/ 26194 w 209550"/>
                <a:gd name="connsiteY10" fmla="*/ 14288 h 164306"/>
                <a:gd name="connsiteX11" fmla="*/ 40481 w 209550"/>
                <a:gd name="connsiteY11" fmla="*/ 47625 h 164306"/>
                <a:gd name="connsiteX12" fmla="*/ 71438 w 209550"/>
                <a:gd name="connsiteY12" fmla="*/ 54769 h 164306"/>
                <a:gd name="connsiteX13" fmla="*/ 102394 w 209550"/>
                <a:gd name="connsiteY13" fmla="*/ 30956 h 164306"/>
                <a:gd name="connsiteX14" fmla="*/ 130969 w 209550"/>
                <a:gd name="connsiteY14" fmla="*/ 33338 h 164306"/>
                <a:gd name="connsiteX15" fmla="*/ 176213 w 209550"/>
                <a:gd name="connsiteY15" fmla="*/ 0 h 164306"/>
                <a:gd name="connsiteX16" fmla="*/ 209550 w 209550"/>
                <a:gd name="connsiteY16" fmla="*/ 38100 h 164306"/>
                <a:gd name="connsiteX0" fmla="*/ 209550 w 209550"/>
                <a:gd name="connsiteY0" fmla="*/ 38100 h 164306"/>
                <a:gd name="connsiteX1" fmla="*/ 188119 w 209550"/>
                <a:gd name="connsiteY1" fmla="*/ 23813 h 164306"/>
                <a:gd name="connsiteX2" fmla="*/ 166688 w 209550"/>
                <a:gd name="connsiteY2" fmla="*/ 78581 h 164306"/>
                <a:gd name="connsiteX3" fmla="*/ 111919 w 209550"/>
                <a:gd name="connsiteY3" fmla="*/ 164306 h 164306"/>
                <a:gd name="connsiteX4" fmla="*/ 97631 w 209550"/>
                <a:gd name="connsiteY4" fmla="*/ 142875 h 164306"/>
                <a:gd name="connsiteX5" fmla="*/ 80963 w 209550"/>
                <a:gd name="connsiteY5" fmla="*/ 138113 h 164306"/>
                <a:gd name="connsiteX6" fmla="*/ 83344 w 209550"/>
                <a:gd name="connsiteY6" fmla="*/ 109538 h 164306"/>
                <a:gd name="connsiteX7" fmla="*/ 100013 w 209550"/>
                <a:gd name="connsiteY7" fmla="*/ 97631 h 164306"/>
                <a:gd name="connsiteX8" fmla="*/ 69056 w 209550"/>
                <a:gd name="connsiteY8" fmla="*/ 90488 h 164306"/>
                <a:gd name="connsiteX9" fmla="*/ 30956 w 209550"/>
                <a:gd name="connsiteY9" fmla="*/ 57150 h 164306"/>
                <a:gd name="connsiteX10" fmla="*/ 0 w 209550"/>
                <a:gd name="connsiteY10" fmla="*/ 14288 h 164306"/>
                <a:gd name="connsiteX11" fmla="*/ 26194 w 209550"/>
                <a:gd name="connsiteY11" fmla="*/ 14288 h 164306"/>
                <a:gd name="connsiteX12" fmla="*/ 40481 w 209550"/>
                <a:gd name="connsiteY12" fmla="*/ 47625 h 164306"/>
                <a:gd name="connsiteX13" fmla="*/ 71438 w 209550"/>
                <a:gd name="connsiteY13" fmla="*/ 54769 h 164306"/>
                <a:gd name="connsiteX14" fmla="*/ 102394 w 209550"/>
                <a:gd name="connsiteY14" fmla="*/ 30956 h 164306"/>
                <a:gd name="connsiteX15" fmla="*/ 130969 w 209550"/>
                <a:gd name="connsiteY15" fmla="*/ 33338 h 164306"/>
                <a:gd name="connsiteX16" fmla="*/ 176213 w 209550"/>
                <a:gd name="connsiteY16" fmla="*/ 0 h 164306"/>
                <a:gd name="connsiteX17" fmla="*/ 209550 w 209550"/>
                <a:gd name="connsiteY17" fmla="*/ 38100 h 164306"/>
                <a:gd name="connsiteX0" fmla="*/ 209550 w 228600"/>
                <a:gd name="connsiteY0" fmla="*/ 50005 h 176211"/>
                <a:gd name="connsiteX1" fmla="*/ 228600 w 228600"/>
                <a:gd name="connsiteY1" fmla="*/ 0 h 176211"/>
                <a:gd name="connsiteX2" fmla="*/ 166688 w 228600"/>
                <a:gd name="connsiteY2" fmla="*/ 90486 h 176211"/>
                <a:gd name="connsiteX3" fmla="*/ 111919 w 228600"/>
                <a:gd name="connsiteY3" fmla="*/ 176211 h 176211"/>
                <a:gd name="connsiteX4" fmla="*/ 97631 w 228600"/>
                <a:gd name="connsiteY4" fmla="*/ 154780 h 176211"/>
                <a:gd name="connsiteX5" fmla="*/ 80963 w 228600"/>
                <a:gd name="connsiteY5" fmla="*/ 150018 h 176211"/>
                <a:gd name="connsiteX6" fmla="*/ 83344 w 228600"/>
                <a:gd name="connsiteY6" fmla="*/ 121443 h 176211"/>
                <a:gd name="connsiteX7" fmla="*/ 100013 w 228600"/>
                <a:gd name="connsiteY7" fmla="*/ 109536 h 176211"/>
                <a:gd name="connsiteX8" fmla="*/ 69056 w 228600"/>
                <a:gd name="connsiteY8" fmla="*/ 102393 h 176211"/>
                <a:gd name="connsiteX9" fmla="*/ 30956 w 228600"/>
                <a:gd name="connsiteY9" fmla="*/ 69055 h 176211"/>
                <a:gd name="connsiteX10" fmla="*/ 0 w 228600"/>
                <a:gd name="connsiteY10" fmla="*/ 26193 h 176211"/>
                <a:gd name="connsiteX11" fmla="*/ 26194 w 228600"/>
                <a:gd name="connsiteY11" fmla="*/ 26193 h 176211"/>
                <a:gd name="connsiteX12" fmla="*/ 40481 w 228600"/>
                <a:gd name="connsiteY12" fmla="*/ 59530 h 176211"/>
                <a:gd name="connsiteX13" fmla="*/ 71438 w 228600"/>
                <a:gd name="connsiteY13" fmla="*/ 66674 h 176211"/>
                <a:gd name="connsiteX14" fmla="*/ 102394 w 228600"/>
                <a:gd name="connsiteY14" fmla="*/ 42861 h 176211"/>
                <a:gd name="connsiteX15" fmla="*/ 130969 w 228600"/>
                <a:gd name="connsiteY15" fmla="*/ 45243 h 176211"/>
                <a:gd name="connsiteX16" fmla="*/ 176213 w 228600"/>
                <a:gd name="connsiteY16" fmla="*/ 11905 h 176211"/>
                <a:gd name="connsiteX17" fmla="*/ 209550 w 228600"/>
                <a:gd name="connsiteY17" fmla="*/ 50005 h 176211"/>
                <a:gd name="connsiteX0" fmla="*/ 204787 w 228600"/>
                <a:gd name="connsiteY0" fmla="*/ 4761 h 176211"/>
                <a:gd name="connsiteX1" fmla="*/ 228600 w 228600"/>
                <a:gd name="connsiteY1" fmla="*/ 0 h 176211"/>
                <a:gd name="connsiteX2" fmla="*/ 166688 w 228600"/>
                <a:gd name="connsiteY2" fmla="*/ 90486 h 176211"/>
                <a:gd name="connsiteX3" fmla="*/ 111919 w 228600"/>
                <a:gd name="connsiteY3" fmla="*/ 176211 h 176211"/>
                <a:gd name="connsiteX4" fmla="*/ 97631 w 228600"/>
                <a:gd name="connsiteY4" fmla="*/ 154780 h 176211"/>
                <a:gd name="connsiteX5" fmla="*/ 80963 w 228600"/>
                <a:gd name="connsiteY5" fmla="*/ 150018 h 176211"/>
                <a:gd name="connsiteX6" fmla="*/ 83344 w 228600"/>
                <a:gd name="connsiteY6" fmla="*/ 121443 h 176211"/>
                <a:gd name="connsiteX7" fmla="*/ 100013 w 228600"/>
                <a:gd name="connsiteY7" fmla="*/ 109536 h 176211"/>
                <a:gd name="connsiteX8" fmla="*/ 69056 w 228600"/>
                <a:gd name="connsiteY8" fmla="*/ 102393 h 176211"/>
                <a:gd name="connsiteX9" fmla="*/ 30956 w 228600"/>
                <a:gd name="connsiteY9" fmla="*/ 69055 h 176211"/>
                <a:gd name="connsiteX10" fmla="*/ 0 w 228600"/>
                <a:gd name="connsiteY10" fmla="*/ 26193 h 176211"/>
                <a:gd name="connsiteX11" fmla="*/ 26194 w 228600"/>
                <a:gd name="connsiteY11" fmla="*/ 26193 h 176211"/>
                <a:gd name="connsiteX12" fmla="*/ 40481 w 228600"/>
                <a:gd name="connsiteY12" fmla="*/ 59530 h 176211"/>
                <a:gd name="connsiteX13" fmla="*/ 71438 w 228600"/>
                <a:gd name="connsiteY13" fmla="*/ 66674 h 176211"/>
                <a:gd name="connsiteX14" fmla="*/ 102394 w 228600"/>
                <a:gd name="connsiteY14" fmla="*/ 42861 h 176211"/>
                <a:gd name="connsiteX15" fmla="*/ 130969 w 228600"/>
                <a:gd name="connsiteY15" fmla="*/ 45243 h 176211"/>
                <a:gd name="connsiteX16" fmla="*/ 176213 w 228600"/>
                <a:gd name="connsiteY16" fmla="*/ 11905 h 176211"/>
                <a:gd name="connsiteX17" fmla="*/ 204787 w 228600"/>
                <a:gd name="connsiteY17" fmla="*/ 4761 h 176211"/>
                <a:gd name="connsiteX0" fmla="*/ 204787 w 211931"/>
                <a:gd name="connsiteY0" fmla="*/ 0 h 171450"/>
                <a:gd name="connsiteX1" fmla="*/ 211931 w 211931"/>
                <a:gd name="connsiteY1" fmla="*/ 47627 h 171450"/>
                <a:gd name="connsiteX2" fmla="*/ 166688 w 211931"/>
                <a:gd name="connsiteY2" fmla="*/ 85725 h 171450"/>
                <a:gd name="connsiteX3" fmla="*/ 111919 w 211931"/>
                <a:gd name="connsiteY3" fmla="*/ 171450 h 171450"/>
                <a:gd name="connsiteX4" fmla="*/ 97631 w 211931"/>
                <a:gd name="connsiteY4" fmla="*/ 150019 h 171450"/>
                <a:gd name="connsiteX5" fmla="*/ 80963 w 211931"/>
                <a:gd name="connsiteY5" fmla="*/ 145257 h 171450"/>
                <a:gd name="connsiteX6" fmla="*/ 83344 w 211931"/>
                <a:gd name="connsiteY6" fmla="*/ 116682 h 171450"/>
                <a:gd name="connsiteX7" fmla="*/ 100013 w 211931"/>
                <a:gd name="connsiteY7" fmla="*/ 104775 h 171450"/>
                <a:gd name="connsiteX8" fmla="*/ 69056 w 211931"/>
                <a:gd name="connsiteY8" fmla="*/ 97632 h 171450"/>
                <a:gd name="connsiteX9" fmla="*/ 30956 w 211931"/>
                <a:gd name="connsiteY9" fmla="*/ 64294 h 171450"/>
                <a:gd name="connsiteX10" fmla="*/ 0 w 211931"/>
                <a:gd name="connsiteY10" fmla="*/ 21432 h 171450"/>
                <a:gd name="connsiteX11" fmla="*/ 26194 w 211931"/>
                <a:gd name="connsiteY11" fmla="*/ 21432 h 171450"/>
                <a:gd name="connsiteX12" fmla="*/ 40481 w 211931"/>
                <a:gd name="connsiteY12" fmla="*/ 54769 h 171450"/>
                <a:gd name="connsiteX13" fmla="*/ 71438 w 211931"/>
                <a:gd name="connsiteY13" fmla="*/ 61913 h 171450"/>
                <a:gd name="connsiteX14" fmla="*/ 102394 w 211931"/>
                <a:gd name="connsiteY14" fmla="*/ 38100 h 171450"/>
                <a:gd name="connsiteX15" fmla="*/ 130969 w 211931"/>
                <a:gd name="connsiteY15" fmla="*/ 40482 h 171450"/>
                <a:gd name="connsiteX16" fmla="*/ 176213 w 211931"/>
                <a:gd name="connsiteY16" fmla="*/ 7144 h 171450"/>
                <a:gd name="connsiteX17" fmla="*/ 204787 w 211931"/>
                <a:gd name="connsiteY17" fmla="*/ 0 h 171450"/>
                <a:gd name="connsiteX0" fmla="*/ 204787 w 211931"/>
                <a:gd name="connsiteY0" fmla="*/ 0 h 171450"/>
                <a:gd name="connsiteX1" fmla="*/ 209551 w 211931"/>
                <a:gd name="connsiteY1" fmla="*/ 23813 h 171450"/>
                <a:gd name="connsiteX2" fmla="*/ 211931 w 211931"/>
                <a:gd name="connsiteY2" fmla="*/ 47627 h 171450"/>
                <a:gd name="connsiteX3" fmla="*/ 166688 w 211931"/>
                <a:gd name="connsiteY3" fmla="*/ 85725 h 171450"/>
                <a:gd name="connsiteX4" fmla="*/ 111919 w 211931"/>
                <a:gd name="connsiteY4" fmla="*/ 171450 h 171450"/>
                <a:gd name="connsiteX5" fmla="*/ 97631 w 211931"/>
                <a:gd name="connsiteY5" fmla="*/ 150019 h 171450"/>
                <a:gd name="connsiteX6" fmla="*/ 80963 w 211931"/>
                <a:gd name="connsiteY6" fmla="*/ 145257 h 171450"/>
                <a:gd name="connsiteX7" fmla="*/ 83344 w 211931"/>
                <a:gd name="connsiteY7" fmla="*/ 116682 h 171450"/>
                <a:gd name="connsiteX8" fmla="*/ 100013 w 211931"/>
                <a:gd name="connsiteY8" fmla="*/ 104775 h 171450"/>
                <a:gd name="connsiteX9" fmla="*/ 69056 w 211931"/>
                <a:gd name="connsiteY9" fmla="*/ 97632 h 171450"/>
                <a:gd name="connsiteX10" fmla="*/ 30956 w 211931"/>
                <a:gd name="connsiteY10" fmla="*/ 64294 h 171450"/>
                <a:gd name="connsiteX11" fmla="*/ 0 w 211931"/>
                <a:gd name="connsiteY11" fmla="*/ 21432 h 171450"/>
                <a:gd name="connsiteX12" fmla="*/ 26194 w 211931"/>
                <a:gd name="connsiteY12" fmla="*/ 21432 h 171450"/>
                <a:gd name="connsiteX13" fmla="*/ 40481 w 211931"/>
                <a:gd name="connsiteY13" fmla="*/ 54769 h 171450"/>
                <a:gd name="connsiteX14" fmla="*/ 71438 w 211931"/>
                <a:gd name="connsiteY14" fmla="*/ 61913 h 171450"/>
                <a:gd name="connsiteX15" fmla="*/ 102394 w 211931"/>
                <a:gd name="connsiteY15" fmla="*/ 38100 h 171450"/>
                <a:gd name="connsiteX16" fmla="*/ 130969 w 211931"/>
                <a:gd name="connsiteY16" fmla="*/ 40482 h 171450"/>
                <a:gd name="connsiteX17" fmla="*/ 176213 w 211931"/>
                <a:gd name="connsiteY17" fmla="*/ 7144 h 171450"/>
                <a:gd name="connsiteX18" fmla="*/ 204787 w 211931"/>
                <a:gd name="connsiteY18" fmla="*/ 0 h 171450"/>
                <a:gd name="connsiteX0" fmla="*/ 204787 w 226220"/>
                <a:gd name="connsiteY0" fmla="*/ 0 h 171450"/>
                <a:gd name="connsiteX1" fmla="*/ 226220 w 226220"/>
                <a:gd name="connsiteY1" fmla="*/ 4763 h 171450"/>
                <a:gd name="connsiteX2" fmla="*/ 211931 w 226220"/>
                <a:gd name="connsiteY2" fmla="*/ 47627 h 171450"/>
                <a:gd name="connsiteX3" fmla="*/ 166688 w 226220"/>
                <a:gd name="connsiteY3" fmla="*/ 85725 h 171450"/>
                <a:gd name="connsiteX4" fmla="*/ 111919 w 226220"/>
                <a:gd name="connsiteY4" fmla="*/ 171450 h 171450"/>
                <a:gd name="connsiteX5" fmla="*/ 97631 w 226220"/>
                <a:gd name="connsiteY5" fmla="*/ 150019 h 171450"/>
                <a:gd name="connsiteX6" fmla="*/ 80963 w 226220"/>
                <a:gd name="connsiteY6" fmla="*/ 145257 h 171450"/>
                <a:gd name="connsiteX7" fmla="*/ 83344 w 226220"/>
                <a:gd name="connsiteY7" fmla="*/ 116682 h 171450"/>
                <a:gd name="connsiteX8" fmla="*/ 100013 w 226220"/>
                <a:gd name="connsiteY8" fmla="*/ 104775 h 171450"/>
                <a:gd name="connsiteX9" fmla="*/ 69056 w 226220"/>
                <a:gd name="connsiteY9" fmla="*/ 97632 h 171450"/>
                <a:gd name="connsiteX10" fmla="*/ 30956 w 226220"/>
                <a:gd name="connsiteY10" fmla="*/ 64294 h 171450"/>
                <a:gd name="connsiteX11" fmla="*/ 0 w 226220"/>
                <a:gd name="connsiteY11" fmla="*/ 21432 h 171450"/>
                <a:gd name="connsiteX12" fmla="*/ 26194 w 226220"/>
                <a:gd name="connsiteY12" fmla="*/ 21432 h 171450"/>
                <a:gd name="connsiteX13" fmla="*/ 40481 w 226220"/>
                <a:gd name="connsiteY13" fmla="*/ 54769 h 171450"/>
                <a:gd name="connsiteX14" fmla="*/ 71438 w 226220"/>
                <a:gd name="connsiteY14" fmla="*/ 61913 h 171450"/>
                <a:gd name="connsiteX15" fmla="*/ 102394 w 226220"/>
                <a:gd name="connsiteY15" fmla="*/ 38100 h 171450"/>
                <a:gd name="connsiteX16" fmla="*/ 130969 w 226220"/>
                <a:gd name="connsiteY16" fmla="*/ 40482 h 171450"/>
                <a:gd name="connsiteX17" fmla="*/ 176213 w 226220"/>
                <a:gd name="connsiteY17" fmla="*/ 7144 h 171450"/>
                <a:gd name="connsiteX18" fmla="*/ 204787 w 226220"/>
                <a:gd name="connsiteY1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6220" h="171450">
                  <a:moveTo>
                    <a:pt x="204787" y="0"/>
                  </a:moveTo>
                  <a:lnTo>
                    <a:pt x="226220" y="4763"/>
                  </a:lnTo>
                  <a:lnTo>
                    <a:pt x="211931" y="47627"/>
                  </a:lnTo>
                  <a:lnTo>
                    <a:pt x="166688" y="85725"/>
                  </a:lnTo>
                  <a:lnTo>
                    <a:pt x="111919" y="171450"/>
                  </a:lnTo>
                  <a:lnTo>
                    <a:pt x="97631" y="150019"/>
                  </a:lnTo>
                  <a:lnTo>
                    <a:pt x="80963" y="145257"/>
                  </a:lnTo>
                  <a:lnTo>
                    <a:pt x="83344" y="116682"/>
                  </a:lnTo>
                  <a:lnTo>
                    <a:pt x="100013" y="104775"/>
                  </a:lnTo>
                  <a:lnTo>
                    <a:pt x="69056" y="97632"/>
                  </a:lnTo>
                  <a:lnTo>
                    <a:pt x="30956" y="64294"/>
                  </a:lnTo>
                  <a:lnTo>
                    <a:pt x="0" y="21432"/>
                  </a:lnTo>
                  <a:lnTo>
                    <a:pt x="26194" y="21432"/>
                  </a:lnTo>
                  <a:lnTo>
                    <a:pt x="40481" y="54769"/>
                  </a:lnTo>
                  <a:lnTo>
                    <a:pt x="71438" y="61913"/>
                  </a:lnTo>
                  <a:lnTo>
                    <a:pt x="102394" y="38100"/>
                  </a:lnTo>
                  <a:lnTo>
                    <a:pt x="130969" y="40482"/>
                  </a:lnTo>
                  <a:lnTo>
                    <a:pt x="176213" y="7144"/>
                  </a:lnTo>
                  <a:lnTo>
                    <a:pt x="204787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: Shape 166"/>
            <p:cNvSpPr/>
            <p:nvPr/>
          </p:nvSpPr>
          <p:spPr bwMode="auto">
            <a:xfrm>
              <a:off x="6474619" y="3974306"/>
              <a:ext cx="85725" cy="40481"/>
            </a:xfrm>
            <a:custGeom>
              <a:avLst/>
              <a:gdLst>
                <a:gd name="connsiteX0" fmla="*/ 85725 w 85725"/>
                <a:gd name="connsiteY0" fmla="*/ 14288 h 33338"/>
                <a:gd name="connsiteX1" fmla="*/ 0 w 85725"/>
                <a:gd name="connsiteY1" fmla="*/ 0 h 33338"/>
                <a:gd name="connsiteX2" fmla="*/ 21431 w 85725"/>
                <a:gd name="connsiteY2" fmla="*/ 33338 h 33338"/>
                <a:gd name="connsiteX3" fmla="*/ 85725 w 85725"/>
                <a:gd name="connsiteY3" fmla="*/ 14288 h 33338"/>
                <a:gd name="connsiteX0" fmla="*/ 85725 w 85725"/>
                <a:gd name="connsiteY0" fmla="*/ 14288 h 33338"/>
                <a:gd name="connsiteX1" fmla="*/ 0 w 85725"/>
                <a:gd name="connsiteY1" fmla="*/ 0 h 33338"/>
                <a:gd name="connsiteX2" fmla="*/ 21431 w 85725"/>
                <a:gd name="connsiteY2" fmla="*/ 33338 h 33338"/>
                <a:gd name="connsiteX3" fmla="*/ 47625 w 85725"/>
                <a:gd name="connsiteY3" fmla="*/ 26194 h 33338"/>
                <a:gd name="connsiteX4" fmla="*/ 85725 w 85725"/>
                <a:gd name="connsiteY4" fmla="*/ 14288 h 33338"/>
                <a:gd name="connsiteX0" fmla="*/ 85725 w 85725"/>
                <a:gd name="connsiteY0" fmla="*/ 14288 h 40481"/>
                <a:gd name="connsiteX1" fmla="*/ 0 w 85725"/>
                <a:gd name="connsiteY1" fmla="*/ 0 h 40481"/>
                <a:gd name="connsiteX2" fmla="*/ 21431 w 85725"/>
                <a:gd name="connsiteY2" fmla="*/ 33338 h 40481"/>
                <a:gd name="connsiteX3" fmla="*/ 61912 w 85725"/>
                <a:gd name="connsiteY3" fmla="*/ 40481 h 40481"/>
                <a:gd name="connsiteX4" fmla="*/ 85725 w 85725"/>
                <a:gd name="connsiteY4" fmla="*/ 14288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40481">
                  <a:moveTo>
                    <a:pt x="85725" y="14288"/>
                  </a:moveTo>
                  <a:lnTo>
                    <a:pt x="0" y="0"/>
                  </a:lnTo>
                  <a:lnTo>
                    <a:pt x="21431" y="33338"/>
                  </a:lnTo>
                  <a:lnTo>
                    <a:pt x="61912" y="40481"/>
                  </a:lnTo>
                  <a:lnTo>
                    <a:pt x="85725" y="1428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: Shape 167"/>
            <p:cNvSpPr/>
            <p:nvPr/>
          </p:nvSpPr>
          <p:spPr bwMode="auto">
            <a:xfrm>
              <a:off x="6815138" y="4331494"/>
              <a:ext cx="116681" cy="109537"/>
            </a:xfrm>
            <a:custGeom>
              <a:avLst/>
              <a:gdLst>
                <a:gd name="connsiteX0" fmla="*/ 80962 w 116681"/>
                <a:gd name="connsiteY0" fmla="*/ 0 h 109537"/>
                <a:gd name="connsiteX1" fmla="*/ 0 w 116681"/>
                <a:gd name="connsiteY1" fmla="*/ 7144 h 109537"/>
                <a:gd name="connsiteX2" fmla="*/ 0 w 116681"/>
                <a:gd name="connsiteY2" fmla="*/ 57150 h 109537"/>
                <a:gd name="connsiteX3" fmla="*/ 38100 w 116681"/>
                <a:gd name="connsiteY3" fmla="*/ 109537 h 109537"/>
                <a:gd name="connsiteX4" fmla="*/ 76200 w 116681"/>
                <a:gd name="connsiteY4" fmla="*/ 69056 h 109537"/>
                <a:gd name="connsiteX5" fmla="*/ 116681 w 116681"/>
                <a:gd name="connsiteY5" fmla="*/ 38100 h 109537"/>
                <a:gd name="connsiteX6" fmla="*/ 80962 w 116681"/>
                <a:gd name="connsiteY6" fmla="*/ 0 h 109537"/>
                <a:gd name="connsiteX0" fmla="*/ 80962 w 116681"/>
                <a:gd name="connsiteY0" fmla="*/ 0 h 109537"/>
                <a:gd name="connsiteX1" fmla="*/ 0 w 116681"/>
                <a:gd name="connsiteY1" fmla="*/ 7144 h 109537"/>
                <a:gd name="connsiteX2" fmla="*/ 0 w 116681"/>
                <a:gd name="connsiteY2" fmla="*/ 57150 h 109537"/>
                <a:gd name="connsiteX3" fmla="*/ 38100 w 116681"/>
                <a:gd name="connsiteY3" fmla="*/ 109537 h 109537"/>
                <a:gd name="connsiteX4" fmla="*/ 76200 w 116681"/>
                <a:gd name="connsiteY4" fmla="*/ 69056 h 109537"/>
                <a:gd name="connsiteX5" fmla="*/ 116681 w 116681"/>
                <a:gd name="connsiteY5" fmla="*/ 38100 h 109537"/>
                <a:gd name="connsiteX6" fmla="*/ 97631 w 116681"/>
                <a:gd name="connsiteY6" fmla="*/ 21431 h 109537"/>
                <a:gd name="connsiteX7" fmla="*/ 80962 w 116681"/>
                <a:gd name="connsiteY7" fmla="*/ 0 h 109537"/>
                <a:gd name="connsiteX0" fmla="*/ 80962 w 116681"/>
                <a:gd name="connsiteY0" fmla="*/ 0 h 109537"/>
                <a:gd name="connsiteX1" fmla="*/ 0 w 116681"/>
                <a:gd name="connsiteY1" fmla="*/ 7144 h 109537"/>
                <a:gd name="connsiteX2" fmla="*/ 0 w 116681"/>
                <a:gd name="connsiteY2" fmla="*/ 57150 h 109537"/>
                <a:gd name="connsiteX3" fmla="*/ 38100 w 116681"/>
                <a:gd name="connsiteY3" fmla="*/ 109537 h 109537"/>
                <a:gd name="connsiteX4" fmla="*/ 76200 w 116681"/>
                <a:gd name="connsiteY4" fmla="*/ 69056 h 109537"/>
                <a:gd name="connsiteX5" fmla="*/ 116681 w 116681"/>
                <a:gd name="connsiteY5" fmla="*/ 38100 h 109537"/>
                <a:gd name="connsiteX6" fmla="*/ 114300 w 116681"/>
                <a:gd name="connsiteY6" fmla="*/ 16668 h 109537"/>
                <a:gd name="connsiteX7" fmla="*/ 80962 w 116681"/>
                <a:gd name="connsiteY7" fmla="*/ 0 h 10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681" h="109537">
                  <a:moveTo>
                    <a:pt x="80962" y="0"/>
                  </a:moveTo>
                  <a:lnTo>
                    <a:pt x="0" y="7144"/>
                  </a:lnTo>
                  <a:lnTo>
                    <a:pt x="0" y="57150"/>
                  </a:lnTo>
                  <a:lnTo>
                    <a:pt x="38100" y="109537"/>
                  </a:lnTo>
                  <a:lnTo>
                    <a:pt x="76200" y="69056"/>
                  </a:lnTo>
                  <a:lnTo>
                    <a:pt x="116681" y="38100"/>
                  </a:lnTo>
                  <a:lnTo>
                    <a:pt x="114300" y="16668"/>
                  </a:lnTo>
                  <a:lnTo>
                    <a:pt x="80962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1" name="Freeform: Shape 168"/>
            <p:cNvSpPr/>
            <p:nvPr/>
          </p:nvSpPr>
          <p:spPr bwMode="auto">
            <a:xfrm>
              <a:off x="7774781" y="3136106"/>
              <a:ext cx="71438" cy="302419"/>
            </a:xfrm>
            <a:custGeom>
              <a:avLst/>
              <a:gdLst>
                <a:gd name="connsiteX0" fmla="*/ 19050 w 71438"/>
                <a:gd name="connsiteY0" fmla="*/ 0 h 302419"/>
                <a:gd name="connsiteX1" fmla="*/ 45244 w 71438"/>
                <a:gd name="connsiteY1" fmla="*/ 111919 h 302419"/>
                <a:gd name="connsiteX2" fmla="*/ 71438 w 71438"/>
                <a:gd name="connsiteY2" fmla="*/ 211932 h 302419"/>
                <a:gd name="connsiteX3" fmla="*/ 35719 w 71438"/>
                <a:gd name="connsiteY3" fmla="*/ 190500 h 302419"/>
                <a:gd name="connsiteX4" fmla="*/ 33338 w 71438"/>
                <a:gd name="connsiteY4" fmla="*/ 207169 h 302419"/>
                <a:gd name="connsiteX5" fmla="*/ 30957 w 71438"/>
                <a:gd name="connsiteY5" fmla="*/ 269082 h 302419"/>
                <a:gd name="connsiteX6" fmla="*/ 33338 w 71438"/>
                <a:gd name="connsiteY6" fmla="*/ 302419 h 302419"/>
                <a:gd name="connsiteX7" fmla="*/ 19050 w 71438"/>
                <a:gd name="connsiteY7" fmla="*/ 283369 h 302419"/>
                <a:gd name="connsiteX8" fmla="*/ 2382 w 71438"/>
                <a:gd name="connsiteY8" fmla="*/ 300038 h 302419"/>
                <a:gd name="connsiteX9" fmla="*/ 2382 w 71438"/>
                <a:gd name="connsiteY9" fmla="*/ 300038 h 302419"/>
                <a:gd name="connsiteX10" fmla="*/ 4763 w 71438"/>
                <a:gd name="connsiteY10" fmla="*/ 235744 h 302419"/>
                <a:gd name="connsiteX11" fmla="*/ 2382 w 71438"/>
                <a:gd name="connsiteY11" fmla="*/ 209550 h 302419"/>
                <a:gd name="connsiteX12" fmla="*/ 2382 w 71438"/>
                <a:gd name="connsiteY12" fmla="*/ 150019 h 302419"/>
                <a:gd name="connsiteX13" fmla="*/ 19050 w 71438"/>
                <a:gd name="connsiteY13" fmla="*/ 111919 h 302419"/>
                <a:gd name="connsiteX14" fmla="*/ 0 w 71438"/>
                <a:gd name="connsiteY14" fmla="*/ 85725 h 302419"/>
                <a:gd name="connsiteX15" fmla="*/ 19050 w 71438"/>
                <a:gd name="connsiteY15" fmla="*/ 0 h 30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1438" h="302419">
                  <a:moveTo>
                    <a:pt x="19050" y="0"/>
                  </a:moveTo>
                  <a:lnTo>
                    <a:pt x="45244" y="111919"/>
                  </a:lnTo>
                  <a:lnTo>
                    <a:pt x="71438" y="211932"/>
                  </a:lnTo>
                  <a:lnTo>
                    <a:pt x="35719" y="190500"/>
                  </a:lnTo>
                  <a:lnTo>
                    <a:pt x="33338" y="207169"/>
                  </a:lnTo>
                  <a:cubicBezTo>
                    <a:pt x="32544" y="227807"/>
                    <a:pt x="31751" y="248444"/>
                    <a:pt x="30957" y="269082"/>
                  </a:cubicBezTo>
                  <a:lnTo>
                    <a:pt x="33338" y="302419"/>
                  </a:lnTo>
                  <a:lnTo>
                    <a:pt x="19050" y="283369"/>
                  </a:lnTo>
                  <a:lnTo>
                    <a:pt x="2382" y="300038"/>
                  </a:lnTo>
                  <a:lnTo>
                    <a:pt x="2382" y="300038"/>
                  </a:lnTo>
                  <a:cubicBezTo>
                    <a:pt x="3176" y="278607"/>
                    <a:pt x="3969" y="257175"/>
                    <a:pt x="4763" y="235744"/>
                  </a:cubicBezTo>
                  <a:lnTo>
                    <a:pt x="2382" y="209550"/>
                  </a:lnTo>
                  <a:lnTo>
                    <a:pt x="2382" y="150019"/>
                  </a:lnTo>
                  <a:lnTo>
                    <a:pt x="19050" y="111919"/>
                  </a:lnTo>
                  <a:lnTo>
                    <a:pt x="0" y="85725"/>
                  </a:lnTo>
                  <a:lnTo>
                    <a:pt x="1905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62" name="Freeform: Shape 169"/>
            <p:cNvSpPr/>
            <p:nvPr/>
          </p:nvSpPr>
          <p:spPr bwMode="auto">
            <a:xfrm>
              <a:off x="7736681" y="3462338"/>
              <a:ext cx="123825" cy="135731"/>
            </a:xfrm>
            <a:custGeom>
              <a:avLst/>
              <a:gdLst>
                <a:gd name="connsiteX0" fmla="*/ 42863 w 123825"/>
                <a:gd name="connsiteY0" fmla="*/ 0 h 135731"/>
                <a:gd name="connsiteX1" fmla="*/ 83344 w 123825"/>
                <a:gd name="connsiteY1" fmla="*/ 50006 h 135731"/>
                <a:gd name="connsiteX2" fmla="*/ 116682 w 123825"/>
                <a:gd name="connsiteY2" fmla="*/ 61912 h 135731"/>
                <a:gd name="connsiteX3" fmla="*/ 123825 w 123825"/>
                <a:gd name="connsiteY3" fmla="*/ 80962 h 135731"/>
                <a:gd name="connsiteX4" fmla="*/ 95250 w 123825"/>
                <a:gd name="connsiteY4" fmla="*/ 102393 h 135731"/>
                <a:gd name="connsiteX5" fmla="*/ 80963 w 123825"/>
                <a:gd name="connsiteY5" fmla="*/ 126206 h 135731"/>
                <a:gd name="connsiteX6" fmla="*/ 57150 w 123825"/>
                <a:gd name="connsiteY6" fmla="*/ 100012 h 135731"/>
                <a:gd name="connsiteX7" fmla="*/ 21432 w 123825"/>
                <a:gd name="connsiteY7" fmla="*/ 107156 h 135731"/>
                <a:gd name="connsiteX8" fmla="*/ 33338 w 123825"/>
                <a:gd name="connsiteY8" fmla="*/ 121443 h 135731"/>
                <a:gd name="connsiteX9" fmla="*/ 33338 w 123825"/>
                <a:gd name="connsiteY9" fmla="*/ 135731 h 135731"/>
                <a:gd name="connsiteX10" fmla="*/ 0 w 123825"/>
                <a:gd name="connsiteY10" fmla="*/ 135731 h 135731"/>
                <a:gd name="connsiteX11" fmla="*/ 7144 w 123825"/>
                <a:gd name="connsiteY11" fmla="*/ 92868 h 135731"/>
                <a:gd name="connsiteX12" fmla="*/ 19050 w 123825"/>
                <a:gd name="connsiteY12" fmla="*/ 69056 h 135731"/>
                <a:gd name="connsiteX13" fmla="*/ 40482 w 123825"/>
                <a:gd name="connsiteY13" fmla="*/ 73818 h 135731"/>
                <a:gd name="connsiteX14" fmla="*/ 42863 w 123825"/>
                <a:gd name="connsiteY14" fmla="*/ 0 h 13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825" h="135731">
                  <a:moveTo>
                    <a:pt x="42863" y="0"/>
                  </a:moveTo>
                  <a:lnTo>
                    <a:pt x="83344" y="50006"/>
                  </a:lnTo>
                  <a:lnTo>
                    <a:pt x="116682" y="61912"/>
                  </a:lnTo>
                  <a:lnTo>
                    <a:pt x="123825" y="80962"/>
                  </a:lnTo>
                  <a:lnTo>
                    <a:pt x="95250" y="102393"/>
                  </a:lnTo>
                  <a:lnTo>
                    <a:pt x="80963" y="126206"/>
                  </a:lnTo>
                  <a:lnTo>
                    <a:pt x="57150" y="100012"/>
                  </a:lnTo>
                  <a:lnTo>
                    <a:pt x="21432" y="107156"/>
                  </a:lnTo>
                  <a:lnTo>
                    <a:pt x="33338" y="121443"/>
                  </a:lnTo>
                  <a:lnTo>
                    <a:pt x="33338" y="135731"/>
                  </a:lnTo>
                  <a:lnTo>
                    <a:pt x="0" y="135731"/>
                  </a:lnTo>
                  <a:lnTo>
                    <a:pt x="7144" y="92868"/>
                  </a:lnTo>
                  <a:lnTo>
                    <a:pt x="19050" y="69056"/>
                  </a:lnTo>
                  <a:lnTo>
                    <a:pt x="40482" y="73818"/>
                  </a:lnTo>
                  <a:cubicBezTo>
                    <a:pt x="41276" y="49212"/>
                    <a:pt x="42069" y="24606"/>
                    <a:pt x="42863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: Shape 170"/>
            <p:cNvSpPr/>
            <p:nvPr/>
          </p:nvSpPr>
          <p:spPr bwMode="auto">
            <a:xfrm>
              <a:off x="7560469" y="3709988"/>
              <a:ext cx="219075" cy="114300"/>
            </a:xfrm>
            <a:custGeom>
              <a:avLst/>
              <a:gdLst>
                <a:gd name="connsiteX0" fmla="*/ 216694 w 219075"/>
                <a:gd name="connsiteY0" fmla="*/ 80962 h 114300"/>
                <a:gd name="connsiteX1" fmla="*/ 219075 w 219075"/>
                <a:gd name="connsiteY1" fmla="*/ 2381 h 114300"/>
                <a:gd name="connsiteX2" fmla="*/ 147637 w 219075"/>
                <a:gd name="connsiteY2" fmla="*/ 11906 h 114300"/>
                <a:gd name="connsiteX3" fmla="*/ 121444 w 219075"/>
                <a:gd name="connsiteY3" fmla="*/ 23812 h 114300"/>
                <a:gd name="connsiteX4" fmla="*/ 116681 w 219075"/>
                <a:gd name="connsiteY4" fmla="*/ 0 h 114300"/>
                <a:gd name="connsiteX5" fmla="*/ 107156 w 219075"/>
                <a:gd name="connsiteY5" fmla="*/ 40481 h 114300"/>
                <a:gd name="connsiteX6" fmla="*/ 80962 w 219075"/>
                <a:gd name="connsiteY6" fmla="*/ 59531 h 114300"/>
                <a:gd name="connsiteX7" fmla="*/ 19050 w 219075"/>
                <a:gd name="connsiteY7" fmla="*/ 45243 h 114300"/>
                <a:gd name="connsiteX8" fmla="*/ 0 w 219075"/>
                <a:gd name="connsiteY8" fmla="*/ 90487 h 114300"/>
                <a:gd name="connsiteX9" fmla="*/ 0 w 219075"/>
                <a:gd name="connsiteY9" fmla="*/ 90487 h 114300"/>
                <a:gd name="connsiteX10" fmla="*/ 52387 w 219075"/>
                <a:gd name="connsiteY10" fmla="*/ 88106 h 114300"/>
                <a:gd name="connsiteX11" fmla="*/ 97631 w 219075"/>
                <a:gd name="connsiteY11" fmla="*/ 88106 h 114300"/>
                <a:gd name="connsiteX12" fmla="*/ 92869 w 219075"/>
                <a:gd name="connsiteY12" fmla="*/ 114300 h 114300"/>
                <a:gd name="connsiteX13" fmla="*/ 111919 w 219075"/>
                <a:gd name="connsiteY13" fmla="*/ 102393 h 114300"/>
                <a:gd name="connsiteX14" fmla="*/ 128587 w 219075"/>
                <a:gd name="connsiteY14" fmla="*/ 90487 h 114300"/>
                <a:gd name="connsiteX15" fmla="*/ 216694 w 219075"/>
                <a:gd name="connsiteY15" fmla="*/ 80962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9075" h="114300">
                  <a:moveTo>
                    <a:pt x="216694" y="80962"/>
                  </a:moveTo>
                  <a:cubicBezTo>
                    <a:pt x="217488" y="54768"/>
                    <a:pt x="218281" y="28575"/>
                    <a:pt x="219075" y="2381"/>
                  </a:cubicBezTo>
                  <a:lnTo>
                    <a:pt x="147637" y="11906"/>
                  </a:lnTo>
                  <a:lnTo>
                    <a:pt x="121444" y="23812"/>
                  </a:lnTo>
                  <a:lnTo>
                    <a:pt x="116681" y="0"/>
                  </a:lnTo>
                  <a:lnTo>
                    <a:pt x="107156" y="40481"/>
                  </a:lnTo>
                  <a:lnTo>
                    <a:pt x="80962" y="59531"/>
                  </a:lnTo>
                  <a:lnTo>
                    <a:pt x="19050" y="45243"/>
                  </a:lnTo>
                  <a:lnTo>
                    <a:pt x="0" y="90487"/>
                  </a:lnTo>
                  <a:lnTo>
                    <a:pt x="0" y="90487"/>
                  </a:lnTo>
                  <a:lnTo>
                    <a:pt x="52387" y="88106"/>
                  </a:lnTo>
                  <a:lnTo>
                    <a:pt x="97631" y="88106"/>
                  </a:lnTo>
                  <a:lnTo>
                    <a:pt x="92869" y="114300"/>
                  </a:lnTo>
                  <a:lnTo>
                    <a:pt x="111919" y="102393"/>
                  </a:lnTo>
                  <a:lnTo>
                    <a:pt x="128587" y="90487"/>
                  </a:lnTo>
                  <a:lnTo>
                    <a:pt x="216694" y="809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: Shape 171"/>
            <p:cNvSpPr/>
            <p:nvPr/>
          </p:nvSpPr>
          <p:spPr bwMode="auto">
            <a:xfrm>
              <a:off x="7743825" y="3600450"/>
              <a:ext cx="71438" cy="66675"/>
            </a:xfrm>
            <a:custGeom>
              <a:avLst/>
              <a:gdLst>
                <a:gd name="connsiteX0" fmla="*/ 71438 w 71438"/>
                <a:gd name="connsiteY0" fmla="*/ 42863 h 47625"/>
                <a:gd name="connsiteX1" fmla="*/ 23813 w 71438"/>
                <a:gd name="connsiteY1" fmla="*/ 0 h 47625"/>
                <a:gd name="connsiteX2" fmla="*/ 0 w 71438"/>
                <a:gd name="connsiteY2" fmla="*/ 26194 h 47625"/>
                <a:gd name="connsiteX3" fmla="*/ 9525 w 71438"/>
                <a:gd name="connsiteY3" fmla="*/ 47625 h 47625"/>
                <a:gd name="connsiteX4" fmla="*/ 71438 w 71438"/>
                <a:gd name="connsiteY4" fmla="*/ 42863 h 47625"/>
                <a:gd name="connsiteX0" fmla="*/ 71438 w 71438"/>
                <a:gd name="connsiteY0" fmla="*/ 42863 h 47625"/>
                <a:gd name="connsiteX1" fmla="*/ 23813 w 71438"/>
                <a:gd name="connsiteY1" fmla="*/ 0 h 47625"/>
                <a:gd name="connsiteX2" fmla="*/ 0 w 71438"/>
                <a:gd name="connsiteY2" fmla="*/ 26194 h 47625"/>
                <a:gd name="connsiteX3" fmla="*/ 9525 w 71438"/>
                <a:gd name="connsiteY3" fmla="*/ 47625 h 47625"/>
                <a:gd name="connsiteX4" fmla="*/ 35719 w 71438"/>
                <a:gd name="connsiteY4" fmla="*/ 42863 h 47625"/>
                <a:gd name="connsiteX5" fmla="*/ 71438 w 71438"/>
                <a:gd name="connsiteY5" fmla="*/ 42863 h 47625"/>
                <a:gd name="connsiteX0" fmla="*/ 71438 w 71438"/>
                <a:gd name="connsiteY0" fmla="*/ 42863 h 66675"/>
                <a:gd name="connsiteX1" fmla="*/ 23813 w 71438"/>
                <a:gd name="connsiteY1" fmla="*/ 0 h 66675"/>
                <a:gd name="connsiteX2" fmla="*/ 0 w 71438"/>
                <a:gd name="connsiteY2" fmla="*/ 26194 h 66675"/>
                <a:gd name="connsiteX3" fmla="*/ 9525 w 71438"/>
                <a:gd name="connsiteY3" fmla="*/ 47625 h 66675"/>
                <a:gd name="connsiteX4" fmla="*/ 42863 w 71438"/>
                <a:gd name="connsiteY4" fmla="*/ 66675 h 66675"/>
                <a:gd name="connsiteX5" fmla="*/ 71438 w 71438"/>
                <a:gd name="connsiteY5" fmla="*/ 42863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438" h="66675">
                  <a:moveTo>
                    <a:pt x="71438" y="42863"/>
                  </a:moveTo>
                  <a:lnTo>
                    <a:pt x="23813" y="0"/>
                  </a:lnTo>
                  <a:lnTo>
                    <a:pt x="0" y="26194"/>
                  </a:lnTo>
                  <a:lnTo>
                    <a:pt x="9525" y="47625"/>
                  </a:lnTo>
                  <a:lnTo>
                    <a:pt x="42863" y="66675"/>
                  </a:lnTo>
                  <a:lnTo>
                    <a:pt x="71438" y="4286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: Shape 172"/>
            <p:cNvSpPr/>
            <p:nvPr/>
          </p:nvSpPr>
          <p:spPr bwMode="auto">
            <a:xfrm>
              <a:off x="7517607" y="3800475"/>
              <a:ext cx="54768" cy="109538"/>
            </a:xfrm>
            <a:custGeom>
              <a:avLst/>
              <a:gdLst>
                <a:gd name="connsiteX0" fmla="*/ 2381 w 47625"/>
                <a:gd name="connsiteY0" fmla="*/ 0 h 109538"/>
                <a:gd name="connsiteX1" fmla="*/ 47625 w 47625"/>
                <a:gd name="connsiteY1" fmla="*/ 47625 h 109538"/>
                <a:gd name="connsiteX2" fmla="*/ 19050 w 47625"/>
                <a:gd name="connsiteY2" fmla="*/ 109538 h 109538"/>
                <a:gd name="connsiteX3" fmla="*/ 0 w 47625"/>
                <a:gd name="connsiteY3" fmla="*/ 90488 h 109538"/>
                <a:gd name="connsiteX4" fmla="*/ 16669 w 47625"/>
                <a:gd name="connsiteY4" fmla="*/ 57150 h 109538"/>
                <a:gd name="connsiteX5" fmla="*/ 2381 w 47625"/>
                <a:gd name="connsiteY5" fmla="*/ 0 h 109538"/>
                <a:gd name="connsiteX0" fmla="*/ 2381 w 47625"/>
                <a:gd name="connsiteY0" fmla="*/ 0 h 109538"/>
                <a:gd name="connsiteX1" fmla="*/ 47625 w 47625"/>
                <a:gd name="connsiteY1" fmla="*/ 47625 h 109538"/>
                <a:gd name="connsiteX2" fmla="*/ 19050 w 47625"/>
                <a:gd name="connsiteY2" fmla="*/ 109538 h 109538"/>
                <a:gd name="connsiteX3" fmla="*/ 0 w 47625"/>
                <a:gd name="connsiteY3" fmla="*/ 90488 h 109538"/>
                <a:gd name="connsiteX4" fmla="*/ 16669 w 47625"/>
                <a:gd name="connsiteY4" fmla="*/ 57150 h 109538"/>
                <a:gd name="connsiteX5" fmla="*/ 4763 w 47625"/>
                <a:gd name="connsiteY5" fmla="*/ 26194 h 109538"/>
                <a:gd name="connsiteX6" fmla="*/ 2381 w 47625"/>
                <a:gd name="connsiteY6" fmla="*/ 0 h 109538"/>
                <a:gd name="connsiteX0" fmla="*/ 9524 w 54768"/>
                <a:gd name="connsiteY0" fmla="*/ 0 h 109538"/>
                <a:gd name="connsiteX1" fmla="*/ 54768 w 54768"/>
                <a:gd name="connsiteY1" fmla="*/ 47625 h 109538"/>
                <a:gd name="connsiteX2" fmla="*/ 26193 w 54768"/>
                <a:gd name="connsiteY2" fmla="*/ 109538 h 109538"/>
                <a:gd name="connsiteX3" fmla="*/ 7143 w 54768"/>
                <a:gd name="connsiteY3" fmla="*/ 90488 h 109538"/>
                <a:gd name="connsiteX4" fmla="*/ 23812 w 54768"/>
                <a:gd name="connsiteY4" fmla="*/ 57150 h 109538"/>
                <a:gd name="connsiteX5" fmla="*/ 0 w 54768"/>
                <a:gd name="connsiteY5" fmla="*/ 26194 h 109538"/>
                <a:gd name="connsiteX6" fmla="*/ 9524 w 54768"/>
                <a:gd name="connsiteY6" fmla="*/ 0 h 10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768" h="109538">
                  <a:moveTo>
                    <a:pt x="9524" y="0"/>
                  </a:moveTo>
                  <a:lnTo>
                    <a:pt x="54768" y="47625"/>
                  </a:lnTo>
                  <a:lnTo>
                    <a:pt x="26193" y="109538"/>
                  </a:lnTo>
                  <a:lnTo>
                    <a:pt x="7143" y="90488"/>
                  </a:lnTo>
                  <a:lnTo>
                    <a:pt x="23812" y="57150"/>
                  </a:lnTo>
                  <a:lnTo>
                    <a:pt x="0" y="26194"/>
                  </a:lnTo>
                  <a:lnTo>
                    <a:pt x="952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: Shape 173"/>
            <p:cNvSpPr/>
            <p:nvPr/>
          </p:nvSpPr>
          <p:spPr bwMode="auto">
            <a:xfrm>
              <a:off x="7581900" y="3800475"/>
              <a:ext cx="50006" cy="52388"/>
            </a:xfrm>
            <a:custGeom>
              <a:avLst/>
              <a:gdLst>
                <a:gd name="connsiteX0" fmla="*/ 0 w 42862"/>
                <a:gd name="connsiteY0" fmla="*/ 52388 h 52388"/>
                <a:gd name="connsiteX1" fmla="*/ 42862 w 42862"/>
                <a:gd name="connsiteY1" fmla="*/ 21431 h 52388"/>
                <a:gd name="connsiteX2" fmla="*/ 21431 w 42862"/>
                <a:gd name="connsiteY2" fmla="*/ 0 h 52388"/>
                <a:gd name="connsiteX3" fmla="*/ 0 w 42862"/>
                <a:gd name="connsiteY3" fmla="*/ 52388 h 52388"/>
                <a:gd name="connsiteX0" fmla="*/ 0 w 42862"/>
                <a:gd name="connsiteY0" fmla="*/ 52388 h 52388"/>
                <a:gd name="connsiteX1" fmla="*/ 42862 w 42862"/>
                <a:gd name="connsiteY1" fmla="*/ 21431 h 52388"/>
                <a:gd name="connsiteX2" fmla="*/ 21431 w 42862"/>
                <a:gd name="connsiteY2" fmla="*/ 0 h 52388"/>
                <a:gd name="connsiteX3" fmla="*/ 9525 w 42862"/>
                <a:gd name="connsiteY3" fmla="*/ 26194 h 52388"/>
                <a:gd name="connsiteX4" fmla="*/ 0 w 42862"/>
                <a:gd name="connsiteY4" fmla="*/ 52388 h 52388"/>
                <a:gd name="connsiteX0" fmla="*/ 7144 w 50006"/>
                <a:gd name="connsiteY0" fmla="*/ 52388 h 52388"/>
                <a:gd name="connsiteX1" fmla="*/ 50006 w 50006"/>
                <a:gd name="connsiteY1" fmla="*/ 21431 h 52388"/>
                <a:gd name="connsiteX2" fmla="*/ 28575 w 50006"/>
                <a:gd name="connsiteY2" fmla="*/ 0 h 52388"/>
                <a:gd name="connsiteX3" fmla="*/ 0 w 50006"/>
                <a:gd name="connsiteY3" fmla="*/ 26194 h 52388"/>
                <a:gd name="connsiteX4" fmla="*/ 7144 w 50006"/>
                <a:gd name="connsiteY4" fmla="*/ 52388 h 5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06" h="52388">
                  <a:moveTo>
                    <a:pt x="7144" y="52388"/>
                  </a:moveTo>
                  <a:lnTo>
                    <a:pt x="50006" y="21431"/>
                  </a:lnTo>
                  <a:lnTo>
                    <a:pt x="28575" y="0"/>
                  </a:lnTo>
                  <a:lnTo>
                    <a:pt x="0" y="26194"/>
                  </a:lnTo>
                  <a:lnTo>
                    <a:pt x="7144" y="523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: Shape 174"/>
            <p:cNvSpPr/>
            <p:nvPr/>
          </p:nvSpPr>
          <p:spPr bwMode="auto">
            <a:xfrm>
              <a:off x="7472363" y="4707731"/>
              <a:ext cx="423862" cy="207169"/>
            </a:xfrm>
            <a:custGeom>
              <a:avLst/>
              <a:gdLst>
                <a:gd name="connsiteX0" fmla="*/ 423862 w 423862"/>
                <a:gd name="connsiteY0" fmla="*/ 207169 h 207169"/>
                <a:gd name="connsiteX1" fmla="*/ 311943 w 423862"/>
                <a:gd name="connsiteY1" fmla="*/ 92869 h 207169"/>
                <a:gd name="connsiteX2" fmla="*/ 271462 w 423862"/>
                <a:gd name="connsiteY2" fmla="*/ 59532 h 207169"/>
                <a:gd name="connsiteX3" fmla="*/ 209550 w 423862"/>
                <a:gd name="connsiteY3" fmla="*/ 28575 h 207169"/>
                <a:gd name="connsiteX4" fmla="*/ 200025 w 423862"/>
                <a:gd name="connsiteY4" fmla="*/ 42863 h 207169"/>
                <a:gd name="connsiteX5" fmla="*/ 157162 w 423862"/>
                <a:gd name="connsiteY5" fmla="*/ 23813 h 207169"/>
                <a:gd name="connsiteX6" fmla="*/ 114300 w 423862"/>
                <a:gd name="connsiteY6" fmla="*/ 47625 h 207169"/>
                <a:gd name="connsiteX7" fmla="*/ 97631 w 423862"/>
                <a:gd name="connsiteY7" fmla="*/ 66675 h 207169"/>
                <a:gd name="connsiteX8" fmla="*/ 59531 w 423862"/>
                <a:gd name="connsiteY8" fmla="*/ 26194 h 207169"/>
                <a:gd name="connsiteX9" fmla="*/ 64293 w 423862"/>
                <a:gd name="connsiteY9" fmla="*/ 11907 h 207169"/>
                <a:gd name="connsiteX10" fmla="*/ 21431 w 423862"/>
                <a:gd name="connsiteY10" fmla="*/ 0 h 207169"/>
                <a:gd name="connsiteX11" fmla="*/ 0 w 423862"/>
                <a:gd name="connsiteY11" fmla="*/ 19050 h 207169"/>
                <a:gd name="connsiteX12" fmla="*/ 38100 w 423862"/>
                <a:gd name="connsiteY12" fmla="*/ 40482 h 207169"/>
                <a:gd name="connsiteX13" fmla="*/ 33337 w 423862"/>
                <a:gd name="connsiteY13" fmla="*/ 54769 h 207169"/>
                <a:gd name="connsiteX14" fmla="*/ 78581 w 423862"/>
                <a:gd name="connsiteY14" fmla="*/ 83344 h 207169"/>
                <a:gd name="connsiteX15" fmla="*/ 140493 w 423862"/>
                <a:gd name="connsiteY15" fmla="*/ 104775 h 207169"/>
                <a:gd name="connsiteX16" fmla="*/ 171450 w 423862"/>
                <a:gd name="connsiteY16" fmla="*/ 130969 h 207169"/>
                <a:gd name="connsiteX17" fmla="*/ 154781 w 423862"/>
                <a:gd name="connsiteY17" fmla="*/ 190500 h 207169"/>
                <a:gd name="connsiteX18" fmla="*/ 180975 w 423862"/>
                <a:gd name="connsiteY18" fmla="*/ 169069 h 207169"/>
                <a:gd name="connsiteX19" fmla="*/ 223837 w 423862"/>
                <a:gd name="connsiteY19" fmla="*/ 188119 h 207169"/>
                <a:gd name="connsiteX20" fmla="*/ 254793 w 423862"/>
                <a:gd name="connsiteY20" fmla="*/ 202407 h 207169"/>
                <a:gd name="connsiteX21" fmla="*/ 280987 w 423862"/>
                <a:gd name="connsiteY21" fmla="*/ 173832 h 207169"/>
                <a:gd name="connsiteX22" fmla="*/ 314325 w 423862"/>
                <a:gd name="connsiteY22" fmla="*/ 164307 h 207169"/>
                <a:gd name="connsiteX23" fmla="*/ 364331 w 423862"/>
                <a:gd name="connsiteY23" fmla="*/ 197644 h 207169"/>
                <a:gd name="connsiteX24" fmla="*/ 423862 w 423862"/>
                <a:gd name="connsiteY24" fmla="*/ 207169 h 20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23862" h="207169">
                  <a:moveTo>
                    <a:pt x="423862" y="207169"/>
                  </a:moveTo>
                  <a:lnTo>
                    <a:pt x="311943" y="92869"/>
                  </a:lnTo>
                  <a:lnTo>
                    <a:pt x="271462" y="59532"/>
                  </a:lnTo>
                  <a:lnTo>
                    <a:pt x="209550" y="28575"/>
                  </a:lnTo>
                  <a:lnTo>
                    <a:pt x="200025" y="42863"/>
                  </a:lnTo>
                  <a:lnTo>
                    <a:pt x="157162" y="23813"/>
                  </a:lnTo>
                  <a:lnTo>
                    <a:pt x="114300" y="47625"/>
                  </a:lnTo>
                  <a:lnTo>
                    <a:pt x="97631" y="66675"/>
                  </a:lnTo>
                  <a:lnTo>
                    <a:pt x="59531" y="26194"/>
                  </a:lnTo>
                  <a:lnTo>
                    <a:pt x="64293" y="11907"/>
                  </a:lnTo>
                  <a:lnTo>
                    <a:pt x="21431" y="0"/>
                  </a:lnTo>
                  <a:lnTo>
                    <a:pt x="0" y="19050"/>
                  </a:lnTo>
                  <a:lnTo>
                    <a:pt x="38100" y="40482"/>
                  </a:lnTo>
                  <a:lnTo>
                    <a:pt x="33337" y="54769"/>
                  </a:lnTo>
                  <a:lnTo>
                    <a:pt x="78581" y="83344"/>
                  </a:lnTo>
                  <a:lnTo>
                    <a:pt x="140493" y="104775"/>
                  </a:lnTo>
                  <a:lnTo>
                    <a:pt x="171450" y="130969"/>
                  </a:lnTo>
                  <a:lnTo>
                    <a:pt x="154781" y="190500"/>
                  </a:lnTo>
                  <a:lnTo>
                    <a:pt x="180975" y="169069"/>
                  </a:lnTo>
                  <a:lnTo>
                    <a:pt x="223837" y="188119"/>
                  </a:lnTo>
                  <a:lnTo>
                    <a:pt x="254793" y="202407"/>
                  </a:lnTo>
                  <a:lnTo>
                    <a:pt x="280987" y="173832"/>
                  </a:lnTo>
                  <a:lnTo>
                    <a:pt x="314325" y="164307"/>
                  </a:lnTo>
                  <a:lnTo>
                    <a:pt x="364331" y="197644"/>
                  </a:lnTo>
                  <a:lnTo>
                    <a:pt x="423862" y="20716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68" name="Freeform: Shape 175"/>
            <p:cNvSpPr/>
            <p:nvPr/>
          </p:nvSpPr>
          <p:spPr bwMode="auto">
            <a:xfrm>
              <a:off x="6824663" y="4819650"/>
              <a:ext cx="223837" cy="73819"/>
            </a:xfrm>
            <a:custGeom>
              <a:avLst/>
              <a:gdLst>
                <a:gd name="connsiteX0" fmla="*/ 223837 w 223837"/>
                <a:gd name="connsiteY0" fmla="*/ 73819 h 73819"/>
                <a:gd name="connsiteX1" fmla="*/ 107156 w 223837"/>
                <a:gd name="connsiteY1" fmla="*/ 52388 h 73819"/>
                <a:gd name="connsiteX2" fmla="*/ 59531 w 223837"/>
                <a:gd name="connsiteY2" fmla="*/ 38100 h 73819"/>
                <a:gd name="connsiteX3" fmla="*/ 0 w 223837"/>
                <a:gd name="connsiteY3" fmla="*/ 19050 h 73819"/>
                <a:gd name="connsiteX4" fmla="*/ 19050 w 223837"/>
                <a:gd name="connsiteY4" fmla="*/ 0 h 73819"/>
                <a:gd name="connsiteX5" fmla="*/ 92868 w 223837"/>
                <a:gd name="connsiteY5" fmla="*/ 23813 h 73819"/>
                <a:gd name="connsiteX6" fmla="*/ 161925 w 223837"/>
                <a:gd name="connsiteY6" fmla="*/ 23813 h 73819"/>
                <a:gd name="connsiteX7" fmla="*/ 223837 w 223837"/>
                <a:gd name="connsiteY7" fmla="*/ 73819 h 7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837" h="73819">
                  <a:moveTo>
                    <a:pt x="223837" y="73819"/>
                  </a:moveTo>
                  <a:lnTo>
                    <a:pt x="107156" y="52388"/>
                  </a:lnTo>
                  <a:lnTo>
                    <a:pt x="59531" y="38100"/>
                  </a:lnTo>
                  <a:lnTo>
                    <a:pt x="0" y="19050"/>
                  </a:lnTo>
                  <a:lnTo>
                    <a:pt x="19050" y="0"/>
                  </a:lnTo>
                  <a:lnTo>
                    <a:pt x="92868" y="23813"/>
                  </a:lnTo>
                  <a:lnTo>
                    <a:pt x="161925" y="23813"/>
                  </a:lnTo>
                  <a:lnTo>
                    <a:pt x="223837" y="7381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9" name="Freeform: Shape 176"/>
            <p:cNvSpPr/>
            <p:nvPr/>
          </p:nvSpPr>
          <p:spPr bwMode="auto">
            <a:xfrm>
              <a:off x="6934200" y="4548188"/>
              <a:ext cx="273844" cy="242887"/>
            </a:xfrm>
            <a:custGeom>
              <a:avLst/>
              <a:gdLst>
                <a:gd name="connsiteX0" fmla="*/ 0 w 273844"/>
                <a:gd name="connsiteY0" fmla="*/ 119062 h 242887"/>
                <a:gd name="connsiteX1" fmla="*/ 23813 w 273844"/>
                <a:gd name="connsiteY1" fmla="*/ 188118 h 242887"/>
                <a:gd name="connsiteX2" fmla="*/ 42863 w 273844"/>
                <a:gd name="connsiteY2" fmla="*/ 230981 h 242887"/>
                <a:gd name="connsiteX3" fmla="*/ 102394 w 273844"/>
                <a:gd name="connsiteY3" fmla="*/ 226218 h 242887"/>
                <a:gd name="connsiteX4" fmla="*/ 147638 w 273844"/>
                <a:gd name="connsiteY4" fmla="*/ 242887 h 242887"/>
                <a:gd name="connsiteX5" fmla="*/ 183356 w 273844"/>
                <a:gd name="connsiteY5" fmla="*/ 221456 h 242887"/>
                <a:gd name="connsiteX6" fmla="*/ 204788 w 273844"/>
                <a:gd name="connsiteY6" fmla="*/ 173831 h 242887"/>
                <a:gd name="connsiteX7" fmla="*/ 240506 w 273844"/>
                <a:gd name="connsiteY7" fmla="*/ 147637 h 242887"/>
                <a:gd name="connsiteX8" fmla="*/ 238125 w 273844"/>
                <a:gd name="connsiteY8" fmla="*/ 114300 h 242887"/>
                <a:gd name="connsiteX9" fmla="*/ 219075 w 273844"/>
                <a:gd name="connsiteY9" fmla="*/ 76200 h 242887"/>
                <a:gd name="connsiteX10" fmla="*/ 242888 w 273844"/>
                <a:gd name="connsiteY10" fmla="*/ 57150 h 242887"/>
                <a:gd name="connsiteX11" fmla="*/ 273844 w 273844"/>
                <a:gd name="connsiteY11" fmla="*/ 38100 h 242887"/>
                <a:gd name="connsiteX12" fmla="*/ 202406 w 273844"/>
                <a:gd name="connsiteY12" fmla="*/ 0 h 242887"/>
                <a:gd name="connsiteX13" fmla="*/ 178594 w 273844"/>
                <a:gd name="connsiteY13" fmla="*/ 38100 h 242887"/>
                <a:gd name="connsiteX14" fmla="*/ 161925 w 273844"/>
                <a:gd name="connsiteY14" fmla="*/ 45243 h 242887"/>
                <a:gd name="connsiteX15" fmla="*/ 102394 w 273844"/>
                <a:gd name="connsiteY15" fmla="*/ 88106 h 242887"/>
                <a:gd name="connsiteX16" fmla="*/ 76200 w 273844"/>
                <a:gd name="connsiteY16" fmla="*/ 88106 h 242887"/>
                <a:gd name="connsiteX17" fmla="*/ 50006 w 273844"/>
                <a:gd name="connsiteY17" fmla="*/ 119062 h 242887"/>
                <a:gd name="connsiteX18" fmla="*/ 0 w 273844"/>
                <a:gd name="connsiteY18" fmla="*/ 119062 h 242887"/>
                <a:gd name="connsiteX0" fmla="*/ 0 w 273844"/>
                <a:gd name="connsiteY0" fmla="*/ 119062 h 242887"/>
                <a:gd name="connsiteX1" fmla="*/ 23813 w 273844"/>
                <a:gd name="connsiteY1" fmla="*/ 188118 h 242887"/>
                <a:gd name="connsiteX2" fmla="*/ 42863 w 273844"/>
                <a:gd name="connsiteY2" fmla="*/ 230981 h 242887"/>
                <a:gd name="connsiteX3" fmla="*/ 102394 w 273844"/>
                <a:gd name="connsiteY3" fmla="*/ 226218 h 242887"/>
                <a:gd name="connsiteX4" fmla="*/ 147638 w 273844"/>
                <a:gd name="connsiteY4" fmla="*/ 242887 h 242887"/>
                <a:gd name="connsiteX5" fmla="*/ 183356 w 273844"/>
                <a:gd name="connsiteY5" fmla="*/ 221456 h 242887"/>
                <a:gd name="connsiteX6" fmla="*/ 204788 w 273844"/>
                <a:gd name="connsiteY6" fmla="*/ 173831 h 242887"/>
                <a:gd name="connsiteX7" fmla="*/ 240506 w 273844"/>
                <a:gd name="connsiteY7" fmla="*/ 147637 h 242887"/>
                <a:gd name="connsiteX8" fmla="*/ 238125 w 273844"/>
                <a:gd name="connsiteY8" fmla="*/ 114300 h 242887"/>
                <a:gd name="connsiteX9" fmla="*/ 219075 w 273844"/>
                <a:gd name="connsiteY9" fmla="*/ 76200 h 242887"/>
                <a:gd name="connsiteX10" fmla="*/ 242888 w 273844"/>
                <a:gd name="connsiteY10" fmla="*/ 57150 h 242887"/>
                <a:gd name="connsiteX11" fmla="*/ 273844 w 273844"/>
                <a:gd name="connsiteY11" fmla="*/ 38100 h 242887"/>
                <a:gd name="connsiteX12" fmla="*/ 202406 w 273844"/>
                <a:gd name="connsiteY12" fmla="*/ 0 h 242887"/>
                <a:gd name="connsiteX13" fmla="*/ 178594 w 273844"/>
                <a:gd name="connsiteY13" fmla="*/ 38100 h 242887"/>
                <a:gd name="connsiteX14" fmla="*/ 161925 w 273844"/>
                <a:gd name="connsiteY14" fmla="*/ 45243 h 242887"/>
                <a:gd name="connsiteX15" fmla="*/ 102394 w 273844"/>
                <a:gd name="connsiteY15" fmla="*/ 88106 h 242887"/>
                <a:gd name="connsiteX16" fmla="*/ 76200 w 273844"/>
                <a:gd name="connsiteY16" fmla="*/ 88106 h 242887"/>
                <a:gd name="connsiteX17" fmla="*/ 50006 w 273844"/>
                <a:gd name="connsiteY17" fmla="*/ 119062 h 242887"/>
                <a:gd name="connsiteX18" fmla="*/ 21431 w 273844"/>
                <a:gd name="connsiteY18" fmla="*/ 116681 h 242887"/>
                <a:gd name="connsiteX19" fmla="*/ 0 w 273844"/>
                <a:gd name="connsiteY19" fmla="*/ 119062 h 242887"/>
                <a:gd name="connsiteX0" fmla="*/ 0 w 273844"/>
                <a:gd name="connsiteY0" fmla="*/ 119062 h 242887"/>
                <a:gd name="connsiteX1" fmla="*/ 23813 w 273844"/>
                <a:gd name="connsiteY1" fmla="*/ 188118 h 242887"/>
                <a:gd name="connsiteX2" fmla="*/ 42863 w 273844"/>
                <a:gd name="connsiteY2" fmla="*/ 230981 h 242887"/>
                <a:gd name="connsiteX3" fmla="*/ 102394 w 273844"/>
                <a:gd name="connsiteY3" fmla="*/ 226218 h 242887"/>
                <a:gd name="connsiteX4" fmla="*/ 147638 w 273844"/>
                <a:gd name="connsiteY4" fmla="*/ 242887 h 242887"/>
                <a:gd name="connsiteX5" fmla="*/ 183356 w 273844"/>
                <a:gd name="connsiteY5" fmla="*/ 221456 h 242887"/>
                <a:gd name="connsiteX6" fmla="*/ 204788 w 273844"/>
                <a:gd name="connsiteY6" fmla="*/ 173831 h 242887"/>
                <a:gd name="connsiteX7" fmla="*/ 240506 w 273844"/>
                <a:gd name="connsiteY7" fmla="*/ 147637 h 242887"/>
                <a:gd name="connsiteX8" fmla="*/ 238125 w 273844"/>
                <a:gd name="connsiteY8" fmla="*/ 114300 h 242887"/>
                <a:gd name="connsiteX9" fmla="*/ 219075 w 273844"/>
                <a:gd name="connsiteY9" fmla="*/ 76200 h 242887"/>
                <a:gd name="connsiteX10" fmla="*/ 242888 w 273844"/>
                <a:gd name="connsiteY10" fmla="*/ 57150 h 242887"/>
                <a:gd name="connsiteX11" fmla="*/ 273844 w 273844"/>
                <a:gd name="connsiteY11" fmla="*/ 38100 h 242887"/>
                <a:gd name="connsiteX12" fmla="*/ 202406 w 273844"/>
                <a:gd name="connsiteY12" fmla="*/ 0 h 242887"/>
                <a:gd name="connsiteX13" fmla="*/ 178594 w 273844"/>
                <a:gd name="connsiteY13" fmla="*/ 38100 h 242887"/>
                <a:gd name="connsiteX14" fmla="*/ 161925 w 273844"/>
                <a:gd name="connsiteY14" fmla="*/ 45243 h 242887"/>
                <a:gd name="connsiteX15" fmla="*/ 102394 w 273844"/>
                <a:gd name="connsiteY15" fmla="*/ 88106 h 242887"/>
                <a:gd name="connsiteX16" fmla="*/ 76200 w 273844"/>
                <a:gd name="connsiteY16" fmla="*/ 88106 h 242887"/>
                <a:gd name="connsiteX17" fmla="*/ 50006 w 273844"/>
                <a:gd name="connsiteY17" fmla="*/ 119062 h 242887"/>
                <a:gd name="connsiteX18" fmla="*/ 21431 w 273844"/>
                <a:gd name="connsiteY18" fmla="*/ 104775 h 242887"/>
                <a:gd name="connsiteX19" fmla="*/ 0 w 273844"/>
                <a:gd name="connsiteY19" fmla="*/ 119062 h 242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3844" h="242887">
                  <a:moveTo>
                    <a:pt x="0" y="119062"/>
                  </a:moveTo>
                  <a:lnTo>
                    <a:pt x="23813" y="188118"/>
                  </a:lnTo>
                  <a:lnTo>
                    <a:pt x="42863" y="230981"/>
                  </a:lnTo>
                  <a:lnTo>
                    <a:pt x="102394" y="226218"/>
                  </a:lnTo>
                  <a:lnTo>
                    <a:pt x="147638" y="242887"/>
                  </a:lnTo>
                  <a:lnTo>
                    <a:pt x="183356" y="221456"/>
                  </a:lnTo>
                  <a:lnTo>
                    <a:pt x="204788" y="173831"/>
                  </a:lnTo>
                  <a:lnTo>
                    <a:pt x="240506" y="147637"/>
                  </a:lnTo>
                  <a:lnTo>
                    <a:pt x="238125" y="114300"/>
                  </a:lnTo>
                  <a:lnTo>
                    <a:pt x="219075" y="76200"/>
                  </a:lnTo>
                  <a:lnTo>
                    <a:pt x="242888" y="57150"/>
                  </a:lnTo>
                  <a:lnTo>
                    <a:pt x="273844" y="38100"/>
                  </a:lnTo>
                  <a:lnTo>
                    <a:pt x="202406" y="0"/>
                  </a:lnTo>
                  <a:lnTo>
                    <a:pt x="178594" y="38100"/>
                  </a:lnTo>
                  <a:lnTo>
                    <a:pt x="161925" y="45243"/>
                  </a:lnTo>
                  <a:lnTo>
                    <a:pt x="102394" y="88106"/>
                  </a:lnTo>
                  <a:lnTo>
                    <a:pt x="76200" y="88106"/>
                  </a:lnTo>
                  <a:lnTo>
                    <a:pt x="50006" y="119062"/>
                  </a:lnTo>
                  <a:lnTo>
                    <a:pt x="21431" y="104775"/>
                  </a:lnTo>
                  <a:lnTo>
                    <a:pt x="0" y="11906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0" name="Freeform: Shape 177"/>
            <p:cNvSpPr/>
            <p:nvPr/>
          </p:nvSpPr>
          <p:spPr bwMode="auto">
            <a:xfrm>
              <a:off x="6622256" y="4507706"/>
              <a:ext cx="214313" cy="302419"/>
            </a:xfrm>
            <a:custGeom>
              <a:avLst/>
              <a:gdLst>
                <a:gd name="connsiteX0" fmla="*/ 0 w 214313"/>
                <a:gd name="connsiteY0" fmla="*/ 0 h 302419"/>
                <a:gd name="connsiteX1" fmla="*/ 92869 w 214313"/>
                <a:gd name="connsiteY1" fmla="*/ 166688 h 302419"/>
                <a:gd name="connsiteX2" fmla="*/ 126207 w 214313"/>
                <a:gd name="connsiteY2" fmla="*/ 250032 h 302419"/>
                <a:gd name="connsiteX3" fmla="*/ 178594 w 214313"/>
                <a:gd name="connsiteY3" fmla="*/ 302419 h 302419"/>
                <a:gd name="connsiteX4" fmla="*/ 207169 w 214313"/>
                <a:gd name="connsiteY4" fmla="*/ 292894 h 302419"/>
                <a:gd name="connsiteX5" fmla="*/ 214313 w 214313"/>
                <a:gd name="connsiteY5" fmla="*/ 235744 h 302419"/>
                <a:gd name="connsiteX6" fmla="*/ 180975 w 214313"/>
                <a:gd name="connsiteY6" fmla="*/ 200025 h 302419"/>
                <a:gd name="connsiteX7" fmla="*/ 180975 w 214313"/>
                <a:gd name="connsiteY7" fmla="*/ 166688 h 302419"/>
                <a:gd name="connsiteX8" fmla="*/ 157163 w 214313"/>
                <a:gd name="connsiteY8" fmla="*/ 140494 h 302419"/>
                <a:gd name="connsiteX9" fmla="*/ 109538 w 214313"/>
                <a:gd name="connsiteY9" fmla="*/ 102394 h 302419"/>
                <a:gd name="connsiteX10" fmla="*/ 88107 w 214313"/>
                <a:gd name="connsiteY10" fmla="*/ 64294 h 302419"/>
                <a:gd name="connsiteX11" fmla="*/ 64294 w 214313"/>
                <a:gd name="connsiteY11" fmla="*/ 45244 h 302419"/>
                <a:gd name="connsiteX12" fmla="*/ 0 w 214313"/>
                <a:gd name="connsiteY12" fmla="*/ 0 h 302419"/>
                <a:gd name="connsiteX0" fmla="*/ 0 w 214313"/>
                <a:gd name="connsiteY0" fmla="*/ 0 h 302419"/>
                <a:gd name="connsiteX1" fmla="*/ 92869 w 214313"/>
                <a:gd name="connsiteY1" fmla="*/ 166688 h 302419"/>
                <a:gd name="connsiteX2" fmla="*/ 126207 w 214313"/>
                <a:gd name="connsiteY2" fmla="*/ 250032 h 302419"/>
                <a:gd name="connsiteX3" fmla="*/ 178594 w 214313"/>
                <a:gd name="connsiteY3" fmla="*/ 302419 h 302419"/>
                <a:gd name="connsiteX4" fmla="*/ 207169 w 214313"/>
                <a:gd name="connsiteY4" fmla="*/ 292894 h 302419"/>
                <a:gd name="connsiteX5" fmla="*/ 214313 w 214313"/>
                <a:gd name="connsiteY5" fmla="*/ 235744 h 302419"/>
                <a:gd name="connsiteX6" fmla="*/ 180975 w 214313"/>
                <a:gd name="connsiteY6" fmla="*/ 200025 h 302419"/>
                <a:gd name="connsiteX7" fmla="*/ 180975 w 214313"/>
                <a:gd name="connsiteY7" fmla="*/ 166688 h 302419"/>
                <a:gd name="connsiteX8" fmla="*/ 157163 w 214313"/>
                <a:gd name="connsiteY8" fmla="*/ 140494 h 302419"/>
                <a:gd name="connsiteX9" fmla="*/ 109538 w 214313"/>
                <a:gd name="connsiteY9" fmla="*/ 102394 h 302419"/>
                <a:gd name="connsiteX10" fmla="*/ 88107 w 214313"/>
                <a:gd name="connsiteY10" fmla="*/ 64294 h 302419"/>
                <a:gd name="connsiteX11" fmla="*/ 64294 w 214313"/>
                <a:gd name="connsiteY11" fmla="*/ 45244 h 302419"/>
                <a:gd name="connsiteX12" fmla="*/ 33338 w 214313"/>
                <a:gd name="connsiteY12" fmla="*/ 28575 h 302419"/>
                <a:gd name="connsiteX13" fmla="*/ 0 w 214313"/>
                <a:gd name="connsiteY13" fmla="*/ 0 h 302419"/>
                <a:gd name="connsiteX0" fmla="*/ 0 w 214313"/>
                <a:gd name="connsiteY0" fmla="*/ 0 h 302419"/>
                <a:gd name="connsiteX1" fmla="*/ 92869 w 214313"/>
                <a:gd name="connsiteY1" fmla="*/ 166688 h 302419"/>
                <a:gd name="connsiteX2" fmla="*/ 126207 w 214313"/>
                <a:gd name="connsiteY2" fmla="*/ 250032 h 302419"/>
                <a:gd name="connsiteX3" fmla="*/ 178594 w 214313"/>
                <a:gd name="connsiteY3" fmla="*/ 302419 h 302419"/>
                <a:gd name="connsiteX4" fmla="*/ 207169 w 214313"/>
                <a:gd name="connsiteY4" fmla="*/ 292894 h 302419"/>
                <a:gd name="connsiteX5" fmla="*/ 214313 w 214313"/>
                <a:gd name="connsiteY5" fmla="*/ 235744 h 302419"/>
                <a:gd name="connsiteX6" fmla="*/ 180975 w 214313"/>
                <a:gd name="connsiteY6" fmla="*/ 200025 h 302419"/>
                <a:gd name="connsiteX7" fmla="*/ 180975 w 214313"/>
                <a:gd name="connsiteY7" fmla="*/ 166688 h 302419"/>
                <a:gd name="connsiteX8" fmla="*/ 157163 w 214313"/>
                <a:gd name="connsiteY8" fmla="*/ 140494 h 302419"/>
                <a:gd name="connsiteX9" fmla="*/ 109538 w 214313"/>
                <a:gd name="connsiteY9" fmla="*/ 102394 h 302419"/>
                <a:gd name="connsiteX10" fmla="*/ 88107 w 214313"/>
                <a:gd name="connsiteY10" fmla="*/ 64294 h 302419"/>
                <a:gd name="connsiteX11" fmla="*/ 64294 w 214313"/>
                <a:gd name="connsiteY11" fmla="*/ 45244 h 302419"/>
                <a:gd name="connsiteX12" fmla="*/ 52388 w 214313"/>
                <a:gd name="connsiteY12" fmla="*/ 23813 h 302419"/>
                <a:gd name="connsiteX13" fmla="*/ 0 w 214313"/>
                <a:gd name="connsiteY13" fmla="*/ 0 h 302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4313" h="302419">
                  <a:moveTo>
                    <a:pt x="0" y="0"/>
                  </a:moveTo>
                  <a:lnTo>
                    <a:pt x="92869" y="166688"/>
                  </a:lnTo>
                  <a:lnTo>
                    <a:pt x="126207" y="250032"/>
                  </a:lnTo>
                  <a:lnTo>
                    <a:pt x="178594" y="302419"/>
                  </a:lnTo>
                  <a:lnTo>
                    <a:pt x="207169" y="292894"/>
                  </a:lnTo>
                  <a:lnTo>
                    <a:pt x="214313" y="235744"/>
                  </a:lnTo>
                  <a:lnTo>
                    <a:pt x="180975" y="200025"/>
                  </a:lnTo>
                  <a:lnTo>
                    <a:pt x="180975" y="166688"/>
                  </a:lnTo>
                  <a:lnTo>
                    <a:pt x="157163" y="140494"/>
                  </a:lnTo>
                  <a:lnTo>
                    <a:pt x="109538" y="102394"/>
                  </a:lnTo>
                  <a:lnTo>
                    <a:pt x="88107" y="64294"/>
                  </a:lnTo>
                  <a:lnTo>
                    <a:pt x="64294" y="45244"/>
                  </a:lnTo>
                  <a:lnTo>
                    <a:pt x="52388" y="238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1" name="Freeform: Shape 178"/>
            <p:cNvSpPr/>
            <p:nvPr/>
          </p:nvSpPr>
          <p:spPr bwMode="auto">
            <a:xfrm>
              <a:off x="7248525" y="4036219"/>
              <a:ext cx="61913" cy="97631"/>
            </a:xfrm>
            <a:custGeom>
              <a:avLst/>
              <a:gdLst>
                <a:gd name="connsiteX0" fmla="*/ 61913 w 61913"/>
                <a:gd name="connsiteY0" fmla="*/ 0 h 97631"/>
                <a:gd name="connsiteX1" fmla="*/ 61913 w 61913"/>
                <a:gd name="connsiteY1" fmla="*/ 0 h 97631"/>
                <a:gd name="connsiteX2" fmla="*/ 16669 w 61913"/>
                <a:gd name="connsiteY2" fmla="*/ 97631 h 97631"/>
                <a:gd name="connsiteX3" fmla="*/ 0 w 61913"/>
                <a:gd name="connsiteY3" fmla="*/ 69056 h 97631"/>
                <a:gd name="connsiteX4" fmla="*/ 61913 w 61913"/>
                <a:gd name="connsiteY4" fmla="*/ 0 h 9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7631">
                  <a:moveTo>
                    <a:pt x="61913" y="0"/>
                  </a:moveTo>
                  <a:lnTo>
                    <a:pt x="61913" y="0"/>
                  </a:lnTo>
                  <a:lnTo>
                    <a:pt x="16669" y="97631"/>
                  </a:lnTo>
                  <a:lnTo>
                    <a:pt x="0" y="69056"/>
                  </a:lnTo>
                  <a:lnTo>
                    <a:pt x="6191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2" name="Freeform: Shape 179"/>
            <p:cNvSpPr/>
            <p:nvPr/>
          </p:nvSpPr>
          <p:spPr bwMode="auto">
            <a:xfrm>
              <a:off x="7210425" y="4264819"/>
              <a:ext cx="42863" cy="92869"/>
            </a:xfrm>
            <a:custGeom>
              <a:avLst/>
              <a:gdLst>
                <a:gd name="connsiteX0" fmla="*/ 42863 w 42863"/>
                <a:gd name="connsiteY0" fmla="*/ 0 h 92869"/>
                <a:gd name="connsiteX1" fmla="*/ 35719 w 42863"/>
                <a:gd name="connsiteY1" fmla="*/ 92869 h 92869"/>
                <a:gd name="connsiteX2" fmla="*/ 0 w 42863"/>
                <a:gd name="connsiteY2" fmla="*/ 78581 h 92869"/>
                <a:gd name="connsiteX3" fmla="*/ 7144 w 42863"/>
                <a:gd name="connsiteY3" fmla="*/ 54769 h 92869"/>
                <a:gd name="connsiteX4" fmla="*/ 42863 w 42863"/>
                <a:gd name="connsiteY4" fmla="*/ 0 h 92869"/>
                <a:gd name="connsiteX0" fmla="*/ 42863 w 42863"/>
                <a:gd name="connsiteY0" fmla="*/ 0 h 92869"/>
                <a:gd name="connsiteX1" fmla="*/ 35719 w 42863"/>
                <a:gd name="connsiteY1" fmla="*/ 92869 h 92869"/>
                <a:gd name="connsiteX2" fmla="*/ 0 w 42863"/>
                <a:gd name="connsiteY2" fmla="*/ 78581 h 92869"/>
                <a:gd name="connsiteX3" fmla="*/ 7144 w 42863"/>
                <a:gd name="connsiteY3" fmla="*/ 54769 h 92869"/>
                <a:gd name="connsiteX4" fmla="*/ 14288 w 42863"/>
                <a:gd name="connsiteY4" fmla="*/ 33337 h 92869"/>
                <a:gd name="connsiteX5" fmla="*/ 42863 w 42863"/>
                <a:gd name="connsiteY5" fmla="*/ 0 h 92869"/>
                <a:gd name="connsiteX0" fmla="*/ 42863 w 42863"/>
                <a:gd name="connsiteY0" fmla="*/ 0 h 92869"/>
                <a:gd name="connsiteX1" fmla="*/ 35719 w 42863"/>
                <a:gd name="connsiteY1" fmla="*/ 92869 h 92869"/>
                <a:gd name="connsiteX2" fmla="*/ 0 w 42863"/>
                <a:gd name="connsiteY2" fmla="*/ 78581 h 92869"/>
                <a:gd name="connsiteX3" fmla="*/ 7144 w 42863"/>
                <a:gd name="connsiteY3" fmla="*/ 54769 h 92869"/>
                <a:gd name="connsiteX4" fmla="*/ 9526 w 42863"/>
                <a:gd name="connsiteY4" fmla="*/ 4762 h 92869"/>
                <a:gd name="connsiteX5" fmla="*/ 42863 w 42863"/>
                <a:gd name="connsiteY5" fmla="*/ 0 h 9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863" h="92869">
                  <a:moveTo>
                    <a:pt x="42863" y="0"/>
                  </a:moveTo>
                  <a:lnTo>
                    <a:pt x="35719" y="92869"/>
                  </a:lnTo>
                  <a:lnTo>
                    <a:pt x="0" y="78581"/>
                  </a:lnTo>
                  <a:lnTo>
                    <a:pt x="7144" y="54769"/>
                  </a:lnTo>
                  <a:lnTo>
                    <a:pt x="9526" y="4762"/>
                  </a:lnTo>
                  <a:lnTo>
                    <a:pt x="4286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3" name="Freeform: Shape 180"/>
            <p:cNvSpPr/>
            <p:nvPr/>
          </p:nvSpPr>
          <p:spPr bwMode="auto">
            <a:xfrm>
              <a:off x="7248525" y="4491038"/>
              <a:ext cx="140494" cy="100012"/>
            </a:xfrm>
            <a:custGeom>
              <a:avLst/>
              <a:gdLst>
                <a:gd name="connsiteX0" fmla="*/ 140494 w 140494"/>
                <a:gd name="connsiteY0" fmla="*/ 57150 h 100012"/>
                <a:gd name="connsiteX1" fmla="*/ 140494 w 140494"/>
                <a:gd name="connsiteY1" fmla="*/ 57150 h 100012"/>
                <a:gd name="connsiteX2" fmla="*/ 119063 w 140494"/>
                <a:gd name="connsiteY2" fmla="*/ 0 h 100012"/>
                <a:gd name="connsiteX3" fmla="*/ 69056 w 140494"/>
                <a:gd name="connsiteY3" fmla="*/ 33337 h 100012"/>
                <a:gd name="connsiteX4" fmla="*/ 30956 w 140494"/>
                <a:gd name="connsiteY4" fmla="*/ 28575 h 100012"/>
                <a:gd name="connsiteX5" fmla="*/ 0 w 140494"/>
                <a:gd name="connsiteY5" fmla="*/ 52387 h 100012"/>
                <a:gd name="connsiteX6" fmla="*/ 59531 w 140494"/>
                <a:gd name="connsiteY6" fmla="*/ 47625 h 100012"/>
                <a:gd name="connsiteX7" fmla="*/ 83344 w 140494"/>
                <a:gd name="connsiteY7" fmla="*/ 73818 h 100012"/>
                <a:gd name="connsiteX8" fmla="*/ 111919 w 140494"/>
                <a:gd name="connsiteY8" fmla="*/ 100012 h 100012"/>
                <a:gd name="connsiteX9" fmla="*/ 140494 w 140494"/>
                <a:gd name="connsiteY9" fmla="*/ 57150 h 100012"/>
                <a:gd name="connsiteX0" fmla="*/ 140494 w 140494"/>
                <a:gd name="connsiteY0" fmla="*/ 57150 h 100012"/>
                <a:gd name="connsiteX1" fmla="*/ 140494 w 140494"/>
                <a:gd name="connsiteY1" fmla="*/ 57150 h 100012"/>
                <a:gd name="connsiteX2" fmla="*/ 119063 w 140494"/>
                <a:gd name="connsiteY2" fmla="*/ 0 h 100012"/>
                <a:gd name="connsiteX3" fmla="*/ 69056 w 140494"/>
                <a:gd name="connsiteY3" fmla="*/ 33337 h 100012"/>
                <a:gd name="connsiteX4" fmla="*/ 30956 w 140494"/>
                <a:gd name="connsiteY4" fmla="*/ 28575 h 100012"/>
                <a:gd name="connsiteX5" fmla="*/ 0 w 140494"/>
                <a:gd name="connsiteY5" fmla="*/ 52387 h 100012"/>
                <a:gd name="connsiteX6" fmla="*/ 59531 w 140494"/>
                <a:gd name="connsiteY6" fmla="*/ 47625 h 100012"/>
                <a:gd name="connsiteX7" fmla="*/ 83344 w 140494"/>
                <a:gd name="connsiteY7" fmla="*/ 73818 h 100012"/>
                <a:gd name="connsiteX8" fmla="*/ 111919 w 140494"/>
                <a:gd name="connsiteY8" fmla="*/ 100012 h 100012"/>
                <a:gd name="connsiteX9" fmla="*/ 123825 w 140494"/>
                <a:gd name="connsiteY9" fmla="*/ 76200 h 100012"/>
                <a:gd name="connsiteX10" fmla="*/ 140494 w 140494"/>
                <a:gd name="connsiteY10" fmla="*/ 57150 h 100012"/>
                <a:gd name="connsiteX0" fmla="*/ 140494 w 140494"/>
                <a:gd name="connsiteY0" fmla="*/ 57150 h 100012"/>
                <a:gd name="connsiteX1" fmla="*/ 140494 w 140494"/>
                <a:gd name="connsiteY1" fmla="*/ 57150 h 100012"/>
                <a:gd name="connsiteX2" fmla="*/ 119063 w 140494"/>
                <a:gd name="connsiteY2" fmla="*/ 0 h 100012"/>
                <a:gd name="connsiteX3" fmla="*/ 69056 w 140494"/>
                <a:gd name="connsiteY3" fmla="*/ 33337 h 100012"/>
                <a:gd name="connsiteX4" fmla="*/ 30956 w 140494"/>
                <a:gd name="connsiteY4" fmla="*/ 28575 h 100012"/>
                <a:gd name="connsiteX5" fmla="*/ 0 w 140494"/>
                <a:gd name="connsiteY5" fmla="*/ 52387 h 100012"/>
                <a:gd name="connsiteX6" fmla="*/ 59531 w 140494"/>
                <a:gd name="connsiteY6" fmla="*/ 47625 h 100012"/>
                <a:gd name="connsiteX7" fmla="*/ 83344 w 140494"/>
                <a:gd name="connsiteY7" fmla="*/ 73818 h 100012"/>
                <a:gd name="connsiteX8" fmla="*/ 111919 w 140494"/>
                <a:gd name="connsiteY8" fmla="*/ 100012 h 100012"/>
                <a:gd name="connsiteX9" fmla="*/ 97631 w 140494"/>
                <a:gd name="connsiteY9" fmla="*/ 52388 h 100012"/>
                <a:gd name="connsiteX10" fmla="*/ 140494 w 140494"/>
                <a:gd name="connsiteY10" fmla="*/ 57150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0494" h="100012">
                  <a:moveTo>
                    <a:pt x="140494" y="57150"/>
                  </a:moveTo>
                  <a:lnTo>
                    <a:pt x="140494" y="57150"/>
                  </a:lnTo>
                  <a:lnTo>
                    <a:pt x="119063" y="0"/>
                  </a:lnTo>
                  <a:lnTo>
                    <a:pt x="69056" y="33337"/>
                  </a:lnTo>
                  <a:lnTo>
                    <a:pt x="30956" y="28575"/>
                  </a:lnTo>
                  <a:lnTo>
                    <a:pt x="0" y="52387"/>
                  </a:lnTo>
                  <a:lnTo>
                    <a:pt x="59531" y="47625"/>
                  </a:lnTo>
                  <a:lnTo>
                    <a:pt x="83344" y="73818"/>
                  </a:lnTo>
                  <a:lnTo>
                    <a:pt x="111919" y="100012"/>
                  </a:lnTo>
                  <a:lnTo>
                    <a:pt x="97631" y="52388"/>
                  </a:lnTo>
                  <a:lnTo>
                    <a:pt x="140494" y="5715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4" name="Freeform: Shape 181"/>
            <p:cNvSpPr/>
            <p:nvPr/>
          </p:nvSpPr>
          <p:spPr bwMode="auto">
            <a:xfrm>
              <a:off x="7172325" y="4755356"/>
              <a:ext cx="114300" cy="83344"/>
            </a:xfrm>
            <a:custGeom>
              <a:avLst/>
              <a:gdLst>
                <a:gd name="connsiteX0" fmla="*/ 114300 w 114300"/>
                <a:gd name="connsiteY0" fmla="*/ 50007 h 83344"/>
                <a:gd name="connsiteX1" fmla="*/ 71438 w 114300"/>
                <a:gd name="connsiteY1" fmla="*/ 0 h 83344"/>
                <a:gd name="connsiteX2" fmla="*/ 0 w 114300"/>
                <a:gd name="connsiteY2" fmla="*/ 2382 h 83344"/>
                <a:gd name="connsiteX3" fmla="*/ 16669 w 114300"/>
                <a:gd name="connsiteY3" fmla="*/ 30957 h 83344"/>
                <a:gd name="connsiteX4" fmla="*/ 21431 w 114300"/>
                <a:gd name="connsiteY4" fmla="*/ 83344 h 83344"/>
                <a:gd name="connsiteX5" fmla="*/ 45244 w 114300"/>
                <a:gd name="connsiteY5" fmla="*/ 76200 h 83344"/>
                <a:gd name="connsiteX6" fmla="*/ 35719 w 114300"/>
                <a:gd name="connsiteY6" fmla="*/ 35719 h 83344"/>
                <a:gd name="connsiteX7" fmla="*/ 47625 w 114300"/>
                <a:gd name="connsiteY7" fmla="*/ 11907 h 83344"/>
                <a:gd name="connsiteX8" fmla="*/ 114300 w 114300"/>
                <a:gd name="connsiteY8" fmla="*/ 50007 h 83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300" h="83344">
                  <a:moveTo>
                    <a:pt x="114300" y="50007"/>
                  </a:moveTo>
                  <a:lnTo>
                    <a:pt x="71438" y="0"/>
                  </a:lnTo>
                  <a:lnTo>
                    <a:pt x="0" y="2382"/>
                  </a:lnTo>
                  <a:lnTo>
                    <a:pt x="16669" y="30957"/>
                  </a:lnTo>
                  <a:lnTo>
                    <a:pt x="21431" y="83344"/>
                  </a:lnTo>
                  <a:lnTo>
                    <a:pt x="45244" y="76200"/>
                  </a:lnTo>
                  <a:lnTo>
                    <a:pt x="35719" y="35719"/>
                  </a:lnTo>
                  <a:lnTo>
                    <a:pt x="47625" y="11907"/>
                  </a:lnTo>
                  <a:lnTo>
                    <a:pt x="114300" y="5000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5" name="Freeform: Shape 182"/>
            <p:cNvSpPr/>
            <p:nvPr/>
          </p:nvSpPr>
          <p:spPr bwMode="auto">
            <a:xfrm>
              <a:off x="6755606" y="4521994"/>
              <a:ext cx="92869" cy="150019"/>
            </a:xfrm>
            <a:custGeom>
              <a:avLst/>
              <a:gdLst>
                <a:gd name="connsiteX0" fmla="*/ 0 w 92869"/>
                <a:gd name="connsiteY0" fmla="*/ 0 h 150019"/>
                <a:gd name="connsiteX1" fmla="*/ 14288 w 92869"/>
                <a:gd name="connsiteY1" fmla="*/ 69056 h 150019"/>
                <a:gd name="connsiteX2" fmla="*/ 92869 w 92869"/>
                <a:gd name="connsiteY2" fmla="*/ 150019 h 150019"/>
                <a:gd name="connsiteX3" fmla="*/ 80963 w 92869"/>
                <a:gd name="connsiteY3" fmla="*/ 119062 h 150019"/>
                <a:gd name="connsiteX4" fmla="*/ 83344 w 92869"/>
                <a:gd name="connsiteY4" fmla="*/ 52387 h 150019"/>
                <a:gd name="connsiteX5" fmla="*/ 0 w 92869"/>
                <a:gd name="connsiteY5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869" h="150019">
                  <a:moveTo>
                    <a:pt x="0" y="0"/>
                  </a:moveTo>
                  <a:lnTo>
                    <a:pt x="14288" y="69056"/>
                  </a:lnTo>
                  <a:lnTo>
                    <a:pt x="92869" y="150019"/>
                  </a:lnTo>
                  <a:lnTo>
                    <a:pt x="80963" y="119062"/>
                  </a:lnTo>
                  <a:cubicBezTo>
                    <a:pt x="81757" y="96837"/>
                    <a:pt x="82550" y="74612"/>
                    <a:pt x="83344" y="523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6" name="Freeform: Shape 183"/>
            <p:cNvSpPr/>
            <p:nvPr/>
          </p:nvSpPr>
          <p:spPr bwMode="auto">
            <a:xfrm>
              <a:off x="6696075" y="4126706"/>
              <a:ext cx="195263" cy="426244"/>
            </a:xfrm>
            <a:custGeom>
              <a:avLst/>
              <a:gdLst>
                <a:gd name="connsiteX0" fmla="*/ 78581 w 195263"/>
                <a:gd name="connsiteY0" fmla="*/ 0 h 238125"/>
                <a:gd name="connsiteX1" fmla="*/ 0 w 195263"/>
                <a:gd name="connsiteY1" fmla="*/ 50006 h 238125"/>
                <a:gd name="connsiteX2" fmla="*/ 19050 w 195263"/>
                <a:gd name="connsiteY2" fmla="*/ 109537 h 238125"/>
                <a:gd name="connsiteX3" fmla="*/ 9525 w 195263"/>
                <a:gd name="connsiteY3" fmla="*/ 176212 h 238125"/>
                <a:gd name="connsiteX4" fmla="*/ 42863 w 195263"/>
                <a:gd name="connsiteY4" fmla="*/ 188118 h 238125"/>
                <a:gd name="connsiteX5" fmla="*/ 52388 w 195263"/>
                <a:gd name="connsiteY5" fmla="*/ 238125 h 238125"/>
                <a:gd name="connsiteX6" fmla="*/ 64294 w 195263"/>
                <a:gd name="connsiteY6" fmla="*/ 197643 h 238125"/>
                <a:gd name="connsiteX7" fmla="*/ 83344 w 195263"/>
                <a:gd name="connsiteY7" fmla="*/ 209550 h 238125"/>
                <a:gd name="connsiteX8" fmla="*/ 100013 w 195263"/>
                <a:gd name="connsiteY8" fmla="*/ 223837 h 238125"/>
                <a:gd name="connsiteX9" fmla="*/ 119063 w 195263"/>
                <a:gd name="connsiteY9" fmla="*/ 226218 h 238125"/>
                <a:gd name="connsiteX10" fmla="*/ 121444 w 195263"/>
                <a:gd name="connsiteY10" fmla="*/ 183356 h 238125"/>
                <a:gd name="connsiteX11" fmla="*/ 195263 w 195263"/>
                <a:gd name="connsiteY11" fmla="*/ 173831 h 238125"/>
                <a:gd name="connsiteX12" fmla="*/ 192881 w 195263"/>
                <a:gd name="connsiteY12" fmla="*/ 140493 h 238125"/>
                <a:gd name="connsiteX13" fmla="*/ 147638 w 195263"/>
                <a:gd name="connsiteY13" fmla="*/ 66675 h 238125"/>
                <a:gd name="connsiteX14" fmla="*/ 126206 w 195263"/>
                <a:gd name="connsiteY14" fmla="*/ 85725 h 238125"/>
                <a:gd name="connsiteX15" fmla="*/ 78581 w 195263"/>
                <a:gd name="connsiteY15" fmla="*/ 102393 h 238125"/>
                <a:gd name="connsiteX16" fmla="*/ 83344 w 195263"/>
                <a:gd name="connsiteY16" fmla="*/ 59531 h 238125"/>
                <a:gd name="connsiteX17" fmla="*/ 78581 w 195263"/>
                <a:gd name="connsiteY17" fmla="*/ 0 h 238125"/>
                <a:gd name="connsiteX0" fmla="*/ 78581 w 195263"/>
                <a:gd name="connsiteY0" fmla="*/ 0 h 238125"/>
                <a:gd name="connsiteX1" fmla="*/ 57150 w 195263"/>
                <a:gd name="connsiteY1" fmla="*/ 11906 h 238125"/>
                <a:gd name="connsiteX2" fmla="*/ 0 w 195263"/>
                <a:gd name="connsiteY2" fmla="*/ 50006 h 238125"/>
                <a:gd name="connsiteX3" fmla="*/ 19050 w 195263"/>
                <a:gd name="connsiteY3" fmla="*/ 109537 h 238125"/>
                <a:gd name="connsiteX4" fmla="*/ 9525 w 195263"/>
                <a:gd name="connsiteY4" fmla="*/ 176212 h 238125"/>
                <a:gd name="connsiteX5" fmla="*/ 42863 w 195263"/>
                <a:gd name="connsiteY5" fmla="*/ 188118 h 238125"/>
                <a:gd name="connsiteX6" fmla="*/ 52388 w 195263"/>
                <a:gd name="connsiteY6" fmla="*/ 238125 h 238125"/>
                <a:gd name="connsiteX7" fmla="*/ 64294 w 195263"/>
                <a:gd name="connsiteY7" fmla="*/ 197643 h 238125"/>
                <a:gd name="connsiteX8" fmla="*/ 83344 w 195263"/>
                <a:gd name="connsiteY8" fmla="*/ 209550 h 238125"/>
                <a:gd name="connsiteX9" fmla="*/ 100013 w 195263"/>
                <a:gd name="connsiteY9" fmla="*/ 223837 h 238125"/>
                <a:gd name="connsiteX10" fmla="*/ 119063 w 195263"/>
                <a:gd name="connsiteY10" fmla="*/ 226218 h 238125"/>
                <a:gd name="connsiteX11" fmla="*/ 121444 w 195263"/>
                <a:gd name="connsiteY11" fmla="*/ 183356 h 238125"/>
                <a:gd name="connsiteX12" fmla="*/ 195263 w 195263"/>
                <a:gd name="connsiteY12" fmla="*/ 173831 h 238125"/>
                <a:gd name="connsiteX13" fmla="*/ 192881 w 195263"/>
                <a:gd name="connsiteY13" fmla="*/ 140493 h 238125"/>
                <a:gd name="connsiteX14" fmla="*/ 147638 w 195263"/>
                <a:gd name="connsiteY14" fmla="*/ 66675 h 238125"/>
                <a:gd name="connsiteX15" fmla="*/ 126206 w 195263"/>
                <a:gd name="connsiteY15" fmla="*/ 85725 h 238125"/>
                <a:gd name="connsiteX16" fmla="*/ 78581 w 195263"/>
                <a:gd name="connsiteY16" fmla="*/ 102393 h 238125"/>
                <a:gd name="connsiteX17" fmla="*/ 83344 w 195263"/>
                <a:gd name="connsiteY17" fmla="*/ 59531 h 238125"/>
                <a:gd name="connsiteX18" fmla="*/ 78581 w 195263"/>
                <a:gd name="connsiteY18" fmla="*/ 0 h 238125"/>
                <a:gd name="connsiteX0" fmla="*/ 78581 w 195263"/>
                <a:gd name="connsiteY0" fmla="*/ 30957 h 269082"/>
                <a:gd name="connsiteX1" fmla="*/ 54768 w 195263"/>
                <a:gd name="connsiteY1" fmla="*/ 0 h 269082"/>
                <a:gd name="connsiteX2" fmla="*/ 0 w 195263"/>
                <a:gd name="connsiteY2" fmla="*/ 80963 h 269082"/>
                <a:gd name="connsiteX3" fmla="*/ 19050 w 195263"/>
                <a:gd name="connsiteY3" fmla="*/ 140494 h 269082"/>
                <a:gd name="connsiteX4" fmla="*/ 9525 w 195263"/>
                <a:gd name="connsiteY4" fmla="*/ 207169 h 269082"/>
                <a:gd name="connsiteX5" fmla="*/ 42863 w 195263"/>
                <a:gd name="connsiteY5" fmla="*/ 219075 h 269082"/>
                <a:gd name="connsiteX6" fmla="*/ 52388 w 195263"/>
                <a:gd name="connsiteY6" fmla="*/ 269082 h 269082"/>
                <a:gd name="connsiteX7" fmla="*/ 64294 w 195263"/>
                <a:gd name="connsiteY7" fmla="*/ 228600 h 269082"/>
                <a:gd name="connsiteX8" fmla="*/ 83344 w 195263"/>
                <a:gd name="connsiteY8" fmla="*/ 240507 h 269082"/>
                <a:gd name="connsiteX9" fmla="*/ 100013 w 195263"/>
                <a:gd name="connsiteY9" fmla="*/ 254794 h 269082"/>
                <a:gd name="connsiteX10" fmla="*/ 119063 w 195263"/>
                <a:gd name="connsiteY10" fmla="*/ 257175 h 269082"/>
                <a:gd name="connsiteX11" fmla="*/ 121444 w 195263"/>
                <a:gd name="connsiteY11" fmla="*/ 214313 h 269082"/>
                <a:gd name="connsiteX12" fmla="*/ 195263 w 195263"/>
                <a:gd name="connsiteY12" fmla="*/ 204788 h 269082"/>
                <a:gd name="connsiteX13" fmla="*/ 192881 w 195263"/>
                <a:gd name="connsiteY13" fmla="*/ 171450 h 269082"/>
                <a:gd name="connsiteX14" fmla="*/ 147638 w 195263"/>
                <a:gd name="connsiteY14" fmla="*/ 97632 h 269082"/>
                <a:gd name="connsiteX15" fmla="*/ 126206 w 195263"/>
                <a:gd name="connsiteY15" fmla="*/ 116682 h 269082"/>
                <a:gd name="connsiteX16" fmla="*/ 78581 w 195263"/>
                <a:gd name="connsiteY16" fmla="*/ 133350 h 269082"/>
                <a:gd name="connsiteX17" fmla="*/ 83344 w 195263"/>
                <a:gd name="connsiteY17" fmla="*/ 90488 h 269082"/>
                <a:gd name="connsiteX18" fmla="*/ 78581 w 195263"/>
                <a:gd name="connsiteY18" fmla="*/ 30957 h 269082"/>
                <a:gd name="connsiteX0" fmla="*/ 78581 w 195263"/>
                <a:gd name="connsiteY0" fmla="*/ 30957 h 269082"/>
                <a:gd name="connsiteX1" fmla="*/ 54768 w 195263"/>
                <a:gd name="connsiteY1" fmla="*/ 0 h 269082"/>
                <a:gd name="connsiteX2" fmla="*/ 21431 w 195263"/>
                <a:gd name="connsiteY2" fmla="*/ 50007 h 269082"/>
                <a:gd name="connsiteX3" fmla="*/ 0 w 195263"/>
                <a:gd name="connsiteY3" fmla="*/ 80963 h 269082"/>
                <a:gd name="connsiteX4" fmla="*/ 19050 w 195263"/>
                <a:gd name="connsiteY4" fmla="*/ 140494 h 269082"/>
                <a:gd name="connsiteX5" fmla="*/ 9525 w 195263"/>
                <a:gd name="connsiteY5" fmla="*/ 207169 h 269082"/>
                <a:gd name="connsiteX6" fmla="*/ 42863 w 195263"/>
                <a:gd name="connsiteY6" fmla="*/ 219075 h 269082"/>
                <a:gd name="connsiteX7" fmla="*/ 52388 w 195263"/>
                <a:gd name="connsiteY7" fmla="*/ 269082 h 269082"/>
                <a:gd name="connsiteX8" fmla="*/ 64294 w 195263"/>
                <a:gd name="connsiteY8" fmla="*/ 228600 h 269082"/>
                <a:gd name="connsiteX9" fmla="*/ 83344 w 195263"/>
                <a:gd name="connsiteY9" fmla="*/ 240507 h 269082"/>
                <a:gd name="connsiteX10" fmla="*/ 100013 w 195263"/>
                <a:gd name="connsiteY10" fmla="*/ 254794 h 269082"/>
                <a:gd name="connsiteX11" fmla="*/ 119063 w 195263"/>
                <a:gd name="connsiteY11" fmla="*/ 257175 h 269082"/>
                <a:gd name="connsiteX12" fmla="*/ 121444 w 195263"/>
                <a:gd name="connsiteY12" fmla="*/ 214313 h 269082"/>
                <a:gd name="connsiteX13" fmla="*/ 195263 w 195263"/>
                <a:gd name="connsiteY13" fmla="*/ 204788 h 269082"/>
                <a:gd name="connsiteX14" fmla="*/ 192881 w 195263"/>
                <a:gd name="connsiteY14" fmla="*/ 171450 h 269082"/>
                <a:gd name="connsiteX15" fmla="*/ 147638 w 195263"/>
                <a:gd name="connsiteY15" fmla="*/ 97632 h 269082"/>
                <a:gd name="connsiteX16" fmla="*/ 126206 w 195263"/>
                <a:gd name="connsiteY16" fmla="*/ 116682 h 269082"/>
                <a:gd name="connsiteX17" fmla="*/ 78581 w 195263"/>
                <a:gd name="connsiteY17" fmla="*/ 133350 h 269082"/>
                <a:gd name="connsiteX18" fmla="*/ 83344 w 195263"/>
                <a:gd name="connsiteY18" fmla="*/ 90488 h 269082"/>
                <a:gd name="connsiteX19" fmla="*/ 78581 w 195263"/>
                <a:gd name="connsiteY19" fmla="*/ 30957 h 269082"/>
                <a:gd name="connsiteX0" fmla="*/ 78581 w 195263"/>
                <a:gd name="connsiteY0" fmla="*/ 30957 h 269082"/>
                <a:gd name="connsiteX1" fmla="*/ 54768 w 195263"/>
                <a:gd name="connsiteY1" fmla="*/ 0 h 269082"/>
                <a:gd name="connsiteX2" fmla="*/ 40481 w 195263"/>
                <a:gd name="connsiteY2" fmla="*/ 61913 h 269082"/>
                <a:gd name="connsiteX3" fmla="*/ 0 w 195263"/>
                <a:gd name="connsiteY3" fmla="*/ 80963 h 269082"/>
                <a:gd name="connsiteX4" fmla="*/ 19050 w 195263"/>
                <a:gd name="connsiteY4" fmla="*/ 140494 h 269082"/>
                <a:gd name="connsiteX5" fmla="*/ 9525 w 195263"/>
                <a:gd name="connsiteY5" fmla="*/ 207169 h 269082"/>
                <a:gd name="connsiteX6" fmla="*/ 42863 w 195263"/>
                <a:gd name="connsiteY6" fmla="*/ 219075 h 269082"/>
                <a:gd name="connsiteX7" fmla="*/ 52388 w 195263"/>
                <a:gd name="connsiteY7" fmla="*/ 269082 h 269082"/>
                <a:gd name="connsiteX8" fmla="*/ 64294 w 195263"/>
                <a:gd name="connsiteY8" fmla="*/ 228600 h 269082"/>
                <a:gd name="connsiteX9" fmla="*/ 83344 w 195263"/>
                <a:gd name="connsiteY9" fmla="*/ 240507 h 269082"/>
                <a:gd name="connsiteX10" fmla="*/ 100013 w 195263"/>
                <a:gd name="connsiteY10" fmla="*/ 254794 h 269082"/>
                <a:gd name="connsiteX11" fmla="*/ 119063 w 195263"/>
                <a:gd name="connsiteY11" fmla="*/ 257175 h 269082"/>
                <a:gd name="connsiteX12" fmla="*/ 121444 w 195263"/>
                <a:gd name="connsiteY12" fmla="*/ 214313 h 269082"/>
                <a:gd name="connsiteX13" fmla="*/ 195263 w 195263"/>
                <a:gd name="connsiteY13" fmla="*/ 204788 h 269082"/>
                <a:gd name="connsiteX14" fmla="*/ 192881 w 195263"/>
                <a:gd name="connsiteY14" fmla="*/ 171450 h 269082"/>
                <a:gd name="connsiteX15" fmla="*/ 147638 w 195263"/>
                <a:gd name="connsiteY15" fmla="*/ 97632 h 269082"/>
                <a:gd name="connsiteX16" fmla="*/ 126206 w 195263"/>
                <a:gd name="connsiteY16" fmla="*/ 116682 h 269082"/>
                <a:gd name="connsiteX17" fmla="*/ 78581 w 195263"/>
                <a:gd name="connsiteY17" fmla="*/ 133350 h 269082"/>
                <a:gd name="connsiteX18" fmla="*/ 83344 w 195263"/>
                <a:gd name="connsiteY18" fmla="*/ 90488 h 269082"/>
                <a:gd name="connsiteX19" fmla="*/ 78581 w 195263"/>
                <a:gd name="connsiteY19" fmla="*/ 30957 h 269082"/>
                <a:gd name="connsiteX0" fmla="*/ 78581 w 195263"/>
                <a:gd name="connsiteY0" fmla="*/ 30957 h 269082"/>
                <a:gd name="connsiteX1" fmla="*/ 54768 w 195263"/>
                <a:gd name="connsiteY1" fmla="*/ 0 h 269082"/>
                <a:gd name="connsiteX2" fmla="*/ 40481 w 195263"/>
                <a:gd name="connsiteY2" fmla="*/ 61913 h 269082"/>
                <a:gd name="connsiteX3" fmla="*/ 0 w 195263"/>
                <a:gd name="connsiteY3" fmla="*/ 80963 h 269082"/>
                <a:gd name="connsiteX4" fmla="*/ 19050 w 195263"/>
                <a:gd name="connsiteY4" fmla="*/ 140494 h 269082"/>
                <a:gd name="connsiteX5" fmla="*/ 9525 w 195263"/>
                <a:gd name="connsiteY5" fmla="*/ 207169 h 269082"/>
                <a:gd name="connsiteX6" fmla="*/ 42863 w 195263"/>
                <a:gd name="connsiteY6" fmla="*/ 219075 h 269082"/>
                <a:gd name="connsiteX7" fmla="*/ 40482 w 195263"/>
                <a:gd name="connsiteY7" fmla="*/ 269082 h 269082"/>
                <a:gd name="connsiteX8" fmla="*/ 64294 w 195263"/>
                <a:gd name="connsiteY8" fmla="*/ 228600 h 269082"/>
                <a:gd name="connsiteX9" fmla="*/ 83344 w 195263"/>
                <a:gd name="connsiteY9" fmla="*/ 240507 h 269082"/>
                <a:gd name="connsiteX10" fmla="*/ 100013 w 195263"/>
                <a:gd name="connsiteY10" fmla="*/ 254794 h 269082"/>
                <a:gd name="connsiteX11" fmla="*/ 119063 w 195263"/>
                <a:gd name="connsiteY11" fmla="*/ 257175 h 269082"/>
                <a:gd name="connsiteX12" fmla="*/ 121444 w 195263"/>
                <a:gd name="connsiteY12" fmla="*/ 214313 h 269082"/>
                <a:gd name="connsiteX13" fmla="*/ 195263 w 195263"/>
                <a:gd name="connsiteY13" fmla="*/ 204788 h 269082"/>
                <a:gd name="connsiteX14" fmla="*/ 192881 w 195263"/>
                <a:gd name="connsiteY14" fmla="*/ 171450 h 269082"/>
                <a:gd name="connsiteX15" fmla="*/ 147638 w 195263"/>
                <a:gd name="connsiteY15" fmla="*/ 97632 h 269082"/>
                <a:gd name="connsiteX16" fmla="*/ 126206 w 195263"/>
                <a:gd name="connsiteY16" fmla="*/ 116682 h 269082"/>
                <a:gd name="connsiteX17" fmla="*/ 78581 w 195263"/>
                <a:gd name="connsiteY17" fmla="*/ 133350 h 269082"/>
                <a:gd name="connsiteX18" fmla="*/ 83344 w 195263"/>
                <a:gd name="connsiteY18" fmla="*/ 90488 h 269082"/>
                <a:gd name="connsiteX19" fmla="*/ 78581 w 195263"/>
                <a:gd name="connsiteY19" fmla="*/ 30957 h 269082"/>
                <a:gd name="connsiteX0" fmla="*/ 78581 w 195263"/>
                <a:gd name="connsiteY0" fmla="*/ 30957 h 357188"/>
                <a:gd name="connsiteX1" fmla="*/ 54768 w 195263"/>
                <a:gd name="connsiteY1" fmla="*/ 0 h 357188"/>
                <a:gd name="connsiteX2" fmla="*/ 40481 w 195263"/>
                <a:gd name="connsiteY2" fmla="*/ 61913 h 357188"/>
                <a:gd name="connsiteX3" fmla="*/ 0 w 195263"/>
                <a:gd name="connsiteY3" fmla="*/ 80963 h 357188"/>
                <a:gd name="connsiteX4" fmla="*/ 19050 w 195263"/>
                <a:gd name="connsiteY4" fmla="*/ 140494 h 357188"/>
                <a:gd name="connsiteX5" fmla="*/ 9525 w 195263"/>
                <a:gd name="connsiteY5" fmla="*/ 207169 h 357188"/>
                <a:gd name="connsiteX6" fmla="*/ 42863 w 195263"/>
                <a:gd name="connsiteY6" fmla="*/ 219075 h 357188"/>
                <a:gd name="connsiteX7" fmla="*/ 21432 w 195263"/>
                <a:gd name="connsiteY7" fmla="*/ 357188 h 357188"/>
                <a:gd name="connsiteX8" fmla="*/ 64294 w 195263"/>
                <a:gd name="connsiteY8" fmla="*/ 228600 h 357188"/>
                <a:gd name="connsiteX9" fmla="*/ 83344 w 195263"/>
                <a:gd name="connsiteY9" fmla="*/ 240507 h 357188"/>
                <a:gd name="connsiteX10" fmla="*/ 100013 w 195263"/>
                <a:gd name="connsiteY10" fmla="*/ 254794 h 357188"/>
                <a:gd name="connsiteX11" fmla="*/ 119063 w 195263"/>
                <a:gd name="connsiteY11" fmla="*/ 257175 h 357188"/>
                <a:gd name="connsiteX12" fmla="*/ 121444 w 195263"/>
                <a:gd name="connsiteY12" fmla="*/ 214313 h 357188"/>
                <a:gd name="connsiteX13" fmla="*/ 195263 w 195263"/>
                <a:gd name="connsiteY13" fmla="*/ 204788 h 357188"/>
                <a:gd name="connsiteX14" fmla="*/ 192881 w 195263"/>
                <a:gd name="connsiteY14" fmla="*/ 171450 h 357188"/>
                <a:gd name="connsiteX15" fmla="*/ 147638 w 195263"/>
                <a:gd name="connsiteY15" fmla="*/ 97632 h 357188"/>
                <a:gd name="connsiteX16" fmla="*/ 126206 w 195263"/>
                <a:gd name="connsiteY16" fmla="*/ 116682 h 357188"/>
                <a:gd name="connsiteX17" fmla="*/ 78581 w 195263"/>
                <a:gd name="connsiteY17" fmla="*/ 133350 h 357188"/>
                <a:gd name="connsiteX18" fmla="*/ 83344 w 195263"/>
                <a:gd name="connsiteY18" fmla="*/ 90488 h 357188"/>
                <a:gd name="connsiteX19" fmla="*/ 78581 w 195263"/>
                <a:gd name="connsiteY19" fmla="*/ 30957 h 357188"/>
                <a:gd name="connsiteX0" fmla="*/ 78581 w 195263"/>
                <a:gd name="connsiteY0" fmla="*/ 30957 h 357188"/>
                <a:gd name="connsiteX1" fmla="*/ 54768 w 195263"/>
                <a:gd name="connsiteY1" fmla="*/ 0 h 357188"/>
                <a:gd name="connsiteX2" fmla="*/ 40481 w 195263"/>
                <a:gd name="connsiteY2" fmla="*/ 61913 h 357188"/>
                <a:gd name="connsiteX3" fmla="*/ 0 w 195263"/>
                <a:gd name="connsiteY3" fmla="*/ 80963 h 357188"/>
                <a:gd name="connsiteX4" fmla="*/ 19050 w 195263"/>
                <a:gd name="connsiteY4" fmla="*/ 140494 h 357188"/>
                <a:gd name="connsiteX5" fmla="*/ 9525 w 195263"/>
                <a:gd name="connsiteY5" fmla="*/ 207169 h 357188"/>
                <a:gd name="connsiteX6" fmla="*/ 42863 w 195263"/>
                <a:gd name="connsiteY6" fmla="*/ 219075 h 357188"/>
                <a:gd name="connsiteX7" fmla="*/ 21432 w 195263"/>
                <a:gd name="connsiteY7" fmla="*/ 357188 h 357188"/>
                <a:gd name="connsiteX8" fmla="*/ 52388 w 195263"/>
                <a:gd name="connsiteY8" fmla="*/ 278607 h 357188"/>
                <a:gd name="connsiteX9" fmla="*/ 64294 w 195263"/>
                <a:gd name="connsiteY9" fmla="*/ 228600 h 357188"/>
                <a:gd name="connsiteX10" fmla="*/ 83344 w 195263"/>
                <a:gd name="connsiteY10" fmla="*/ 240507 h 357188"/>
                <a:gd name="connsiteX11" fmla="*/ 100013 w 195263"/>
                <a:gd name="connsiteY11" fmla="*/ 254794 h 357188"/>
                <a:gd name="connsiteX12" fmla="*/ 119063 w 195263"/>
                <a:gd name="connsiteY12" fmla="*/ 257175 h 357188"/>
                <a:gd name="connsiteX13" fmla="*/ 121444 w 195263"/>
                <a:gd name="connsiteY13" fmla="*/ 214313 h 357188"/>
                <a:gd name="connsiteX14" fmla="*/ 195263 w 195263"/>
                <a:gd name="connsiteY14" fmla="*/ 204788 h 357188"/>
                <a:gd name="connsiteX15" fmla="*/ 192881 w 195263"/>
                <a:gd name="connsiteY15" fmla="*/ 171450 h 357188"/>
                <a:gd name="connsiteX16" fmla="*/ 147638 w 195263"/>
                <a:gd name="connsiteY16" fmla="*/ 97632 h 357188"/>
                <a:gd name="connsiteX17" fmla="*/ 126206 w 195263"/>
                <a:gd name="connsiteY17" fmla="*/ 116682 h 357188"/>
                <a:gd name="connsiteX18" fmla="*/ 78581 w 195263"/>
                <a:gd name="connsiteY18" fmla="*/ 133350 h 357188"/>
                <a:gd name="connsiteX19" fmla="*/ 83344 w 195263"/>
                <a:gd name="connsiteY19" fmla="*/ 90488 h 357188"/>
                <a:gd name="connsiteX20" fmla="*/ 78581 w 195263"/>
                <a:gd name="connsiteY20" fmla="*/ 30957 h 357188"/>
                <a:gd name="connsiteX0" fmla="*/ 78581 w 195263"/>
                <a:gd name="connsiteY0" fmla="*/ 30957 h 357188"/>
                <a:gd name="connsiteX1" fmla="*/ 54768 w 195263"/>
                <a:gd name="connsiteY1" fmla="*/ 0 h 357188"/>
                <a:gd name="connsiteX2" fmla="*/ 40481 w 195263"/>
                <a:gd name="connsiteY2" fmla="*/ 61913 h 357188"/>
                <a:gd name="connsiteX3" fmla="*/ 0 w 195263"/>
                <a:gd name="connsiteY3" fmla="*/ 80963 h 357188"/>
                <a:gd name="connsiteX4" fmla="*/ 19050 w 195263"/>
                <a:gd name="connsiteY4" fmla="*/ 140494 h 357188"/>
                <a:gd name="connsiteX5" fmla="*/ 9525 w 195263"/>
                <a:gd name="connsiteY5" fmla="*/ 207169 h 357188"/>
                <a:gd name="connsiteX6" fmla="*/ 42863 w 195263"/>
                <a:gd name="connsiteY6" fmla="*/ 219075 h 357188"/>
                <a:gd name="connsiteX7" fmla="*/ 21432 w 195263"/>
                <a:gd name="connsiteY7" fmla="*/ 357188 h 357188"/>
                <a:gd name="connsiteX8" fmla="*/ 42863 w 195263"/>
                <a:gd name="connsiteY8" fmla="*/ 335757 h 357188"/>
                <a:gd name="connsiteX9" fmla="*/ 64294 w 195263"/>
                <a:gd name="connsiteY9" fmla="*/ 228600 h 357188"/>
                <a:gd name="connsiteX10" fmla="*/ 83344 w 195263"/>
                <a:gd name="connsiteY10" fmla="*/ 240507 h 357188"/>
                <a:gd name="connsiteX11" fmla="*/ 100013 w 195263"/>
                <a:gd name="connsiteY11" fmla="*/ 254794 h 357188"/>
                <a:gd name="connsiteX12" fmla="*/ 119063 w 195263"/>
                <a:gd name="connsiteY12" fmla="*/ 257175 h 357188"/>
                <a:gd name="connsiteX13" fmla="*/ 121444 w 195263"/>
                <a:gd name="connsiteY13" fmla="*/ 214313 h 357188"/>
                <a:gd name="connsiteX14" fmla="*/ 195263 w 195263"/>
                <a:gd name="connsiteY14" fmla="*/ 204788 h 357188"/>
                <a:gd name="connsiteX15" fmla="*/ 192881 w 195263"/>
                <a:gd name="connsiteY15" fmla="*/ 171450 h 357188"/>
                <a:gd name="connsiteX16" fmla="*/ 147638 w 195263"/>
                <a:gd name="connsiteY16" fmla="*/ 97632 h 357188"/>
                <a:gd name="connsiteX17" fmla="*/ 126206 w 195263"/>
                <a:gd name="connsiteY17" fmla="*/ 116682 h 357188"/>
                <a:gd name="connsiteX18" fmla="*/ 78581 w 195263"/>
                <a:gd name="connsiteY18" fmla="*/ 133350 h 357188"/>
                <a:gd name="connsiteX19" fmla="*/ 83344 w 195263"/>
                <a:gd name="connsiteY19" fmla="*/ 90488 h 357188"/>
                <a:gd name="connsiteX20" fmla="*/ 78581 w 195263"/>
                <a:gd name="connsiteY20" fmla="*/ 30957 h 357188"/>
                <a:gd name="connsiteX0" fmla="*/ 78581 w 195263"/>
                <a:gd name="connsiteY0" fmla="*/ 30957 h 357188"/>
                <a:gd name="connsiteX1" fmla="*/ 54768 w 195263"/>
                <a:gd name="connsiteY1" fmla="*/ 0 h 357188"/>
                <a:gd name="connsiteX2" fmla="*/ 40481 w 195263"/>
                <a:gd name="connsiteY2" fmla="*/ 61913 h 357188"/>
                <a:gd name="connsiteX3" fmla="*/ 0 w 195263"/>
                <a:gd name="connsiteY3" fmla="*/ 80963 h 357188"/>
                <a:gd name="connsiteX4" fmla="*/ 19050 w 195263"/>
                <a:gd name="connsiteY4" fmla="*/ 140494 h 357188"/>
                <a:gd name="connsiteX5" fmla="*/ 9525 w 195263"/>
                <a:gd name="connsiteY5" fmla="*/ 207169 h 357188"/>
                <a:gd name="connsiteX6" fmla="*/ 42863 w 195263"/>
                <a:gd name="connsiteY6" fmla="*/ 219075 h 357188"/>
                <a:gd name="connsiteX7" fmla="*/ 21432 w 195263"/>
                <a:gd name="connsiteY7" fmla="*/ 357188 h 357188"/>
                <a:gd name="connsiteX8" fmla="*/ 42863 w 195263"/>
                <a:gd name="connsiteY8" fmla="*/ 335757 h 357188"/>
                <a:gd name="connsiteX9" fmla="*/ 33338 w 195263"/>
                <a:gd name="connsiteY9" fmla="*/ 347663 h 357188"/>
                <a:gd name="connsiteX10" fmla="*/ 64294 w 195263"/>
                <a:gd name="connsiteY10" fmla="*/ 228600 h 357188"/>
                <a:gd name="connsiteX11" fmla="*/ 83344 w 195263"/>
                <a:gd name="connsiteY11" fmla="*/ 240507 h 357188"/>
                <a:gd name="connsiteX12" fmla="*/ 100013 w 195263"/>
                <a:gd name="connsiteY12" fmla="*/ 254794 h 357188"/>
                <a:gd name="connsiteX13" fmla="*/ 119063 w 195263"/>
                <a:gd name="connsiteY13" fmla="*/ 257175 h 357188"/>
                <a:gd name="connsiteX14" fmla="*/ 121444 w 195263"/>
                <a:gd name="connsiteY14" fmla="*/ 214313 h 357188"/>
                <a:gd name="connsiteX15" fmla="*/ 195263 w 195263"/>
                <a:gd name="connsiteY15" fmla="*/ 204788 h 357188"/>
                <a:gd name="connsiteX16" fmla="*/ 192881 w 195263"/>
                <a:gd name="connsiteY16" fmla="*/ 171450 h 357188"/>
                <a:gd name="connsiteX17" fmla="*/ 147638 w 195263"/>
                <a:gd name="connsiteY17" fmla="*/ 97632 h 357188"/>
                <a:gd name="connsiteX18" fmla="*/ 126206 w 195263"/>
                <a:gd name="connsiteY18" fmla="*/ 116682 h 357188"/>
                <a:gd name="connsiteX19" fmla="*/ 78581 w 195263"/>
                <a:gd name="connsiteY19" fmla="*/ 133350 h 357188"/>
                <a:gd name="connsiteX20" fmla="*/ 83344 w 195263"/>
                <a:gd name="connsiteY20" fmla="*/ 90488 h 357188"/>
                <a:gd name="connsiteX21" fmla="*/ 78581 w 195263"/>
                <a:gd name="connsiteY21" fmla="*/ 30957 h 357188"/>
                <a:gd name="connsiteX0" fmla="*/ 78581 w 195263"/>
                <a:gd name="connsiteY0" fmla="*/ 30957 h 390526"/>
                <a:gd name="connsiteX1" fmla="*/ 54768 w 195263"/>
                <a:gd name="connsiteY1" fmla="*/ 0 h 390526"/>
                <a:gd name="connsiteX2" fmla="*/ 40481 w 195263"/>
                <a:gd name="connsiteY2" fmla="*/ 61913 h 390526"/>
                <a:gd name="connsiteX3" fmla="*/ 0 w 195263"/>
                <a:gd name="connsiteY3" fmla="*/ 80963 h 390526"/>
                <a:gd name="connsiteX4" fmla="*/ 19050 w 195263"/>
                <a:gd name="connsiteY4" fmla="*/ 140494 h 390526"/>
                <a:gd name="connsiteX5" fmla="*/ 9525 w 195263"/>
                <a:gd name="connsiteY5" fmla="*/ 207169 h 390526"/>
                <a:gd name="connsiteX6" fmla="*/ 42863 w 195263"/>
                <a:gd name="connsiteY6" fmla="*/ 219075 h 390526"/>
                <a:gd name="connsiteX7" fmla="*/ 21432 w 195263"/>
                <a:gd name="connsiteY7" fmla="*/ 357188 h 390526"/>
                <a:gd name="connsiteX8" fmla="*/ 42863 w 195263"/>
                <a:gd name="connsiteY8" fmla="*/ 335757 h 390526"/>
                <a:gd name="connsiteX9" fmla="*/ 71438 w 195263"/>
                <a:gd name="connsiteY9" fmla="*/ 390526 h 390526"/>
                <a:gd name="connsiteX10" fmla="*/ 64294 w 195263"/>
                <a:gd name="connsiteY10" fmla="*/ 228600 h 390526"/>
                <a:gd name="connsiteX11" fmla="*/ 83344 w 195263"/>
                <a:gd name="connsiteY11" fmla="*/ 240507 h 390526"/>
                <a:gd name="connsiteX12" fmla="*/ 100013 w 195263"/>
                <a:gd name="connsiteY12" fmla="*/ 254794 h 390526"/>
                <a:gd name="connsiteX13" fmla="*/ 119063 w 195263"/>
                <a:gd name="connsiteY13" fmla="*/ 257175 h 390526"/>
                <a:gd name="connsiteX14" fmla="*/ 121444 w 195263"/>
                <a:gd name="connsiteY14" fmla="*/ 214313 h 390526"/>
                <a:gd name="connsiteX15" fmla="*/ 195263 w 195263"/>
                <a:gd name="connsiteY15" fmla="*/ 204788 h 390526"/>
                <a:gd name="connsiteX16" fmla="*/ 192881 w 195263"/>
                <a:gd name="connsiteY16" fmla="*/ 171450 h 390526"/>
                <a:gd name="connsiteX17" fmla="*/ 147638 w 195263"/>
                <a:gd name="connsiteY17" fmla="*/ 97632 h 390526"/>
                <a:gd name="connsiteX18" fmla="*/ 126206 w 195263"/>
                <a:gd name="connsiteY18" fmla="*/ 116682 h 390526"/>
                <a:gd name="connsiteX19" fmla="*/ 78581 w 195263"/>
                <a:gd name="connsiteY19" fmla="*/ 133350 h 390526"/>
                <a:gd name="connsiteX20" fmla="*/ 83344 w 195263"/>
                <a:gd name="connsiteY20" fmla="*/ 90488 h 390526"/>
                <a:gd name="connsiteX21" fmla="*/ 78581 w 195263"/>
                <a:gd name="connsiteY21" fmla="*/ 30957 h 390526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71438 w 195263"/>
                <a:gd name="connsiteY9" fmla="*/ 390526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16669 w 195263"/>
                <a:gd name="connsiteY9" fmla="*/ 314326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35719 w 195263"/>
                <a:gd name="connsiteY9" fmla="*/ 309563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76200 w 195263"/>
                <a:gd name="connsiteY9" fmla="*/ 319088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47625 w 195263"/>
                <a:gd name="connsiteY9" fmla="*/ 323851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47625 w 195263"/>
                <a:gd name="connsiteY9" fmla="*/ 323851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  <a:gd name="connsiteX0" fmla="*/ 78581 w 195263"/>
                <a:gd name="connsiteY0" fmla="*/ 30957 h 426244"/>
                <a:gd name="connsiteX1" fmla="*/ 54768 w 195263"/>
                <a:gd name="connsiteY1" fmla="*/ 0 h 426244"/>
                <a:gd name="connsiteX2" fmla="*/ 40481 w 195263"/>
                <a:gd name="connsiteY2" fmla="*/ 61913 h 426244"/>
                <a:gd name="connsiteX3" fmla="*/ 0 w 195263"/>
                <a:gd name="connsiteY3" fmla="*/ 80963 h 426244"/>
                <a:gd name="connsiteX4" fmla="*/ 19050 w 195263"/>
                <a:gd name="connsiteY4" fmla="*/ 140494 h 426244"/>
                <a:gd name="connsiteX5" fmla="*/ 9525 w 195263"/>
                <a:gd name="connsiteY5" fmla="*/ 207169 h 426244"/>
                <a:gd name="connsiteX6" fmla="*/ 42863 w 195263"/>
                <a:gd name="connsiteY6" fmla="*/ 219075 h 426244"/>
                <a:gd name="connsiteX7" fmla="*/ 21432 w 195263"/>
                <a:gd name="connsiteY7" fmla="*/ 357188 h 426244"/>
                <a:gd name="connsiteX8" fmla="*/ 95250 w 195263"/>
                <a:gd name="connsiteY8" fmla="*/ 426244 h 426244"/>
                <a:gd name="connsiteX9" fmla="*/ 47625 w 195263"/>
                <a:gd name="connsiteY9" fmla="*/ 323851 h 426244"/>
                <a:gd name="connsiteX10" fmla="*/ 64294 w 195263"/>
                <a:gd name="connsiteY10" fmla="*/ 228600 h 426244"/>
                <a:gd name="connsiteX11" fmla="*/ 83344 w 195263"/>
                <a:gd name="connsiteY11" fmla="*/ 240507 h 426244"/>
                <a:gd name="connsiteX12" fmla="*/ 100013 w 195263"/>
                <a:gd name="connsiteY12" fmla="*/ 254794 h 426244"/>
                <a:gd name="connsiteX13" fmla="*/ 119063 w 195263"/>
                <a:gd name="connsiteY13" fmla="*/ 257175 h 426244"/>
                <a:gd name="connsiteX14" fmla="*/ 121444 w 195263"/>
                <a:gd name="connsiteY14" fmla="*/ 214313 h 426244"/>
                <a:gd name="connsiteX15" fmla="*/ 195263 w 195263"/>
                <a:gd name="connsiteY15" fmla="*/ 204788 h 426244"/>
                <a:gd name="connsiteX16" fmla="*/ 192881 w 195263"/>
                <a:gd name="connsiteY16" fmla="*/ 171450 h 426244"/>
                <a:gd name="connsiteX17" fmla="*/ 147638 w 195263"/>
                <a:gd name="connsiteY17" fmla="*/ 97632 h 426244"/>
                <a:gd name="connsiteX18" fmla="*/ 126206 w 195263"/>
                <a:gd name="connsiteY18" fmla="*/ 116682 h 426244"/>
                <a:gd name="connsiteX19" fmla="*/ 78581 w 195263"/>
                <a:gd name="connsiteY19" fmla="*/ 133350 h 426244"/>
                <a:gd name="connsiteX20" fmla="*/ 83344 w 195263"/>
                <a:gd name="connsiteY20" fmla="*/ 90488 h 426244"/>
                <a:gd name="connsiteX21" fmla="*/ 78581 w 195263"/>
                <a:gd name="connsiteY21" fmla="*/ 30957 h 426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5263" h="426244">
                  <a:moveTo>
                    <a:pt x="78581" y="30957"/>
                  </a:moveTo>
                  <a:lnTo>
                    <a:pt x="54768" y="0"/>
                  </a:lnTo>
                  <a:lnTo>
                    <a:pt x="40481" y="61913"/>
                  </a:lnTo>
                  <a:lnTo>
                    <a:pt x="0" y="80963"/>
                  </a:lnTo>
                  <a:lnTo>
                    <a:pt x="19050" y="140494"/>
                  </a:lnTo>
                  <a:lnTo>
                    <a:pt x="9525" y="207169"/>
                  </a:lnTo>
                  <a:lnTo>
                    <a:pt x="42863" y="219075"/>
                  </a:lnTo>
                  <a:lnTo>
                    <a:pt x="21432" y="357188"/>
                  </a:lnTo>
                  <a:lnTo>
                    <a:pt x="95250" y="426244"/>
                  </a:lnTo>
                  <a:cubicBezTo>
                    <a:pt x="79375" y="392113"/>
                    <a:pt x="39687" y="353219"/>
                    <a:pt x="47625" y="323851"/>
                  </a:cubicBezTo>
                  <a:cubicBezTo>
                    <a:pt x="46037" y="282576"/>
                    <a:pt x="58738" y="260350"/>
                    <a:pt x="64294" y="228600"/>
                  </a:cubicBezTo>
                  <a:lnTo>
                    <a:pt x="83344" y="240507"/>
                  </a:lnTo>
                  <a:lnTo>
                    <a:pt x="100013" y="254794"/>
                  </a:lnTo>
                  <a:lnTo>
                    <a:pt x="119063" y="257175"/>
                  </a:lnTo>
                  <a:lnTo>
                    <a:pt x="121444" y="214313"/>
                  </a:lnTo>
                  <a:lnTo>
                    <a:pt x="195263" y="204788"/>
                  </a:lnTo>
                  <a:lnTo>
                    <a:pt x="192881" y="171450"/>
                  </a:lnTo>
                  <a:lnTo>
                    <a:pt x="147638" y="97632"/>
                  </a:lnTo>
                  <a:lnTo>
                    <a:pt x="126206" y="116682"/>
                  </a:lnTo>
                  <a:lnTo>
                    <a:pt x="78581" y="133350"/>
                  </a:lnTo>
                  <a:lnTo>
                    <a:pt x="83344" y="90488"/>
                  </a:lnTo>
                  <a:lnTo>
                    <a:pt x="78581" y="3095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7" name="Freeform: Shape 184"/>
            <p:cNvSpPr/>
            <p:nvPr/>
          </p:nvSpPr>
          <p:spPr bwMode="auto">
            <a:xfrm>
              <a:off x="7310438" y="4881563"/>
              <a:ext cx="78581" cy="42862"/>
            </a:xfrm>
            <a:custGeom>
              <a:avLst/>
              <a:gdLst>
                <a:gd name="connsiteX0" fmla="*/ 0 w 78581"/>
                <a:gd name="connsiteY0" fmla="*/ 42862 h 42862"/>
                <a:gd name="connsiteX1" fmla="*/ 0 w 78581"/>
                <a:gd name="connsiteY1" fmla="*/ 42862 h 42862"/>
                <a:gd name="connsiteX2" fmla="*/ 78581 w 78581"/>
                <a:gd name="connsiteY2" fmla="*/ 9525 h 42862"/>
                <a:gd name="connsiteX3" fmla="*/ 71437 w 78581"/>
                <a:gd name="connsiteY3" fmla="*/ 0 h 42862"/>
                <a:gd name="connsiteX4" fmla="*/ 0 w 78581"/>
                <a:gd name="connsiteY4" fmla="*/ 42862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581" h="42862">
                  <a:moveTo>
                    <a:pt x="0" y="42862"/>
                  </a:moveTo>
                  <a:lnTo>
                    <a:pt x="0" y="42862"/>
                  </a:lnTo>
                  <a:lnTo>
                    <a:pt x="78581" y="9525"/>
                  </a:lnTo>
                  <a:lnTo>
                    <a:pt x="71437" y="0"/>
                  </a:lnTo>
                  <a:lnTo>
                    <a:pt x="0" y="4286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8" name="Freeform: Shape 185"/>
            <p:cNvSpPr/>
            <p:nvPr/>
          </p:nvSpPr>
          <p:spPr bwMode="auto">
            <a:xfrm>
              <a:off x="7255669" y="4433888"/>
              <a:ext cx="33337" cy="64293"/>
            </a:xfrm>
            <a:custGeom>
              <a:avLst/>
              <a:gdLst>
                <a:gd name="connsiteX0" fmla="*/ 0 w 33337"/>
                <a:gd name="connsiteY0" fmla="*/ 0 h 64293"/>
                <a:gd name="connsiteX1" fmla="*/ 33337 w 33337"/>
                <a:gd name="connsiteY1" fmla="*/ 64293 h 64293"/>
                <a:gd name="connsiteX2" fmla="*/ 0 w 33337"/>
                <a:gd name="connsiteY2" fmla="*/ 0 h 6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337" h="64293">
                  <a:moveTo>
                    <a:pt x="0" y="0"/>
                  </a:moveTo>
                  <a:lnTo>
                    <a:pt x="33337" y="642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9" name="Freeform: Shape 186"/>
            <p:cNvSpPr/>
            <p:nvPr/>
          </p:nvSpPr>
          <p:spPr bwMode="auto">
            <a:xfrm>
              <a:off x="4833938" y="3178969"/>
              <a:ext cx="442912" cy="264319"/>
            </a:xfrm>
            <a:custGeom>
              <a:avLst/>
              <a:gdLst>
                <a:gd name="connsiteX0" fmla="*/ 397668 w 442912"/>
                <a:gd name="connsiteY0" fmla="*/ 176212 h 264319"/>
                <a:gd name="connsiteX1" fmla="*/ 442912 w 442912"/>
                <a:gd name="connsiteY1" fmla="*/ 100012 h 264319"/>
                <a:gd name="connsiteX2" fmla="*/ 359568 w 442912"/>
                <a:gd name="connsiteY2" fmla="*/ 52387 h 264319"/>
                <a:gd name="connsiteX3" fmla="*/ 328612 w 442912"/>
                <a:gd name="connsiteY3" fmla="*/ 52387 h 264319"/>
                <a:gd name="connsiteX4" fmla="*/ 314325 w 442912"/>
                <a:gd name="connsiteY4" fmla="*/ 21431 h 264319"/>
                <a:gd name="connsiteX5" fmla="*/ 247650 w 442912"/>
                <a:gd name="connsiteY5" fmla="*/ 0 h 264319"/>
                <a:gd name="connsiteX6" fmla="*/ 223837 w 442912"/>
                <a:gd name="connsiteY6" fmla="*/ 0 h 264319"/>
                <a:gd name="connsiteX7" fmla="*/ 200025 w 442912"/>
                <a:gd name="connsiteY7" fmla="*/ 40481 h 264319"/>
                <a:gd name="connsiteX8" fmla="*/ 164306 w 442912"/>
                <a:gd name="connsiteY8" fmla="*/ 33337 h 264319"/>
                <a:gd name="connsiteX9" fmla="*/ 121443 w 442912"/>
                <a:gd name="connsiteY9" fmla="*/ 35719 h 264319"/>
                <a:gd name="connsiteX10" fmla="*/ 64293 w 442912"/>
                <a:gd name="connsiteY10" fmla="*/ 14287 h 264319"/>
                <a:gd name="connsiteX11" fmla="*/ 64293 w 442912"/>
                <a:gd name="connsiteY11" fmla="*/ 14287 h 264319"/>
                <a:gd name="connsiteX12" fmla="*/ 28575 w 442912"/>
                <a:gd name="connsiteY12" fmla="*/ 28575 h 264319"/>
                <a:gd name="connsiteX13" fmla="*/ 28575 w 442912"/>
                <a:gd name="connsiteY13" fmla="*/ 57150 h 264319"/>
                <a:gd name="connsiteX14" fmla="*/ 11906 w 442912"/>
                <a:gd name="connsiteY14" fmla="*/ 83344 h 264319"/>
                <a:gd name="connsiteX15" fmla="*/ 7143 w 442912"/>
                <a:gd name="connsiteY15" fmla="*/ 109537 h 264319"/>
                <a:gd name="connsiteX16" fmla="*/ 0 w 442912"/>
                <a:gd name="connsiteY16" fmla="*/ 150019 h 264319"/>
                <a:gd name="connsiteX17" fmla="*/ 11906 w 442912"/>
                <a:gd name="connsiteY17" fmla="*/ 166687 h 264319"/>
                <a:gd name="connsiteX18" fmla="*/ 19050 w 442912"/>
                <a:gd name="connsiteY18" fmla="*/ 164306 h 264319"/>
                <a:gd name="connsiteX19" fmla="*/ 71437 w 442912"/>
                <a:gd name="connsiteY19" fmla="*/ 176212 h 264319"/>
                <a:gd name="connsiteX20" fmla="*/ 119062 w 442912"/>
                <a:gd name="connsiteY20" fmla="*/ 157162 h 264319"/>
                <a:gd name="connsiteX21" fmla="*/ 119062 w 442912"/>
                <a:gd name="connsiteY21" fmla="*/ 140494 h 264319"/>
                <a:gd name="connsiteX22" fmla="*/ 169068 w 442912"/>
                <a:gd name="connsiteY22" fmla="*/ 164306 h 264319"/>
                <a:gd name="connsiteX23" fmla="*/ 185737 w 442912"/>
                <a:gd name="connsiteY23" fmla="*/ 214312 h 264319"/>
                <a:gd name="connsiteX24" fmla="*/ 176212 w 442912"/>
                <a:gd name="connsiteY24" fmla="*/ 228600 h 264319"/>
                <a:gd name="connsiteX25" fmla="*/ 154781 w 442912"/>
                <a:gd name="connsiteY25" fmla="*/ 242887 h 264319"/>
                <a:gd name="connsiteX26" fmla="*/ 157162 w 442912"/>
                <a:gd name="connsiteY26" fmla="*/ 261937 h 264319"/>
                <a:gd name="connsiteX27" fmla="*/ 176212 w 442912"/>
                <a:gd name="connsiteY27" fmla="*/ 264319 h 264319"/>
                <a:gd name="connsiteX28" fmla="*/ 180975 w 442912"/>
                <a:gd name="connsiteY28" fmla="*/ 252412 h 264319"/>
                <a:gd name="connsiteX29" fmla="*/ 209550 w 442912"/>
                <a:gd name="connsiteY29" fmla="*/ 230981 h 264319"/>
                <a:gd name="connsiteX30" fmla="*/ 214312 w 442912"/>
                <a:gd name="connsiteY30" fmla="*/ 221456 h 264319"/>
                <a:gd name="connsiteX31" fmla="*/ 230981 w 442912"/>
                <a:gd name="connsiteY31" fmla="*/ 221456 h 264319"/>
                <a:gd name="connsiteX32" fmla="*/ 257175 w 442912"/>
                <a:gd name="connsiteY32" fmla="*/ 233362 h 264319"/>
                <a:gd name="connsiteX33" fmla="*/ 278606 w 442912"/>
                <a:gd name="connsiteY33" fmla="*/ 235744 h 264319"/>
                <a:gd name="connsiteX34" fmla="*/ 295275 w 442912"/>
                <a:gd name="connsiteY34" fmla="*/ 235744 h 264319"/>
                <a:gd name="connsiteX35" fmla="*/ 342900 w 442912"/>
                <a:gd name="connsiteY35" fmla="*/ 216694 h 264319"/>
                <a:gd name="connsiteX36" fmla="*/ 397668 w 442912"/>
                <a:gd name="connsiteY36" fmla="*/ 176212 h 264319"/>
                <a:gd name="connsiteX0" fmla="*/ 397668 w 442912"/>
                <a:gd name="connsiteY0" fmla="*/ 176212 h 264319"/>
                <a:gd name="connsiteX1" fmla="*/ 442912 w 442912"/>
                <a:gd name="connsiteY1" fmla="*/ 100012 h 264319"/>
                <a:gd name="connsiteX2" fmla="*/ 359568 w 442912"/>
                <a:gd name="connsiteY2" fmla="*/ 52387 h 264319"/>
                <a:gd name="connsiteX3" fmla="*/ 328612 w 442912"/>
                <a:gd name="connsiteY3" fmla="*/ 52387 h 264319"/>
                <a:gd name="connsiteX4" fmla="*/ 314325 w 442912"/>
                <a:gd name="connsiteY4" fmla="*/ 21431 h 264319"/>
                <a:gd name="connsiteX5" fmla="*/ 247650 w 442912"/>
                <a:gd name="connsiteY5" fmla="*/ 0 h 264319"/>
                <a:gd name="connsiteX6" fmla="*/ 223837 w 442912"/>
                <a:gd name="connsiteY6" fmla="*/ 0 h 264319"/>
                <a:gd name="connsiteX7" fmla="*/ 200025 w 442912"/>
                <a:gd name="connsiteY7" fmla="*/ 40481 h 264319"/>
                <a:gd name="connsiteX8" fmla="*/ 164306 w 442912"/>
                <a:gd name="connsiteY8" fmla="*/ 33337 h 264319"/>
                <a:gd name="connsiteX9" fmla="*/ 121443 w 442912"/>
                <a:gd name="connsiteY9" fmla="*/ 35719 h 264319"/>
                <a:gd name="connsiteX10" fmla="*/ 64293 w 442912"/>
                <a:gd name="connsiteY10" fmla="*/ 14287 h 264319"/>
                <a:gd name="connsiteX11" fmla="*/ 64293 w 442912"/>
                <a:gd name="connsiteY11" fmla="*/ 14287 h 264319"/>
                <a:gd name="connsiteX12" fmla="*/ 28575 w 442912"/>
                <a:gd name="connsiteY12" fmla="*/ 28575 h 264319"/>
                <a:gd name="connsiteX13" fmla="*/ 28575 w 442912"/>
                <a:gd name="connsiteY13" fmla="*/ 57150 h 264319"/>
                <a:gd name="connsiteX14" fmla="*/ 11906 w 442912"/>
                <a:gd name="connsiteY14" fmla="*/ 83344 h 264319"/>
                <a:gd name="connsiteX15" fmla="*/ 7143 w 442912"/>
                <a:gd name="connsiteY15" fmla="*/ 109537 h 264319"/>
                <a:gd name="connsiteX16" fmla="*/ 0 w 442912"/>
                <a:gd name="connsiteY16" fmla="*/ 150019 h 264319"/>
                <a:gd name="connsiteX17" fmla="*/ 11906 w 442912"/>
                <a:gd name="connsiteY17" fmla="*/ 166687 h 264319"/>
                <a:gd name="connsiteX18" fmla="*/ 19050 w 442912"/>
                <a:gd name="connsiteY18" fmla="*/ 164306 h 264319"/>
                <a:gd name="connsiteX19" fmla="*/ 71437 w 442912"/>
                <a:gd name="connsiteY19" fmla="*/ 176212 h 264319"/>
                <a:gd name="connsiteX20" fmla="*/ 119062 w 442912"/>
                <a:gd name="connsiteY20" fmla="*/ 157162 h 264319"/>
                <a:gd name="connsiteX21" fmla="*/ 119062 w 442912"/>
                <a:gd name="connsiteY21" fmla="*/ 140494 h 264319"/>
                <a:gd name="connsiteX22" fmla="*/ 169068 w 442912"/>
                <a:gd name="connsiteY22" fmla="*/ 164306 h 264319"/>
                <a:gd name="connsiteX23" fmla="*/ 185737 w 442912"/>
                <a:gd name="connsiteY23" fmla="*/ 214312 h 264319"/>
                <a:gd name="connsiteX24" fmla="*/ 176212 w 442912"/>
                <a:gd name="connsiteY24" fmla="*/ 228600 h 264319"/>
                <a:gd name="connsiteX25" fmla="*/ 154781 w 442912"/>
                <a:gd name="connsiteY25" fmla="*/ 242887 h 264319"/>
                <a:gd name="connsiteX26" fmla="*/ 157162 w 442912"/>
                <a:gd name="connsiteY26" fmla="*/ 261937 h 264319"/>
                <a:gd name="connsiteX27" fmla="*/ 176212 w 442912"/>
                <a:gd name="connsiteY27" fmla="*/ 264319 h 264319"/>
                <a:gd name="connsiteX28" fmla="*/ 180975 w 442912"/>
                <a:gd name="connsiteY28" fmla="*/ 252412 h 264319"/>
                <a:gd name="connsiteX29" fmla="*/ 209550 w 442912"/>
                <a:gd name="connsiteY29" fmla="*/ 230981 h 264319"/>
                <a:gd name="connsiteX30" fmla="*/ 214312 w 442912"/>
                <a:gd name="connsiteY30" fmla="*/ 221456 h 264319"/>
                <a:gd name="connsiteX31" fmla="*/ 230981 w 442912"/>
                <a:gd name="connsiteY31" fmla="*/ 221456 h 264319"/>
                <a:gd name="connsiteX32" fmla="*/ 257175 w 442912"/>
                <a:gd name="connsiteY32" fmla="*/ 233362 h 264319"/>
                <a:gd name="connsiteX33" fmla="*/ 278606 w 442912"/>
                <a:gd name="connsiteY33" fmla="*/ 235744 h 264319"/>
                <a:gd name="connsiteX34" fmla="*/ 295275 w 442912"/>
                <a:gd name="connsiteY34" fmla="*/ 235744 h 264319"/>
                <a:gd name="connsiteX35" fmla="*/ 342900 w 442912"/>
                <a:gd name="connsiteY35" fmla="*/ 216694 h 264319"/>
                <a:gd name="connsiteX36" fmla="*/ 376237 w 442912"/>
                <a:gd name="connsiteY36" fmla="*/ 183356 h 264319"/>
                <a:gd name="connsiteX37" fmla="*/ 397668 w 442912"/>
                <a:gd name="connsiteY37" fmla="*/ 176212 h 264319"/>
                <a:gd name="connsiteX0" fmla="*/ 397668 w 442912"/>
                <a:gd name="connsiteY0" fmla="*/ 176212 h 264319"/>
                <a:gd name="connsiteX1" fmla="*/ 442912 w 442912"/>
                <a:gd name="connsiteY1" fmla="*/ 100012 h 264319"/>
                <a:gd name="connsiteX2" fmla="*/ 359568 w 442912"/>
                <a:gd name="connsiteY2" fmla="*/ 52387 h 264319"/>
                <a:gd name="connsiteX3" fmla="*/ 328612 w 442912"/>
                <a:gd name="connsiteY3" fmla="*/ 52387 h 264319"/>
                <a:gd name="connsiteX4" fmla="*/ 314325 w 442912"/>
                <a:gd name="connsiteY4" fmla="*/ 21431 h 264319"/>
                <a:gd name="connsiteX5" fmla="*/ 247650 w 442912"/>
                <a:gd name="connsiteY5" fmla="*/ 0 h 264319"/>
                <a:gd name="connsiteX6" fmla="*/ 223837 w 442912"/>
                <a:gd name="connsiteY6" fmla="*/ 0 h 264319"/>
                <a:gd name="connsiteX7" fmla="*/ 200025 w 442912"/>
                <a:gd name="connsiteY7" fmla="*/ 40481 h 264319"/>
                <a:gd name="connsiteX8" fmla="*/ 164306 w 442912"/>
                <a:gd name="connsiteY8" fmla="*/ 33337 h 264319"/>
                <a:gd name="connsiteX9" fmla="*/ 121443 w 442912"/>
                <a:gd name="connsiteY9" fmla="*/ 35719 h 264319"/>
                <a:gd name="connsiteX10" fmla="*/ 64293 w 442912"/>
                <a:gd name="connsiteY10" fmla="*/ 14287 h 264319"/>
                <a:gd name="connsiteX11" fmla="*/ 64293 w 442912"/>
                <a:gd name="connsiteY11" fmla="*/ 14287 h 264319"/>
                <a:gd name="connsiteX12" fmla="*/ 28575 w 442912"/>
                <a:gd name="connsiteY12" fmla="*/ 28575 h 264319"/>
                <a:gd name="connsiteX13" fmla="*/ 28575 w 442912"/>
                <a:gd name="connsiteY13" fmla="*/ 57150 h 264319"/>
                <a:gd name="connsiteX14" fmla="*/ 11906 w 442912"/>
                <a:gd name="connsiteY14" fmla="*/ 83344 h 264319"/>
                <a:gd name="connsiteX15" fmla="*/ 7143 w 442912"/>
                <a:gd name="connsiteY15" fmla="*/ 109537 h 264319"/>
                <a:gd name="connsiteX16" fmla="*/ 0 w 442912"/>
                <a:gd name="connsiteY16" fmla="*/ 150019 h 264319"/>
                <a:gd name="connsiteX17" fmla="*/ 11906 w 442912"/>
                <a:gd name="connsiteY17" fmla="*/ 166687 h 264319"/>
                <a:gd name="connsiteX18" fmla="*/ 19050 w 442912"/>
                <a:gd name="connsiteY18" fmla="*/ 164306 h 264319"/>
                <a:gd name="connsiteX19" fmla="*/ 71437 w 442912"/>
                <a:gd name="connsiteY19" fmla="*/ 176212 h 264319"/>
                <a:gd name="connsiteX20" fmla="*/ 119062 w 442912"/>
                <a:gd name="connsiteY20" fmla="*/ 157162 h 264319"/>
                <a:gd name="connsiteX21" fmla="*/ 119062 w 442912"/>
                <a:gd name="connsiteY21" fmla="*/ 140494 h 264319"/>
                <a:gd name="connsiteX22" fmla="*/ 169068 w 442912"/>
                <a:gd name="connsiteY22" fmla="*/ 164306 h 264319"/>
                <a:gd name="connsiteX23" fmla="*/ 185737 w 442912"/>
                <a:gd name="connsiteY23" fmla="*/ 214312 h 264319"/>
                <a:gd name="connsiteX24" fmla="*/ 176212 w 442912"/>
                <a:gd name="connsiteY24" fmla="*/ 228600 h 264319"/>
                <a:gd name="connsiteX25" fmla="*/ 154781 w 442912"/>
                <a:gd name="connsiteY25" fmla="*/ 242887 h 264319"/>
                <a:gd name="connsiteX26" fmla="*/ 157162 w 442912"/>
                <a:gd name="connsiteY26" fmla="*/ 261937 h 264319"/>
                <a:gd name="connsiteX27" fmla="*/ 176212 w 442912"/>
                <a:gd name="connsiteY27" fmla="*/ 264319 h 264319"/>
                <a:gd name="connsiteX28" fmla="*/ 180975 w 442912"/>
                <a:gd name="connsiteY28" fmla="*/ 252412 h 264319"/>
                <a:gd name="connsiteX29" fmla="*/ 209550 w 442912"/>
                <a:gd name="connsiteY29" fmla="*/ 230981 h 264319"/>
                <a:gd name="connsiteX30" fmla="*/ 214312 w 442912"/>
                <a:gd name="connsiteY30" fmla="*/ 221456 h 264319"/>
                <a:gd name="connsiteX31" fmla="*/ 230981 w 442912"/>
                <a:gd name="connsiteY31" fmla="*/ 221456 h 264319"/>
                <a:gd name="connsiteX32" fmla="*/ 257175 w 442912"/>
                <a:gd name="connsiteY32" fmla="*/ 233362 h 264319"/>
                <a:gd name="connsiteX33" fmla="*/ 278606 w 442912"/>
                <a:gd name="connsiteY33" fmla="*/ 235744 h 264319"/>
                <a:gd name="connsiteX34" fmla="*/ 295275 w 442912"/>
                <a:gd name="connsiteY34" fmla="*/ 235744 h 264319"/>
                <a:gd name="connsiteX35" fmla="*/ 342900 w 442912"/>
                <a:gd name="connsiteY35" fmla="*/ 216694 h 264319"/>
                <a:gd name="connsiteX36" fmla="*/ 397668 w 442912"/>
                <a:gd name="connsiteY36" fmla="*/ 185737 h 264319"/>
                <a:gd name="connsiteX37" fmla="*/ 397668 w 442912"/>
                <a:gd name="connsiteY37" fmla="*/ 176212 h 264319"/>
                <a:gd name="connsiteX0" fmla="*/ 397668 w 442912"/>
                <a:gd name="connsiteY0" fmla="*/ 176212 h 264319"/>
                <a:gd name="connsiteX1" fmla="*/ 423862 w 442912"/>
                <a:gd name="connsiteY1" fmla="*/ 126206 h 264319"/>
                <a:gd name="connsiteX2" fmla="*/ 442912 w 442912"/>
                <a:gd name="connsiteY2" fmla="*/ 100012 h 264319"/>
                <a:gd name="connsiteX3" fmla="*/ 359568 w 442912"/>
                <a:gd name="connsiteY3" fmla="*/ 52387 h 264319"/>
                <a:gd name="connsiteX4" fmla="*/ 328612 w 442912"/>
                <a:gd name="connsiteY4" fmla="*/ 52387 h 264319"/>
                <a:gd name="connsiteX5" fmla="*/ 314325 w 442912"/>
                <a:gd name="connsiteY5" fmla="*/ 21431 h 264319"/>
                <a:gd name="connsiteX6" fmla="*/ 247650 w 442912"/>
                <a:gd name="connsiteY6" fmla="*/ 0 h 264319"/>
                <a:gd name="connsiteX7" fmla="*/ 223837 w 442912"/>
                <a:gd name="connsiteY7" fmla="*/ 0 h 264319"/>
                <a:gd name="connsiteX8" fmla="*/ 200025 w 442912"/>
                <a:gd name="connsiteY8" fmla="*/ 40481 h 264319"/>
                <a:gd name="connsiteX9" fmla="*/ 164306 w 442912"/>
                <a:gd name="connsiteY9" fmla="*/ 33337 h 264319"/>
                <a:gd name="connsiteX10" fmla="*/ 121443 w 442912"/>
                <a:gd name="connsiteY10" fmla="*/ 35719 h 264319"/>
                <a:gd name="connsiteX11" fmla="*/ 64293 w 442912"/>
                <a:gd name="connsiteY11" fmla="*/ 14287 h 264319"/>
                <a:gd name="connsiteX12" fmla="*/ 64293 w 442912"/>
                <a:gd name="connsiteY12" fmla="*/ 14287 h 264319"/>
                <a:gd name="connsiteX13" fmla="*/ 28575 w 442912"/>
                <a:gd name="connsiteY13" fmla="*/ 28575 h 264319"/>
                <a:gd name="connsiteX14" fmla="*/ 28575 w 442912"/>
                <a:gd name="connsiteY14" fmla="*/ 57150 h 264319"/>
                <a:gd name="connsiteX15" fmla="*/ 11906 w 442912"/>
                <a:gd name="connsiteY15" fmla="*/ 83344 h 264319"/>
                <a:gd name="connsiteX16" fmla="*/ 7143 w 442912"/>
                <a:gd name="connsiteY16" fmla="*/ 109537 h 264319"/>
                <a:gd name="connsiteX17" fmla="*/ 0 w 442912"/>
                <a:gd name="connsiteY17" fmla="*/ 150019 h 264319"/>
                <a:gd name="connsiteX18" fmla="*/ 11906 w 442912"/>
                <a:gd name="connsiteY18" fmla="*/ 166687 h 264319"/>
                <a:gd name="connsiteX19" fmla="*/ 19050 w 442912"/>
                <a:gd name="connsiteY19" fmla="*/ 164306 h 264319"/>
                <a:gd name="connsiteX20" fmla="*/ 71437 w 442912"/>
                <a:gd name="connsiteY20" fmla="*/ 176212 h 264319"/>
                <a:gd name="connsiteX21" fmla="*/ 119062 w 442912"/>
                <a:gd name="connsiteY21" fmla="*/ 157162 h 264319"/>
                <a:gd name="connsiteX22" fmla="*/ 119062 w 442912"/>
                <a:gd name="connsiteY22" fmla="*/ 140494 h 264319"/>
                <a:gd name="connsiteX23" fmla="*/ 169068 w 442912"/>
                <a:gd name="connsiteY23" fmla="*/ 164306 h 264319"/>
                <a:gd name="connsiteX24" fmla="*/ 185737 w 442912"/>
                <a:gd name="connsiteY24" fmla="*/ 214312 h 264319"/>
                <a:gd name="connsiteX25" fmla="*/ 176212 w 442912"/>
                <a:gd name="connsiteY25" fmla="*/ 228600 h 264319"/>
                <a:gd name="connsiteX26" fmla="*/ 154781 w 442912"/>
                <a:gd name="connsiteY26" fmla="*/ 242887 h 264319"/>
                <a:gd name="connsiteX27" fmla="*/ 157162 w 442912"/>
                <a:gd name="connsiteY27" fmla="*/ 261937 h 264319"/>
                <a:gd name="connsiteX28" fmla="*/ 176212 w 442912"/>
                <a:gd name="connsiteY28" fmla="*/ 264319 h 264319"/>
                <a:gd name="connsiteX29" fmla="*/ 180975 w 442912"/>
                <a:gd name="connsiteY29" fmla="*/ 252412 h 264319"/>
                <a:gd name="connsiteX30" fmla="*/ 209550 w 442912"/>
                <a:gd name="connsiteY30" fmla="*/ 230981 h 264319"/>
                <a:gd name="connsiteX31" fmla="*/ 214312 w 442912"/>
                <a:gd name="connsiteY31" fmla="*/ 221456 h 264319"/>
                <a:gd name="connsiteX32" fmla="*/ 230981 w 442912"/>
                <a:gd name="connsiteY32" fmla="*/ 221456 h 264319"/>
                <a:gd name="connsiteX33" fmla="*/ 257175 w 442912"/>
                <a:gd name="connsiteY33" fmla="*/ 233362 h 264319"/>
                <a:gd name="connsiteX34" fmla="*/ 278606 w 442912"/>
                <a:gd name="connsiteY34" fmla="*/ 235744 h 264319"/>
                <a:gd name="connsiteX35" fmla="*/ 295275 w 442912"/>
                <a:gd name="connsiteY35" fmla="*/ 235744 h 264319"/>
                <a:gd name="connsiteX36" fmla="*/ 342900 w 442912"/>
                <a:gd name="connsiteY36" fmla="*/ 216694 h 264319"/>
                <a:gd name="connsiteX37" fmla="*/ 397668 w 442912"/>
                <a:gd name="connsiteY37" fmla="*/ 185737 h 264319"/>
                <a:gd name="connsiteX38" fmla="*/ 397668 w 442912"/>
                <a:gd name="connsiteY38" fmla="*/ 176212 h 264319"/>
                <a:gd name="connsiteX0" fmla="*/ 397668 w 442912"/>
                <a:gd name="connsiteY0" fmla="*/ 176212 h 264319"/>
                <a:gd name="connsiteX1" fmla="*/ 438149 w 442912"/>
                <a:gd name="connsiteY1" fmla="*/ 133349 h 264319"/>
                <a:gd name="connsiteX2" fmla="*/ 442912 w 442912"/>
                <a:gd name="connsiteY2" fmla="*/ 100012 h 264319"/>
                <a:gd name="connsiteX3" fmla="*/ 359568 w 442912"/>
                <a:gd name="connsiteY3" fmla="*/ 52387 h 264319"/>
                <a:gd name="connsiteX4" fmla="*/ 328612 w 442912"/>
                <a:gd name="connsiteY4" fmla="*/ 52387 h 264319"/>
                <a:gd name="connsiteX5" fmla="*/ 314325 w 442912"/>
                <a:gd name="connsiteY5" fmla="*/ 21431 h 264319"/>
                <a:gd name="connsiteX6" fmla="*/ 247650 w 442912"/>
                <a:gd name="connsiteY6" fmla="*/ 0 h 264319"/>
                <a:gd name="connsiteX7" fmla="*/ 223837 w 442912"/>
                <a:gd name="connsiteY7" fmla="*/ 0 h 264319"/>
                <a:gd name="connsiteX8" fmla="*/ 200025 w 442912"/>
                <a:gd name="connsiteY8" fmla="*/ 40481 h 264319"/>
                <a:gd name="connsiteX9" fmla="*/ 164306 w 442912"/>
                <a:gd name="connsiteY9" fmla="*/ 33337 h 264319"/>
                <a:gd name="connsiteX10" fmla="*/ 121443 w 442912"/>
                <a:gd name="connsiteY10" fmla="*/ 35719 h 264319"/>
                <a:gd name="connsiteX11" fmla="*/ 64293 w 442912"/>
                <a:gd name="connsiteY11" fmla="*/ 14287 h 264319"/>
                <a:gd name="connsiteX12" fmla="*/ 64293 w 442912"/>
                <a:gd name="connsiteY12" fmla="*/ 14287 h 264319"/>
                <a:gd name="connsiteX13" fmla="*/ 28575 w 442912"/>
                <a:gd name="connsiteY13" fmla="*/ 28575 h 264319"/>
                <a:gd name="connsiteX14" fmla="*/ 28575 w 442912"/>
                <a:gd name="connsiteY14" fmla="*/ 57150 h 264319"/>
                <a:gd name="connsiteX15" fmla="*/ 11906 w 442912"/>
                <a:gd name="connsiteY15" fmla="*/ 83344 h 264319"/>
                <a:gd name="connsiteX16" fmla="*/ 7143 w 442912"/>
                <a:gd name="connsiteY16" fmla="*/ 109537 h 264319"/>
                <a:gd name="connsiteX17" fmla="*/ 0 w 442912"/>
                <a:gd name="connsiteY17" fmla="*/ 150019 h 264319"/>
                <a:gd name="connsiteX18" fmla="*/ 11906 w 442912"/>
                <a:gd name="connsiteY18" fmla="*/ 166687 h 264319"/>
                <a:gd name="connsiteX19" fmla="*/ 19050 w 442912"/>
                <a:gd name="connsiteY19" fmla="*/ 164306 h 264319"/>
                <a:gd name="connsiteX20" fmla="*/ 71437 w 442912"/>
                <a:gd name="connsiteY20" fmla="*/ 176212 h 264319"/>
                <a:gd name="connsiteX21" fmla="*/ 119062 w 442912"/>
                <a:gd name="connsiteY21" fmla="*/ 157162 h 264319"/>
                <a:gd name="connsiteX22" fmla="*/ 119062 w 442912"/>
                <a:gd name="connsiteY22" fmla="*/ 140494 h 264319"/>
                <a:gd name="connsiteX23" fmla="*/ 169068 w 442912"/>
                <a:gd name="connsiteY23" fmla="*/ 164306 h 264319"/>
                <a:gd name="connsiteX24" fmla="*/ 185737 w 442912"/>
                <a:gd name="connsiteY24" fmla="*/ 214312 h 264319"/>
                <a:gd name="connsiteX25" fmla="*/ 176212 w 442912"/>
                <a:gd name="connsiteY25" fmla="*/ 228600 h 264319"/>
                <a:gd name="connsiteX26" fmla="*/ 154781 w 442912"/>
                <a:gd name="connsiteY26" fmla="*/ 242887 h 264319"/>
                <a:gd name="connsiteX27" fmla="*/ 157162 w 442912"/>
                <a:gd name="connsiteY27" fmla="*/ 261937 h 264319"/>
                <a:gd name="connsiteX28" fmla="*/ 176212 w 442912"/>
                <a:gd name="connsiteY28" fmla="*/ 264319 h 264319"/>
                <a:gd name="connsiteX29" fmla="*/ 180975 w 442912"/>
                <a:gd name="connsiteY29" fmla="*/ 252412 h 264319"/>
                <a:gd name="connsiteX30" fmla="*/ 209550 w 442912"/>
                <a:gd name="connsiteY30" fmla="*/ 230981 h 264319"/>
                <a:gd name="connsiteX31" fmla="*/ 214312 w 442912"/>
                <a:gd name="connsiteY31" fmla="*/ 221456 h 264319"/>
                <a:gd name="connsiteX32" fmla="*/ 230981 w 442912"/>
                <a:gd name="connsiteY32" fmla="*/ 221456 h 264319"/>
                <a:gd name="connsiteX33" fmla="*/ 257175 w 442912"/>
                <a:gd name="connsiteY33" fmla="*/ 233362 h 264319"/>
                <a:gd name="connsiteX34" fmla="*/ 278606 w 442912"/>
                <a:gd name="connsiteY34" fmla="*/ 235744 h 264319"/>
                <a:gd name="connsiteX35" fmla="*/ 295275 w 442912"/>
                <a:gd name="connsiteY35" fmla="*/ 235744 h 264319"/>
                <a:gd name="connsiteX36" fmla="*/ 342900 w 442912"/>
                <a:gd name="connsiteY36" fmla="*/ 216694 h 264319"/>
                <a:gd name="connsiteX37" fmla="*/ 397668 w 442912"/>
                <a:gd name="connsiteY37" fmla="*/ 185737 h 264319"/>
                <a:gd name="connsiteX38" fmla="*/ 397668 w 442912"/>
                <a:gd name="connsiteY38" fmla="*/ 176212 h 26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42912" h="264319">
                  <a:moveTo>
                    <a:pt x="397668" y="176212"/>
                  </a:moveTo>
                  <a:lnTo>
                    <a:pt x="438149" y="133349"/>
                  </a:lnTo>
                  <a:lnTo>
                    <a:pt x="442912" y="100012"/>
                  </a:lnTo>
                  <a:lnTo>
                    <a:pt x="359568" y="52387"/>
                  </a:lnTo>
                  <a:lnTo>
                    <a:pt x="328612" y="52387"/>
                  </a:lnTo>
                  <a:lnTo>
                    <a:pt x="314325" y="21431"/>
                  </a:lnTo>
                  <a:lnTo>
                    <a:pt x="247650" y="0"/>
                  </a:lnTo>
                  <a:lnTo>
                    <a:pt x="223837" y="0"/>
                  </a:lnTo>
                  <a:lnTo>
                    <a:pt x="200025" y="40481"/>
                  </a:lnTo>
                  <a:lnTo>
                    <a:pt x="164306" y="33337"/>
                  </a:lnTo>
                  <a:lnTo>
                    <a:pt x="121443" y="35719"/>
                  </a:lnTo>
                  <a:lnTo>
                    <a:pt x="64293" y="14287"/>
                  </a:lnTo>
                  <a:lnTo>
                    <a:pt x="64293" y="14287"/>
                  </a:lnTo>
                  <a:lnTo>
                    <a:pt x="28575" y="28575"/>
                  </a:lnTo>
                  <a:lnTo>
                    <a:pt x="28575" y="57150"/>
                  </a:lnTo>
                  <a:lnTo>
                    <a:pt x="11906" y="83344"/>
                  </a:lnTo>
                  <a:lnTo>
                    <a:pt x="7143" y="109537"/>
                  </a:lnTo>
                  <a:lnTo>
                    <a:pt x="0" y="150019"/>
                  </a:lnTo>
                  <a:lnTo>
                    <a:pt x="11906" y="166687"/>
                  </a:lnTo>
                  <a:lnTo>
                    <a:pt x="19050" y="164306"/>
                  </a:lnTo>
                  <a:lnTo>
                    <a:pt x="71437" y="176212"/>
                  </a:lnTo>
                  <a:lnTo>
                    <a:pt x="119062" y="157162"/>
                  </a:lnTo>
                  <a:lnTo>
                    <a:pt x="119062" y="140494"/>
                  </a:lnTo>
                  <a:lnTo>
                    <a:pt x="169068" y="164306"/>
                  </a:lnTo>
                  <a:lnTo>
                    <a:pt x="185737" y="214312"/>
                  </a:lnTo>
                  <a:lnTo>
                    <a:pt x="176212" y="228600"/>
                  </a:lnTo>
                  <a:lnTo>
                    <a:pt x="154781" y="242887"/>
                  </a:lnTo>
                  <a:lnTo>
                    <a:pt x="157162" y="261937"/>
                  </a:lnTo>
                  <a:lnTo>
                    <a:pt x="176212" y="264319"/>
                  </a:lnTo>
                  <a:lnTo>
                    <a:pt x="180975" y="252412"/>
                  </a:lnTo>
                  <a:lnTo>
                    <a:pt x="209550" y="230981"/>
                  </a:lnTo>
                  <a:lnTo>
                    <a:pt x="214312" y="221456"/>
                  </a:lnTo>
                  <a:lnTo>
                    <a:pt x="230981" y="221456"/>
                  </a:lnTo>
                  <a:lnTo>
                    <a:pt x="257175" y="233362"/>
                  </a:lnTo>
                  <a:lnTo>
                    <a:pt x="278606" y="235744"/>
                  </a:lnTo>
                  <a:lnTo>
                    <a:pt x="295275" y="235744"/>
                  </a:lnTo>
                  <a:lnTo>
                    <a:pt x="342900" y="216694"/>
                  </a:lnTo>
                  <a:lnTo>
                    <a:pt x="397668" y="185737"/>
                  </a:lnTo>
                  <a:lnTo>
                    <a:pt x="397668" y="1762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0" name="Freeform: Shape 187"/>
            <p:cNvSpPr/>
            <p:nvPr/>
          </p:nvSpPr>
          <p:spPr bwMode="auto">
            <a:xfrm>
              <a:off x="4893469" y="3855244"/>
              <a:ext cx="257175" cy="273844"/>
            </a:xfrm>
            <a:custGeom>
              <a:avLst/>
              <a:gdLst>
                <a:gd name="connsiteX0" fmla="*/ 0 w 245269"/>
                <a:gd name="connsiteY0" fmla="*/ 0 h 261938"/>
                <a:gd name="connsiteX1" fmla="*/ 4763 w 245269"/>
                <a:gd name="connsiteY1" fmla="*/ 59531 h 261938"/>
                <a:gd name="connsiteX2" fmla="*/ 4763 w 245269"/>
                <a:gd name="connsiteY2" fmla="*/ 250031 h 261938"/>
                <a:gd name="connsiteX3" fmla="*/ 11906 w 245269"/>
                <a:gd name="connsiteY3" fmla="*/ 261938 h 261938"/>
                <a:gd name="connsiteX4" fmla="*/ 21431 w 245269"/>
                <a:gd name="connsiteY4" fmla="*/ 247650 h 261938"/>
                <a:gd name="connsiteX5" fmla="*/ 183356 w 245269"/>
                <a:gd name="connsiteY5" fmla="*/ 240506 h 261938"/>
                <a:gd name="connsiteX6" fmla="*/ 209550 w 245269"/>
                <a:gd name="connsiteY6" fmla="*/ 254794 h 261938"/>
                <a:gd name="connsiteX7" fmla="*/ 245269 w 245269"/>
                <a:gd name="connsiteY7" fmla="*/ 202406 h 261938"/>
                <a:gd name="connsiteX8" fmla="*/ 171450 w 245269"/>
                <a:gd name="connsiteY8" fmla="*/ 54769 h 261938"/>
                <a:gd name="connsiteX9" fmla="*/ 219075 w 245269"/>
                <a:gd name="connsiteY9" fmla="*/ 111919 h 261938"/>
                <a:gd name="connsiteX10" fmla="*/ 223838 w 245269"/>
                <a:gd name="connsiteY10" fmla="*/ 92869 h 261938"/>
                <a:gd name="connsiteX11" fmla="*/ 238125 w 245269"/>
                <a:gd name="connsiteY11" fmla="*/ 45244 h 261938"/>
                <a:gd name="connsiteX12" fmla="*/ 219075 w 245269"/>
                <a:gd name="connsiteY12" fmla="*/ 11906 h 261938"/>
                <a:gd name="connsiteX13" fmla="*/ 185738 w 245269"/>
                <a:gd name="connsiteY13" fmla="*/ 21431 h 261938"/>
                <a:gd name="connsiteX14" fmla="*/ 154781 w 245269"/>
                <a:gd name="connsiteY14" fmla="*/ 4763 h 261938"/>
                <a:gd name="connsiteX15" fmla="*/ 123825 w 245269"/>
                <a:gd name="connsiteY15" fmla="*/ 16669 h 261938"/>
                <a:gd name="connsiteX16" fmla="*/ 95250 w 245269"/>
                <a:gd name="connsiteY16" fmla="*/ 28575 h 261938"/>
                <a:gd name="connsiteX17" fmla="*/ 50006 w 245269"/>
                <a:gd name="connsiteY17" fmla="*/ 4763 h 261938"/>
                <a:gd name="connsiteX18" fmla="*/ 0 w 245269"/>
                <a:gd name="connsiteY18" fmla="*/ 0 h 261938"/>
                <a:gd name="connsiteX0" fmla="*/ 0 w 245269"/>
                <a:gd name="connsiteY0" fmla="*/ 0 h 261938"/>
                <a:gd name="connsiteX1" fmla="*/ 0 w 245269"/>
                <a:gd name="connsiteY1" fmla="*/ 28575 h 261938"/>
                <a:gd name="connsiteX2" fmla="*/ 4763 w 245269"/>
                <a:gd name="connsiteY2" fmla="*/ 59531 h 261938"/>
                <a:gd name="connsiteX3" fmla="*/ 4763 w 245269"/>
                <a:gd name="connsiteY3" fmla="*/ 250031 h 261938"/>
                <a:gd name="connsiteX4" fmla="*/ 11906 w 245269"/>
                <a:gd name="connsiteY4" fmla="*/ 261938 h 261938"/>
                <a:gd name="connsiteX5" fmla="*/ 21431 w 245269"/>
                <a:gd name="connsiteY5" fmla="*/ 247650 h 261938"/>
                <a:gd name="connsiteX6" fmla="*/ 183356 w 245269"/>
                <a:gd name="connsiteY6" fmla="*/ 240506 h 261938"/>
                <a:gd name="connsiteX7" fmla="*/ 209550 w 245269"/>
                <a:gd name="connsiteY7" fmla="*/ 254794 h 261938"/>
                <a:gd name="connsiteX8" fmla="*/ 245269 w 245269"/>
                <a:gd name="connsiteY8" fmla="*/ 202406 h 261938"/>
                <a:gd name="connsiteX9" fmla="*/ 171450 w 245269"/>
                <a:gd name="connsiteY9" fmla="*/ 54769 h 261938"/>
                <a:gd name="connsiteX10" fmla="*/ 219075 w 245269"/>
                <a:gd name="connsiteY10" fmla="*/ 111919 h 261938"/>
                <a:gd name="connsiteX11" fmla="*/ 223838 w 245269"/>
                <a:gd name="connsiteY11" fmla="*/ 92869 h 261938"/>
                <a:gd name="connsiteX12" fmla="*/ 238125 w 245269"/>
                <a:gd name="connsiteY12" fmla="*/ 45244 h 261938"/>
                <a:gd name="connsiteX13" fmla="*/ 219075 w 245269"/>
                <a:gd name="connsiteY13" fmla="*/ 11906 h 261938"/>
                <a:gd name="connsiteX14" fmla="*/ 185738 w 245269"/>
                <a:gd name="connsiteY14" fmla="*/ 21431 h 261938"/>
                <a:gd name="connsiteX15" fmla="*/ 154781 w 245269"/>
                <a:gd name="connsiteY15" fmla="*/ 4763 h 261938"/>
                <a:gd name="connsiteX16" fmla="*/ 123825 w 245269"/>
                <a:gd name="connsiteY16" fmla="*/ 16669 h 261938"/>
                <a:gd name="connsiteX17" fmla="*/ 95250 w 245269"/>
                <a:gd name="connsiteY17" fmla="*/ 28575 h 261938"/>
                <a:gd name="connsiteX18" fmla="*/ 50006 w 245269"/>
                <a:gd name="connsiteY18" fmla="*/ 4763 h 261938"/>
                <a:gd name="connsiteX19" fmla="*/ 0 w 245269"/>
                <a:gd name="connsiteY19" fmla="*/ 0 h 261938"/>
                <a:gd name="connsiteX0" fmla="*/ 11906 w 257175"/>
                <a:gd name="connsiteY0" fmla="*/ 0 h 261938"/>
                <a:gd name="connsiteX1" fmla="*/ 0 w 257175"/>
                <a:gd name="connsiteY1" fmla="*/ 21432 h 261938"/>
                <a:gd name="connsiteX2" fmla="*/ 16669 w 257175"/>
                <a:gd name="connsiteY2" fmla="*/ 59531 h 261938"/>
                <a:gd name="connsiteX3" fmla="*/ 16669 w 257175"/>
                <a:gd name="connsiteY3" fmla="*/ 250031 h 261938"/>
                <a:gd name="connsiteX4" fmla="*/ 23812 w 257175"/>
                <a:gd name="connsiteY4" fmla="*/ 261938 h 261938"/>
                <a:gd name="connsiteX5" fmla="*/ 33337 w 257175"/>
                <a:gd name="connsiteY5" fmla="*/ 247650 h 261938"/>
                <a:gd name="connsiteX6" fmla="*/ 195262 w 257175"/>
                <a:gd name="connsiteY6" fmla="*/ 240506 h 261938"/>
                <a:gd name="connsiteX7" fmla="*/ 221456 w 257175"/>
                <a:gd name="connsiteY7" fmla="*/ 254794 h 261938"/>
                <a:gd name="connsiteX8" fmla="*/ 257175 w 257175"/>
                <a:gd name="connsiteY8" fmla="*/ 202406 h 261938"/>
                <a:gd name="connsiteX9" fmla="*/ 183356 w 257175"/>
                <a:gd name="connsiteY9" fmla="*/ 54769 h 261938"/>
                <a:gd name="connsiteX10" fmla="*/ 230981 w 257175"/>
                <a:gd name="connsiteY10" fmla="*/ 111919 h 261938"/>
                <a:gd name="connsiteX11" fmla="*/ 235744 w 257175"/>
                <a:gd name="connsiteY11" fmla="*/ 92869 h 261938"/>
                <a:gd name="connsiteX12" fmla="*/ 250031 w 257175"/>
                <a:gd name="connsiteY12" fmla="*/ 45244 h 261938"/>
                <a:gd name="connsiteX13" fmla="*/ 230981 w 257175"/>
                <a:gd name="connsiteY13" fmla="*/ 11906 h 261938"/>
                <a:gd name="connsiteX14" fmla="*/ 197644 w 257175"/>
                <a:gd name="connsiteY14" fmla="*/ 21431 h 261938"/>
                <a:gd name="connsiteX15" fmla="*/ 166687 w 257175"/>
                <a:gd name="connsiteY15" fmla="*/ 4763 h 261938"/>
                <a:gd name="connsiteX16" fmla="*/ 135731 w 257175"/>
                <a:gd name="connsiteY16" fmla="*/ 16669 h 261938"/>
                <a:gd name="connsiteX17" fmla="*/ 107156 w 257175"/>
                <a:gd name="connsiteY17" fmla="*/ 28575 h 261938"/>
                <a:gd name="connsiteX18" fmla="*/ 61912 w 257175"/>
                <a:gd name="connsiteY18" fmla="*/ 4763 h 261938"/>
                <a:gd name="connsiteX19" fmla="*/ 11906 w 257175"/>
                <a:gd name="connsiteY19" fmla="*/ 0 h 261938"/>
                <a:gd name="connsiteX0" fmla="*/ 19049 w 257175"/>
                <a:gd name="connsiteY0" fmla="*/ 0 h 273844"/>
                <a:gd name="connsiteX1" fmla="*/ 0 w 257175"/>
                <a:gd name="connsiteY1" fmla="*/ 33338 h 273844"/>
                <a:gd name="connsiteX2" fmla="*/ 16669 w 257175"/>
                <a:gd name="connsiteY2" fmla="*/ 71437 h 273844"/>
                <a:gd name="connsiteX3" fmla="*/ 16669 w 257175"/>
                <a:gd name="connsiteY3" fmla="*/ 261937 h 273844"/>
                <a:gd name="connsiteX4" fmla="*/ 23812 w 257175"/>
                <a:gd name="connsiteY4" fmla="*/ 273844 h 273844"/>
                <a:gd name="connsiteX5" fmla="*/ 33337 w 257175"/>
                <a:gd name="connsiteY5" fmla="*/ 259556 h 273844"/>
                <a:gd name="connsiteX6" fmla="*/ 195262 w 257175"/>
                <a:gd name="connsiteY6" fmla="*/ 252412 h 273844"/>
                <a:gd name="connsiteX7" fmla="*/ 221456 w 257175"/>
                <a:gd name="connsiteY7" fmla="*/ 266700 h 273844"/>
                <a:gd name="connsiteX8" fmla="*/ 257175 w 257175"/>
                <a:gd name="connsiteY8" fmla="*/ 214312 h 273844"/>
                <a:gd name="connsiteX9" fmla="*/ 183356 w 257175"/>
                <a:gd name="connsiteY9" fmla="*/ 66675 h 273844"/>
                <a:gd name="connsiteX10" fmla="*/ 230981 w 257175"/>
                <a:gd name="connsiteY10" fmla="*/ 123825 h 273844"/>
                <a:gd name="connsiteX11" fmla="*/ 235744 w 257175"/>
                <a:gd name="connsiteY11" fmla="*/ 104775 h 273844"/>
                <a:gd name="connsiteX12" fmla="*/ 250031 w 257175"/>
                <a:gd name="connsiteY12" fmla="*/ 57150 h 273844"/>
                <a:gd name="connsiteX13" fmla="*/ 230981 w 257175"/>
                <a:gd name="connsiteY13" fmla="*/ 23812 h 273844"/>
                <a:gd name="connsiteX14" fmla="*/ 197644 w 257175"/>
                <a:gd name="connsiteY14" fmla="*/ 33337 h 273844"/>
                <a:gd name="connsiteX15" fmla="*/ 166687 w 257175"/>
                <a:gd name="connsiteY15" fmla="*/ 16669 h 273844"/>
                <a:gd name="connsiteX16" fmla="*/ 135731 w 257175"/>
                <a:gd name="connsiteY16" fmla="*/ 28575 h 273844"/>
                <a:gd name="connsiteX17" fmla="*/ 107156 w 257175"/>
                <a:gd name="connsiteY17" fmla="*/ 40481 h 273844"/>
                <a:gd name="connsiteX18" fmla="*/ 61912 w 257175"/>
                <a:gd name="connsiteY18" fmla="*/ 16669 h 273844"/>
                <a:gd name="connsiteX19" fmla="*/ 19049 w 257175"/>
                <a:gd name="connsiteY19" fmla="*/ 0 h 27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7175" h="273844">
                  <a:moveTo>
                    <a:pt x="19049" y="0"/>
                  </a:moveTo>
                  <a:lnTo>
                    <a:pt x="0" y="33338"/>
                  </a:lnTo>
                  <a:lnTo>
                    <a:pt x="16669" y="71437"/>
                  </a:lnTo>
                  <a:lnTo>
                    <a:pt x="16669" y="261937"/>
                  </a:lnTo>
                  <a:lnTo>
                    <a:pt x="23812" y="273844"/>
                  </a:lnTo>
                  <a:lnTo>
                    <a:pt x="33337" y="259556"/>
                  </a:lnTo>
                  <a:lnTo>
                    <a:pt x="195262" y="252412"/>
                  </a:lnTo>
                  <a:lnTo>
                    <a:pt x="221456" y="266700"/>
                  </a:lnTo>
                  <a:lnTo>
                    <a:pt x="257175" y="214312"/>
                  </a:lnTo>
                  <a:lnTo>
                    <a:pt x="183356" y="66675"/>
                  </a:lnTo>
                  <a:lnTo>
                    <a:pt x="230981" y="123825"/>
                  </a:lnTo>
                  <a:lnTo>
                    <a:pt x="235744" y="104775"/>
                  </a:lnTo>
                  <a:lnTo>
                    <a:pt x="250031" y="57150"/>
                  </a:lnTo>
                  <a:lnTo>
                    <a:pt x="230981" y="23812"/>
                  </a:lnTo>
                  <a:lnTo>
                    <a:pt x="197644" y="33337"/>
                  </a:lnTo>
                  <a:lnTo>
                    <a:pt x="166687" y="16669"/>
                  </a:lnTo>
                  <a:lnTo>
                    <a:pt x="135731" y="28575"/>
                  </a:lnTo>
                  <a:lnTo>
                    <a:pt x="107156" y="40481"/>
                  </a:lnTo>
                  <a:lnTo>
                    <a:pt x="61912" y="16669"/>
                  </a:lnTo>
                  <a:lnTo>
                    <a:pt x="19049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1" name="Freeform: Shape 188"/>
            <p:cNvSpPr/>
            <p:nvPr/>
          </p:nvSpPr>
          <p:spPr bwMode="auto">
            <a:xfrm>
              <a:off x="4436269" y="3076575"/>
              <a:ext cx="200025" cy="307181"/>
            </a:xfrm>
            <a:custGeom>
              <a:avLst/>
              <a:gdLst>
                <a:gd name="connsiteX0" fmla="*/ 28575 w 200025"/>
                <a:gd name="connsiteY0" fmla="*/ 54769 h 307181"/>
                <a:gd name="connsiteX1" fmla="*/ 0 w 200025"/>
                <a:gd name="connsiteY1" fmla="*/ 130969 h 307181"/>
                <a:gd name="connsiteX2" fmla="*/ 9525 w 200025"/>
                <a:gd name="connsiteY2" fmla="*/ 178594 h 307181"/>
                <a:gd name="connsiteX3" fmla="*/ 4762 w 200025"/>
                <a:gd name="connsiteY3" fmla="*/ 200025 h 307181"/>
                <a:gd name="connsiteX4" fmla="*/ 11906 w 200025"/>
                <a:gd name="connsiteY4" fmla="*/ 221456 h 307181"/>
                <a:gd name="connsiteX5" fmla="*/ 38100 w 200025"/>
                <a:gd name="connsiteY5" fmla="*/ 228600 h 307181"/>
                <a:gd name="connsiteX6" fmla="*/ 23812 w 200025"/>
                <a:gd name="connsiteY6" fmla="*/ 238125 h 307181"/>
                <a:gd name="connsiteX7" fmla="*/ 26194 w 200025"/>
                <a:gd name="connsiteY7" fmla="*/ 264319 h 307181"/>
                <a:gd name="connsiteX8" fmla="*/ 0 w 200025"/>
                <a:gd name="connsiteY8" fmla="*/ 307181 h 307181"/>
                <a:gd name="connsiteX9" fmla="*/ 26194 w 200025"/>
                <a:gd name="connsiteY9" fmla="*/ 288131 h 307181"/>
                <a:gd name="connsiteX10" fmla="*/ 73819 w 200025"/>
                <a:gd name="connsiteY10" fmla="*/ 283369 h 307181"/>
                <a:gd name="connsiteX11" fmla="*/ 100012 w 200025"/>
                <a:gd name="connsiteY11" fmla="*/ 285750 h 307181"/>
                <a:gd name="connsiteX12" fmla="*/ 119062 w 200025"/>
                <a:gd name="connsiteY12" fmla="*/ 285750 h 307181"/>
                <a:gd name="connsiteX13" fmla="*/ 147637 w 200025"/>
                <a:gd name="connsiteY13" fmla="*/ 278606 h 307181"/>
                <a:gd name="connsiteX14" fmla="*/ 166687 w 200025"/>
                <a:gd name="connsiteY14" fmla="*/ 283369 h 307181"/>
                <a:gd name="connsiteX15" fmla="*/ 169069 w 200025"/>
                <a:gd name="connsiteY15" fmla="*/ 261938 h 307181"/>
                <a:gd name="connsiteX16" fmla="*/ 188119 w 200025"/>
                <a:gd name="connsiteY16" fmla="*/ 240506 h 307181"/>
                <a:gd name="connsiteX17" fmla="*/ 152400 w 200025"/>
                <a:gd name="connsiteY17" fmla="*/ 188119 h 307181"/>
                <a:gd name="connsiteX18" fmla="*/ 200025 w 200025"/>
                <a:gd name="connsiteY18" fmla="*/ 164306 h 307181"/>
                <a:gd name="connsiteX19" fmla="*/ 200025 w 200025"/>
                <a:gd name="connsiteY19" fmla="*/ 128588 h 307181"/>
                <a:gd name="connsiteX20" fmla="*/ 192881 w 200025"/>
                <a:gd name="connsiteY20" fmla="*/ 50006 h 307181"/>
                <a:gd name="connsiteX21" fmla="*/ 188119 w 200025"/>
                <a:gd name="connsiteY21" fmla="*/ 14288 h 307181"/>
                <a:gd name="connsiteX22" fmla="*/ 157162 w 200025"/>
                <a:gd name="connsiteY22" fmla="*/ 19050 h 307181"/>
                <a:gd name="connsiteX23" fmla="*/ 116681 w 200025"/>
                <a:gd name="connsiteY23" fmla="*/ 33338 h 307181"/>
                <a:gd name="connsiteX24" fmla="*/ 102394 w 200025"/>
                <a:gd name="connsiteY24" fmla="*/ 19050 h 307181"/>
                <a:gd name="connsiteX25" fmla="*/ 73819 w 200025"/>
                <a:gd name="connsiteY25" fmla="*/ 2381 h 307181"/>
                <a:gd name="connsiteX26" fmla="*/ 57150 w 200025"/>
                <a:gd name="connsiteY26" fmla="*/ 0 h 307181"/>
                <a:gd name="connsiteX27" fmla="*/ 28575 w 200025"/>
                <a:gd name="connsiteY27" fmla="*/ 54769 h 307181"/>
                <a:gd name="connsiteX0" fmla="*/ 28575 w 200025"/>
                <a:gd name="connsiteY0" fmla="*/ 54769 h 307181"/>
                <a:gd name="connsiteX1" fmla="*/ 0 w 200025"/>
                <a:gd name="connsiteY1" fmla="*/ 130969 h 307181"/>
                <a:gd name="connsiteX2" fmla="*/ 9525 w 200025"/>
                <a:gd name="connsiteY2" fmla="*/ 178594 h 307181"/>
                <a:gd name="connsiteX3" fmla="*/ 4762 w 200025"/>
                <a:gd name="connsiteY3" fmla="*/ 200025 h 307181"/>
                <a:gd name="connsiteX4" fmla="*/ 11906 w 200025"/>
                <a:gd name="connsiteY4" fmla="*/ 221456 h 307181"/>
                <a:gd name="connsiteX5" fmla="*/ 38100 w 200025"/>
                <a:gd name="connsiteY5" fmla="*/ 228600 h 307181"/>
                <a:gd name="connsiteX6" fmla="*/ 23812 w 200025"/>
                <a:gd name="connsiteY6" fmla="*/ 238125 h 307181"/>
                <a:gd name="connsiteX7" fmla="*/ 26194 w 200025"/>
                <a:gd name="connsiteY7" fmla="*/ 264319 h 307181"/>
                <a:gd name="connsiteX8" fmla="*/ 0 w 200025"/>
                <a:gd name="connsiteY8" fmla="*/ 307181 h 307181"/>
                <a:gd name="connsiteX9" fmla="*/ 26194 w 200025"/>
                <a:gd name="connsiteY9" fmla="*/ 288131 h 307181"/>
                <a:gd name="connsiteX10" fmla="*/ 73819 w 200025"/>
                <a:gd name="connsiteY10" fmla="*/ 283369 h 307181"/>
                <a:gd name="connsiteX11" fmla="*/ 100012 w 200025"/>
                <a:gd name="connsiteY11" fmla="*/ 285750 h 307181"/>
                <a:gd name="connsiteX12" fmla="*/ 119062 w 200025"/>
                <a:gd name="connsiteY12" fmla="*/ 285750 h 307181"/>
                <a:gd name="connsiteX13" fmla="*/ 147637 w 200025"/>
                <a:gd name="connsiteY13" fmla="*/ 278606 h 307181"/>
                <a:gd name="connsiteX14" fmla="*/ 166687 w 200025"/>
                <a:gd name="connsiteY14" fmla="*/ 283369 h 307181"/>
                <a:gd name="connsiteX15" fmla="*/ 169069 w 200025"/>
                <a:gd name="connsiteY15" fmla="*/ 261938 h 307181"/>
                <a:gd name="connsiteX16" fmla="*/ 188119 w 200025"/>
                <a:gd name="connsiteY16" fmla="*/ 240506 h 307181"/>
                <a:gd name="connsiteX17" fmla="*/ 152400 w 200025"/>
                <a:gd name="connsiteY17" fmla="*/ 188119 h 307181"/>
                <a:gd name="connsiteX18" fmla="*/ 200025 w 200025"/>
                <a:gd name="connsiteY18" fmla="*/ 164306 h 307181"/>
                <a:gd name="connsiteX19" fmla="*/ 200025 w 200025"/>
                <a:gd name="connsiteY19" fmla="*/ 128588 h 307181"/>
                <a:gd name="connsiteX20" fmla="*/ 192881 w 200025"/>
                <a:gd name="connsiteY20" fmla="*/ 50006 h 307181"/>
                <a:gd name="connsiteX21" fmla="*/ 188119 w 200025"/>
                <a:gd name="connsiteY21" fmla="*/ 14288 h 307181"/>
                <a:gd name="connsiteX22" fmla="*/ 157162 w 200025"/>
                <a:gd name="connsiteY22" fmla="*/ 19050 h 307181"/>
                <a:gd name="connsiteX23" fmla="*/ 116681 w 200025"/>
                <a:gd name="connsiteY23" fmla="*/ 33338 h 307181"/>
                <a:gd name="connsiteX24" fmla="*/ 102394 w 200025"/>
                <a:gd name="connsiteY24" fmla="*/ 19050 h 307181"/>
                <a:gd name="connsiteX25" fmla="*/ 73819 w 200025"/>
                <a:gd name="connsiteY25" fmla="*/ 2381 h 307181"/>
                <a:gd name="connsiteX26" fmla="*/ 57150 w 200025"/>
                <a:gd name="connsiteY26" fmla="*/ 0 h 307181"/>
                <a:gd name="connsiteX27" fmla="*/ 35719 w 200025"/>
                <a:gd name="connsiteY27" fmla="*/ 26194 h 307181"/>
                <a:gd name="connsiteX28" fmla="*/ 28575 w 200025"/>
                <a:gd name="connsiteY28" fmla="*/ 54769 h 307181"/>
                <a:gd name="connsiteX0" fmla="*/ 28575 w 200025"/>
                <a:gd name="connsiteY0" fmla="*/ 54769 h 307181"/>
                <a:gd name="connsiteX1" fmla="*/ 0 w 200025"/>
                <a:gd name="connsiteY1" fmla="*/ 130969 h 307181"/>
                <a:gd name="connsiteX2" fmla="*/ 9525 w 200025"/>
                <a:gd name="connsiteY2" fmla="*/ 178594 h 307181"/>
                <a:gd name="connsiteX3" fmla="*/ 4762 w 200025"/>
                <a:gd name="connsiteY3" fmla="*/ 200025 h 307181"/>
                <a:gd name="connsiteX4" fmla="*/ 11906 w 200025"/>
                <a:gd name="connsiteY4" fmla="*/ 221456 h 307181"/>
                <a:gd name="connsiteX5" fmla="*/ 38100 w 200025"/>
                <a:gd name="connsiteY5" fmla="*/ 228600 h 307181"/>
                <a:gd name="connsiteX6" fmla="*/ 23812 w 200025"/>
                <a:gd name="connsiteY6" fmla="*/ 238125 h 307181"/>
                <a:gd name="connsiteX7" fmla="*/ 26194 w 200025"/>
                <a:gd name="connsiteY7" fmla="*/ 264319 h 307181"/>
                <a:gd name="connsiteX8" fmla="*/ 0 w 200025"/>
                <a:gd name="connsiteY8" fmla="*/ 307181 h 307181"/>
                <a:gd name="connsiteX9" fmla="*/ 26194 w 200025"/>
                <a:gd name="connsiteY9" fmla="*/ 288131 h 307181"/>
                <a:gd name="connsiteX10" fmla="*/ 73819 w 200025"/>
                <a:gd name="connsiteY10" fmla="*/ 283369 h 307181"/>
                <a:gd name="connsiteX11" fmla="*/ 100012 w 200025"/>
                <a:gd name="connsiteY11" fmla="*/ 285750 h 307181"/>
                <a:gd name="connsiteX12" fmla="*/ 119062 w 200025"/>
                <a:gd name="connsiteY12" fmla="*/ 285750 h 307181"/>
                <a:gd name="connsiteX13" fmla="*/ 147637 w 200025"/>
                <a:gd name="connsiteY13" fmla="*/ 278606 h 307181"/>
                <a:gd name="connsiteX14" fmla="*/ 166687 w 200025"/>
                <a:gd name="connsiteY14" fmla="*/ 283369 h 307181"/>
                <a:gd name="connsiteX15" fmla="*/ 169069 w 200025"/>
                <a:gd name="connsiteY15" fmla="*/ 261938 h 307181"/>
                <a:gd name="connsiteX16" fmla="*/ 188119 w 200025"/>
                <a:gd name="connsiteY16" fmla="*/ 240506 h 307181"/>
                <a:gd name="connsiteX17" fmla="*/ 152400 w 200025"/>
                <a:gd name="connsiteY17" fmla="*/ 188119 h 307181"/>
                <a:gd name="connsiteX18" fmla="*/ 200025 w 200025"/>
                <a:gd name="connsiteY18" fmla="*/ 164306 h 307181"/>
                <a:gd name="connsiteX19" fmla="*/ 200025 w 200025"/>
                <a:gd name="connsiteY19" fmla="*/ 128588 h 307181"/>
                <a:gd name="connsiteX20" fmla="*/ 192881 w 200025"/>
                <a:gd name="connsiteY20" fmla="*/ 50006 h 307181"/>
                <a:gd name="connsiteX21" fmla="*/ 188119 w 200025"/>
                <a:gd name="connsiteY21" fmla="*/ 14288 h 307181"/>
                <a:gd name="connsiteX22" fmla="*/ 157162 w 200025"/>
                <a:gd name="connsiteY22" fmla="*/ 19050 h 307181"/>
                <a:gd name="connsiteX23" fmla="*/ 116681 w 200025"/>
                <a:gd name="connsiteY23" fmla="*/ 33338 h 307181"/>
                <a:gd name="connsiteX24" fmla="*/ 102394 w 200025"/>
                <a:gd name="connsiteY24" fmla="*/ 19050 h 307181"/>
                <a:gd name="connsiteX25" fmla="*/ 73819 w 200025"/>
                <a:gd name="connsiteY25" fmla="*/ 2381 h 307181"/>
                <a:gd name="connsiteX26" fmla="*/ 57150 w 200025"/>
                <a:gd name="connsiteY26" fmla="*/ 0 h 307181"/>
                <a:gd name="connsiteX27" fmla="*/ 57151 w 200025"/>
                <a:gd name="connsiteY27" fmla="*/ 42863 h 307181"/>
                <a:gd name="connsiteX28" fmla="*/ 28575 w 200025"/>
                <a:gd name="connsiteY28" fmla="*/ 54769 h 307181"/>
                <a:gd name="connsiteX0" fmla="*/ 28575 w 200025"/>
                <a:gd name="connsiteY0" fmla="*/ 54769 h 307181"/>
                <a:gd name="connsiteX1" fmla="*/ 0 w 200025"/>
                <a:gd name="connsiteY1" fmla="*/ 130969 h 307181"/>
                <a:gd name="connsiteX2" fmla="*/ 9525 w 200025"/>
                <a:gd name="connsiteY2" fmla="*/ 178594 h 307181"/>
                <a:gd name="connsiteX3" fmla="*/ 4762 w 200025"/>
                <a:gd name="connsiteY3" fmla="*/ 200025 h 307181"/>
                <a:gd name="connsiteX4" fmla="*/ 11906 w 200025"/>
                <a:gd name="connsiteY4" fmla="*/ 221456 h 307181"/>
                <a:gd name="connsiteX5" fmla="*/ 38100 w 200025"/>
                <a:gd name="connsiteY5" fmla="*/ 228600 h 307181"/>
                <a:gd name="connsiteX6" fmla="*/ 23812 w 200025"/>
                <a:gd name="connsiteY6" fmla="*/ 238125 h 307181"/>
                <a:gd name="connsiteX7" fmla="*/ 26194 w 200025"/>
                <a:gd name="connsiteY7" fmla="*/ 264319 h 307181"/>
                <a:gd name="connsiteX8" fmla="*/ 0 w 200025"/>
                <a:gd name="connsiteY8" fmla="*/ 307181 h 307181"/>
                <a:gd name="connsiteX9" fmla="*/ 26194 w 200025"/>
                <a:gd name="connsiteY9" fmla="*/ 288131 h 307181"/>
                <a:gd name="connsiteX10" fmla="*/ 73819 w 200025"/>
                <a:gd name="connsiteY10" fmla="*/ 283369 h 307181"/>
                <a:gd name="connsiteX11" fmla="*/ 100012 w 200025"/>
                <a:gd name="connsiteY11" fmla="*/ 285750 h 307181"/>
                <a:gd name="connsiteX12" fmla="*/ 119062 w 200025"/>
                <a:gd name="connsiteY12" fmla="*/ 285750 h 307181"/>
                <a:gd name="connsiteX13" fmla="*/ 147637 w 200025"/>
                <a:gd name="connsiteY13" fmla="*/ 278606 h 307181"/>
                <a:gd name="connsiteX14" fmla="*/ 166687 w 200025"/>
                <a:gd name="connsiteY14" fmla="*/ 283369 h 307181"/>
                <a:gd name="connsiteX15" fmla="*/ 169069 w 200025"/>
                <a:gd name="connsiteY15" fmla="*/ 261938 h 307181"/>
                <a:gd name="connsiteX16" fmla="*/ 188119 w 200025"/>
                <a:gd name="connsiteY16" fmla="*/ 240506 h 307181"/>
                <a:gd name="connsiteX17" fmla="*/ 152400 w 200025"/>
                <a:gd name="connsiteY17" fmla="*/ 188119 h 307181"/>
                <a:gd name="connsiteX18" fmla="*/ 200025 w 200025"/>
                <a:gd name="connsiteY18" fmla="*/ 164306 h 307181"/>
                <a:gd name="connsiteX19" fmla="*/ 200025 w 200025"/>
                <a:gd name="connsiteY19" fmla="*/ 128588 h 307181"/>
                <a:gd name="connsiteX20" fmla="*/ 192881 w 200025"/>
                <a:gd name="connsiteY20" fmla="*/ 50006 h 307181"/>
                <a:gd name="connsiteX21" fmla="*/ 188119 w 200025"/>
                <a:gd name="connsiteY21" fmla="*/ 14288 h 307181"/>
                <a:gd name="connsiteX22" fmla="*/ 157162 w 200025"/>
                <a:gd name="connsiteY22" fmla="*/ 19050 h 307181"/>
                <a:gd name="connsiteX23" fmla="*/ 116681 w 200025"/>
                <a:gd name="connsiteY23" fmla="*/ 33338 h 307181"/>
                <a:gd name="connsiteX24" fmla="*/ 102394 w 200025"/>
                <a:gd name="connsiteY24" fmla="*/ 19050 h 307181"/>
                <a:gd name="connsiteX25" fmla="*/ 73819 w 200025"/>
                <a:gd name="connsiteY25" fmla="*/ 2381 h 307181"/>
                <a:gd name="connsiteX26" fmla="*/ 57150 w 200025"/>
                <a:gd name="connsiteY26" fmla="*/ 0 h 307181"/>
                <a:gd name="connsiteX27" fmla="*/ 69058 w 200025"/>
                <a:gd name="connsiteY27" fmla="*/ 47625 h 307181"/>
                <a:gd name="connsiteX28" fmla="*/ 28575 w 200025"/>
                <a:gd name="connsiteY28" fmla="*/ 54769 h 307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0025" h="307181">
                  <a:moveTo>
                    <a:pt x="28575" y="54769"/>
                  </a:moveTo>
                  <a:lnTo>
                    <a:pt x="0" y="130969"/>
                  </a:lnTo>
                  <a:lnTo>
                    <a:pt x="9525" y="178594"/>
                  </a:lnTo>
                  <a:lnTo>
                    <a:pt x="4762" y="200025"/>
                  </a:lnTo>
                  <a:lnTo>
                    <a:pt x="11906" y="221456"/>
                  </a:lnTo>
                  <a:lnTo>
                    <a:pt x="38100" y="228600"/>
                  </a:lnTo>
                  <a:lnTo>
                    <a:pt x="23812" y="238125"/>
                  </a:lnTo>
                  <a:lnTo>
                    <a:pt x="26194" y="264319"/>
                  </a:lnTo>
                  <a:lnTo>
                    <a:pt x="0" y="307181"/>
                  </a:lnTo>
                  <a:lnTo>
                    <a:pt x="26194" y="288131"/>
                  </a:lnTo>
                  <a:lnTo>
                    <a:pt x="73819" y="283369"/>
                  </a:lnTo>
                  <a:lnTo>
                    <a:pt x="100012" y="285750"/>
                  </a:lnTo>
                  <a:lnTo>
                    <a:pt x="119062" y="285750"/>
                  </a:lnTo>
                  <a:lnTo>
                    <a:pt x="147637" y="278606"/>
                  </a:lnTo>
                  <a:lnTo>
                    <a:pt x="166687" y="283369"/>
                  </a:lnTo>
                  <a:lnTo>
                    <a:pt x="169069" y="261938"/>
                  </a:lnTo>
                  <a:lnTo>
                    <a:pt x="188119" y="240506"/>
                  </a:lnTo>
                  <a:lnTo>
                    <a:pt x="152400" y="188119"/>
                  </a:lnTo>
                  <a:lnTo>
                    <a:pt x="200025" y="164306"/>
                  </a:lnTo>
                  <a:lnTo>
                    <a:pt x="200025" y="128588"/>
                  </a:lnTo>
                  <a:lnTo>
                    <a:pt x="192881" y="50006"/>
                  </a:lnTo>
                  <a:lnTo>
                    <a:pt x="188119" y="14288"/>
                  </a:lnTo>
                  <a:lnTo>
                    <a:pt x="157162" y="19050"/>
                  </a:lnTo>
                  <a:lnTo>
                    <a:pt x="116681" y="33338"/>
                  </a:lnTo>
                  <a:lnTo>
                    <a:pt x="102394" y="19050"/>
                  </a:lnTo>
                  <a:lnTo>
                    <a:pt x="73819" y="2381"/>
                  </a:lnTo>
                  <a:lnTo>
                    <a:pt x="57150" y="0"/>
                  </a:lnTo>
                  <a:cubicBezTo>
                    <a:pt x="57150" y="14288"/>
                    <a:pt x="69058" y="33337"/>
                    <a:pt x="69058" y="47625"/>
                  </a:cubicBezTo>
                  <a:lnTo>
                    <a:pt x="28575" y="5476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2" name="Freeform: Shape 189"/>
            <p:cNvSpPr/>
            <p:nvPr/>
          </p:nvSpPr>
          <p:spPr bwMode="auto">
            <a:xfrm>
              <a:off x="4438650" y="3362325"/>
              <a:ext cx="83344" cy="45244"/>
            </a:xfrm>
            <a:custGeom>
              <a:avLst/>
              <a:gdLst>
                <a:gd name="connsiteX0" fmla="*/ 76200 w 76200"/>
                <a:gd name="connsiteY0" fmla="*/ 0 h 45244"/>
                <a:gd name="connsiteX1" fmla="*/ 26194 w 76200"/>
                <a:gd name="connsiteY1" fmla="*/ 2381 h 45244"/>
                <a:gd name="connsiteX2" fmla="*/ 0 w 76200"/>
                <a:gd name="connsiteY2" fmla="*/ 26194 h 45244"/>
                <a:gd name="connsiteX3" fmla="*/ 0 w 76200"/>
                <a:gd name="connsiteY3" fmla="*/ 26194 h 45244"/>
                <a:gd name="connsiteX4" fmla="*/ 23813 w 76200"/>
                <a:gd name="connsiteY4" fmla="*/ 45244 h 45244"/>
                <a:gd name="connsiteX5" fmla="*/ 40481 w 76200"/>
                <a:gd name="connsiteY5" fmla="*/ 40481 h 45244"/>
                <a:gd name="connsiteX6" fmla="*/ 50006 w 76200"/>
                <a:gd name="connsiteY6" fmla="*/ 45244 h 45244"/>
                <a:gd name="connsiteX7" fmla="*/ 76200 w 76200"/>
                <a:gd name="connsiteY7" fmla="*/ 0 h 45244"/>
                <a:gd name="connsiteX0" fmla="*/ 76200 w 76200"/>
                <a:gd name="connsiteY0" fmla="*/ 0 h 45244"/>
                <a:gd name="connsiteX1" fmla="*/ 26194 w 76200"/>
                <a:gd name="connsiteY1" fmla="*/ 2381 h 45244"/>
                <a:gd name="connsiteX2" fmla="*/ 0 w 76200"/>
                <a:gd name="connsiteY2" fmla="*/ 26194 h 45244"/>
                <a:gd name="connsiteX3" fmla="*/ 0 w 76200"/>
                <a:gd name="connsiteY3" fmla="*/ 26194 h 45244"/>
                <a:gd name="connsiteX4" fmla="*/ 23813 w 76200"/>
                <a:gd name="connsiteY4" fmla="*/ 45244 h 45244"/>
                <a:gd name="connsiteX5" fmla="*/ 40481 w 76200"/>
                <a:gd name="connsiteY5" fmla="*/ 40481 h 45244"/>
                <a:gd name="connsiteX6" fmla="*/ 50006 w 76200"/>
                <a:gd name="connsiteY6" fmla="*/ 45244 h 45244"/>
                <a:gd name="connsiteX7" fmla="*/ 64294 w 76200"/>
                <a:gd name="connsiteY7" fmla="*/ 21431 h 45244"/>
                <a:gd name="connsiteX8" fmla="*/ 76200 w 76200"/>
                <a:gd name="connsiteY8" fmla="*/ 0 h 45244"/>
                <a:gd name="connsiteX0" fmla="*/ 76200 w 83344"/>
                <a:gd name="connsiteY0" fmla="*/ 0 h 45244"/>
                <a:gd name="connsiteX1" fmla="*/ 26194 w 83344"/>
                <a:gd name="connsiteY1" fmla="*/ 2381 h 45244"/>
                <a:gd name="connsiteX2" fmla="*/ 0 w 83344"/>
                <a:gd name="connsiteY2" fmla="*/ 26194 h 45244"/>
                <a:gd name="connsiteX3" fmla="*/ 0 w 83344"/>
                <a:gd name="connsiteY3" fmla="*/ 26194 h 45244"/>
                <a:gd name="connsiteX4" fmla="*/ 23813 w 83344"/>
                <a:gd name="connsiteY4" fmla="*/ 45244 h 45244"/>
                <a:gd name="connsiteX5" fmla="*/ 40481 w 83344"/>
                <a:gd name="connsiteY5" fmla="*/ 40481 h 45244"/>
                <a:gd name="connsiteX6" fmla="*/ 50006 w 83344"/>
                <a:gd name="connsiteY6" fmla="*/ 45244 h 45244"/>
                <a:gd name="connsiteX7" fmla="*/ 83344 w 83344"/>
                <a:gd name="connsiteY7" fmla="*/ 21431 h 45244"/>
                <a:gd name="connsiteX8" fmla="*/ 76200 w 83344"/>
                <a:gd name="connsiteY8" fmla="*/ 0 h 4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344" h="45244">
                  <a:moveTo>
                    <a:pt x="76200" y="0"/>
                  </a:moveTo>
                  <a:lnTo>
                    <a:pt x="26194" y="2381"/>
                  </a:lnTo>
                  <a:lnTo>
                    <a:pt x="0" y="26194"/>
                  </a:lnTo>
                  <a:lnTo>
                    <a:pt x="0" y="26194"/>
                  </a:lnTo>
                  <a:lnTo>
                    <a:pt x="23813" y="45244"/>
                  </a:lnTo>
                  <a:lnTo>
                    <a:pt x="40481" y="40481"/>
                  </a:lnTo>
                  <a:lnTo>
                    <a:pt x="50006" y="45244"/>
                  </a:lnTo>
                  <a:lnTo>
                    <a:pt x="83344" y="21431"/>
                  </a:lnTo>
                  <a:lnTo>
                    <a:pt x="7620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3" name="Freeform: Shape 190"/>
            <p:cNvSpPr/>
            <p:nvPr/>
          </p:nvSpPr>
          <p:spPr bwMode="auto">
            <a:xfrm>
              <a:off x="4371975" y="3131344"/>
              <a:ext cx="95249" cy="111919"/>
            </a:xfrm>
            <a:custGeom>
              <a:avLst/>
              <a:gdLst>
                <a:gd name="connsiteX0" fmla="*/ 83344 w 83344"/>
                <a:gd name="connsiteY0" fmla="*/ 0 h 111919"/>
                <a:gd name="connsiteX1" fmla="*/ 50007 w 83344"/>
                <a:gd name="connsiteY1" fmla="*/ 64294 h 111919"/>
                <a:gd name="connsiteX2" fmla="*/ 52388 w 83344"/>
                <a:gd name="connsiteY2" fmla="*/ 109537 h 111919"/>
                <a:gd name="connsiteX3" fmla="*/ 42863 w 83344"/>
                <a:gd name="connsiteY3" fmla="*/ 111919 h 111919"/>
                <a:gd name="connsiteX4" fmla="*/ 23813 w 83344"/>
                <a:gd name="connsiteY4" fmla="*/ 88106 h 111919"/>
                <a:gd name="connsiteX5" fmla="*/ 14288 w 83344"/>
                <a:gd name="connsiteY5" fmla="*/ 80962 h 111919"/>
                <a:gd name="connsiteX6" fmla="*/ 0 w 83344"/>
                <a:gd name="connsiteY6" fmla="*/ 92869 h 111919"/>
                <a:gd name="connsiteX7" fmla="*/ 0 w 83344"/>
                <a:gd name="connsiteY7" fmla="*/ 92869 h 111919"/>
                <a:gd name="connsiteX8" fmla="*/ 9525 w 83344"/>
                <a:gd name="connsiteY8" fmla="*/ 26194 h 111919"/>
                <a:gd name="connsiteX9" fmla="*/ 30957 w 83344"/>
                <a:gd name="connsiteY9" fmla="*/ 42862 h 111919"/>
                <a:gd name="connsiteX10" fmla="*/ 40482 w 83344"/>
                <a:gd name="connsiteY10" fmla="*/ 28575 h 111919"/>
                <a:gd name="connsiteX11" fmla="*/ 33338 w 83344"/>
                <a:gd name="connsiteY11" fmla="*/ 16669 h 111919"/>
                <a:gd name="connsiteX12" fmla="*/ 83344 w 83344"/>
                <a:gd name="connsiteY12" fmla="*/ 0 h 111919"/>
                <a:gd name="connsiteX0" fmla="*/ 83344 w 83344"/>
                <a:gd name="connsiteY0" fmla="*/ 0 h 111919"/>
                <a:gd name="connsiteX1" fmla="*/ 50007 w 83344"/>
                <a:gd name="connsiteY1" fmla="*/ 64294 h 111919"/>
                <a:gd name="connsiteX2" fmla="*/ 52388 w 83344"/>
                <a:gd name="connsiteY2" fmla="*/ 109537 h 111919"/>
                <a:gd name="connsiteX3" fmla="*/ 42863 w 83344"/>
                <a:gd name="connsiteY3" fmla="*/ 111919 h 111919"/>
                <a:gd name="connsiteX4" fmla="*/ 23813 w 83344"/>
                <a:gd name="connsiteY4" fmla="*/ 88106 h 111919"/>
                <a:gd name="connsiteX5" fmla="*/ 14288 w 83344"/>
                <a:gd name="connsiteY5" fmla="*/ 80962 h 111919"/>
                <a:gd name="connsiteX6" fmla="*/ 2382 w 83344"/>
                <a:gd name="connsiteY6" fmla="*/ 73819 h 111919"/>
                <a:gd name="connsiteX7" fmla="*/ 0 w 83344"/>
                <a:gd name="connsiteY7" fmla="*/ 92869 h 111919"/>
                <a:gd name="connsiteX8" fmla="*/ 0 w 83344"/>
                <a:gd name="connsiteY8" fmla="*/ 92869 h 111919"/>
                <a:gd name="connsiteX9" fmla="*/ 9525 w 83344"/>
                <a:gd name="connsiteY9" fmla="*/ 26194 h 111919"/>
                <a:gd name="connsiteX10" fmla="*/ 30957 w 83344"/>
                <a:gd name="connsiteY10" fmla="*/ 42862 h 111919"/>
                <a:gd name="connsiteX11" fmla="*/ 40482 w 83344"/>
                <a:gd name="connsiteY11" fmla="*/ 28575 h 111919"/>
                <a:gd name="connsiteX12" fmla="*/ 33338 w 83344"/>
                <a:gd name="connsiteY12" fmla="*/ 16669 h 111919"/>
                <a:gd name="connsiteX13" fmla="*/ 83344 w 83344"/>
                <a:gd name="connsiteY13" fmla="*/ 0 h 111919"/>
                <a:gd name="connsiteX0" fmla="*/ 95249 w 95249"/>
                <a:gd name="connsiteY0" fmla="*/ 0 h 111919"/>
                <a:gd name="connsiteX1" fmla="*/ 61912 w 95249"/>
                <a:gd name="connsiteY1" fmla="*/ 64294 h 111919"/>
                <a:gd name="connsiteX2" fmla="*/ 64293 w 95249"/>
                <a:gd name="connsiteY2" fmla="*/ 109537 h 111919"/>
                <a:gd name="connsiteX3" fmla="*/ 54768 w 95249"/>
                <a:gd name="connsiteY3" fmla="*/ 111919 h 111919"/>
                <a:gd name="connsiteX4" fmla="*/ 35718 w 95249"/>
                <a:gd name="connsiteY4" fmla="*/ 88106 h 111919"/>
                <a:gd name="connsiteX5" fmla="*/ 26193 w 95249"/>
                <a:gd name="connsiteY5" fmla="*/ 80962 h 111919"/>
                <a:gd name="connsiteX6" fmla="*/ 0 w 95249"/>
                <a:gd name="connsiteY6" fmla="*/ 83344 h 111919"/>
                <a:gd name="connsiteX7" fmla="*/ 11905 w 95249"/>
                <a:gd name="connsiteY7" fmla="*/ 92869 h 111919"/>
                <a:gd name="connsiteX8" fmla="*/ 11905 w 95249"/>
                <a:gd name="connsiteY8" fmla="*/ 92869 h 111919"/>
                <a:gd name="connsiteX9" fmla="*/ 21430 w 95249"/>
                <a:gd name="connsiteY9" fmla="*/ 26194 h 111919"/>
                <a:gd name="connsiteX10" fmla="*/ 42862 w 95249"/>
                <a:gd name="connsiteY10" fmla="*/ 42862 h 111919"/>
                <a:gd name="connsiteX11" fmla="*/ 52387 w 95249"/>
                <a:gd name="connsiteY11" fmla="*/ 28575 h 111919"/>
                <a:gd name="connsiteX12" fmla="*/ 45243 w 95249"/>
                <a:gd name="connsiteY12" fmla="*/ 16669 h 111919"/>
                <a:gd name="connsiteX13" fmla="*/ 95249 w 95249"/>
                <a:gd name="connsiteY13" fmla="*/ 0 h 11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49" h="111919">
                  <a:moveTo>
                    <a:pt x="95249" y="0"/>
                  </a:moveTo>
                  <a:lnTo>
                    <a:pt x="61912" y="64294"/>
                  </a:lnTo>
                  <a:lnTo>
                    <a:pt x="64293" y="109537"/>
                  </a:lnTo>
                  <a:lnTo>
                    <a:pt x="54768" y="111919"/>
                  </a:lnTo>
                  <a:lnTo>
                    <a:pt x="35718" y="88106"/>
                  </a:lnTo>
                  <a:lnTo>
                    <a:pt x="26193" y="80962"/>
                  </a:lnTo>
                  <a:lnTo>
                    <a:pt x="0" y="83344"/>
                  </a:lnTo>
                  <a:lnTo>
                    <a:pt x="11905" y="92869"/>
                  </a:lnTo>
                  <a:lnTo>
                    <a:pt x="11905" y="92869"/>
                  </a:lnTo>
                  <a:lnTo>
                    <a:pt x="21430" y="26194"/>
                  </a:lnTo>
                  <a:lnTo>
                    <a:pt x="42862" y="42862"/>
                  </a:lnTo>
                  <a:lnTo>
                    <a:pt x="52387" y="28575"/>
                  </a:lnTo>
                  <a:lnTo>
                    <a:pt x="45243" y="16669"/>
                  </a:lnTo>
                  <a:lnTo>
                    <a:pt x="9524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4" name="Freeform: Shape 191"/>
            <p:cNvSpPr/>
            <p:nvPr/>
          </p:nvSpPr>
          <p:spPr bwMode="auto">
            <a:xfrm>
              <a:off x="4413409" y="3250451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5" name="Freeform: Shape 192"/>
            <p:cNvSpPr/>
            <p:nvPr/>
          </p:nvSpPr>
          <p:spPr bwMode="auto">
            <a:xfrm>
              <a:off x="4336256" y="3214688"/>
              <a:ext cx="107157" cy="73818"/>
            </a:xfrm>
            <a:custGeom>
              <a:avLst/>
              <a:gdLst>
                <a:gd name="connsiteX0" fmla="*/ 0 w 107157"/>
                <a:gd name="connsiteY0" fmla="*/ 11906 h 69056"/>
                <a:gd name="connsiteX1" fmla="*/ 28575 w 107157"/>
                <a:gd name="connsiteY1" fmla="*/ 45244 h 69056"/>
                <a:gd name="connsiteX2" fmla="*/ 59532 w 107157"/>
                <a:gd name="connsiteY2" fmla="*/ 57150 h 69056"/>
                <a:gd name="connsiteX3" fmla="*/ 90488 w 107157"/>
                <a:gd name="connsiteY3" fmla="*/ 69056 h 69056"/>
                <a:gd name="connsiteX4" fmla="*/ 88107 w 107157"/>
                <a:gd name="connsiteY4" fmla="*/ 50006 h 69056"/>
                <a:gd name="connsiteX5" fmla="*/ 102394 w 107157"/>
                <a:gd name="connsiteY5" fmla="*/ 45244 h 69056"/>
                <a:gd name="connsiteX6" fmla="*/ 107157 w 107157"/>
                <a:gd name="connsiteY6" fmla="*/ 21431 h 69056"/>
                <a:gd name="connsiteX7" fmla="*/ 90488 w 107157"/>
                <a:gd name="connsiteY7" fmla="*/ 23813 h 69056"/>
                <a:gd name="connsiteX8" fmla="*/ 66675 w 107157"/>
                <a:gd name="connsiteY8" fmla="*/ 0 h 69056"/>
                <a:gd name="connsiteX9" fmla="*/ 0 w 107157"/>
                <a:gd name="connsiteY9" fmla="*/ 11906 h 69056"/>
                <a:gd name="connsiteX0" fmla="*/ 0 w 107157"/>
                <a:gd name="connsiteY0" fmla="*/ 11906 h 69056"/>
                <a:gd name="connsiteX1" fmla="*/ 28575 w 107157"/>
                <a:gd name="connsiteY1" fmla="*/ 45244 h 69056"/>
                <a:gd name="connsiteX2" fmla="*/ 59532 w 107157"/>
                <a:gd name="connsiteY2" fmla="*/ 57150 h 69056"/>
                <a:gd name="connsiteX3" fmla="*/ 90488 w 107157"/>
                <a:gd name="connsiteY3" fmla="*/ 69056 h 69056"/>
                <a:gd name="connsiteX4" fmla="*/ 88107 w 107157"/>
                <a:gd name="connsiteY4" fmla="*/ 50006 h 69056"/>
                <a:gd name="connsiteX5" fmla="*/ 102394 w 107157"/>
                <a:gd name="connsiteY5" fmla="*/ 45244 h 69056"/>
                <a:gd name="connsiteX6" fmla="*/ 107157 w 107157"/>
                <a:gd name="connsiteY6" fmla="*/ 21431 h 69056"/>
                <a:gd name="connsiteX7" fmla="*/ 90488 w 107157"/>
                <a:gd name="connsiteY7" fmla="*/ 23813 h 69056"/>
                <a:gd name="connsiteX8" fmla="*/ 66675 w 107157"/>
                <a:gd name="connsiteY8" fmla="*/ 0 h 69056"/>
                <a:gd name="connsiteX9" fmla="*/ 40482 w 107157"/>
                <a:gd name="connsiteY9" fmla="*/ 7144 h 69056"/>
                <a:gd name="connsiteX10" fmla="*/ 0 w 107157"/>
                <a:gd name="connsiteY10" fmla="*/ 11906 h 69056"/>
                <a:gd name="connsiteX0" fmla="*/ 0 w 107157"/>
                <a:gd name="connsiteY0" fmla="*/ 16668 h 73818"/>
                <a:gd name="connsiteX1" fmla="*/ 28575 w 107157"/>
                <a:gd name="connsiteY1" fmla="*/ 50006 h 73818"/>
                <a:gd name="connsiteX2" fmla="*/ 59532 w 107157"/>
                <a:gd name="connsiteY2" fmla="*/ 61912 h 73818"/>
                <a:gd name="connsiteX3" fmla="*/ 90488 w 107157"/>
                <a:gd name="connsiteY3" fmla="*/ 73818 h 73818"/>
                <a:gd name="connsiteX4" fmla="*/ 88107 w 107157"/>
                <a:gd name="connsiteY4" fmla="*/ 54768 h 73818"/>
                <a:gd name="connsiteX5" fmla="*/ 102394 w 107157"/>
                <a:gd name="connsiteY5" fmla="*/ 50006 h 73818"/>
                <a:gd name="connsiteX6" fmla="*/ 107157 w 107157"/>
                <a:gd name="connsiteY6" fmla="*/ 26193 h 73818"/>
                <a:gd name="connsiteX7" fmla="*/ 90488 w 107157"/>
                <a:gd name="connsiteY7" fmla="*/ 28575 h 73818"/>
                <a:gd name="connsiteX8" fmla="*/ 66675 w 107157"/>
                <a:gd name="connsiteY8" fmla="*/ 4762 h 73818"/>
                <a:gd name="connsiteX9" fmla="*/ 40482 w 107157"/>
                <a:gd name="connsiteY9" fmla="*/ 0 h 73818"/>
                <a:gd name="connsiteX10" fmla="*/ 0 w 107157"/>
                <a:gd name="connsiteY10" fmla="*/ 16668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7157" h="73818">
                  <a:moveTo>
                    <a:pt x="0" y="16668"/>
                  </a:moveTo>
                  <a:lnTo>
                    <a:pt x="28575" y="50006"/>
                  </a:lnTo>
                  <a:lnTo>
                    <a:pt x="59532" y="61912"/>
                  </a:lnTo>
                  <a:lnTo>
                    <a:pt x="90488" y="73818"/>
                  </a:lnTo>
                  <a:lnTo>
                    <a:pt x="88107" y="54768"/>
                  </a:lnTo>
                  <a:lnTo>
                    <a:pt x="102394" y="50006"/>
                  </a:lnTo>
                  <a:lnTo>
                    <a:pt x="107157" y="26193"/>
                  </a:lnTo>
                  <a:lnTo>
                    <a:pt x="90488" y="28575"/>
                  </a:lnTo>
                  <a:lnTo>
                    <a:pt x="66675" y="4762"/>
                  </a:lnTo>
                  <a:lnTo>
                    <a:pt x="40482" y="0"/>
                  </a:lnTo>
                  <a:lnTo>
                    <a:pt x="0" y="1666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6" name="Freeform: Shape 193"/>
            <p:cNvSpPr/>
            <p:nvPr/>
          </p:nvSpPr>
          <p:spPr bwMode="auto">
            <a:xfrm>
              <a:off x="4474369" y="2952750"/>
              <a:ext cx="73819" cy="128587"/>
            </a:xfrm>
            <a:custGeom>
              <a:avLst/>
              <a:gdLst>
                <a:gd name="connsiteX0" fmla="*/ 14287 w 73819"/>
                <a:gd name="connsiteY0" fmla="*/ 114300 h 114300"/>
                <a:gd name="connsiteX1" fmla="*/ 0 w 73819"/>
                <a:gd name="connsiteY1" fmla="*/ 57150 h 114300"/>
                <a:gd name="connsiteX2" fmla="*/ 28575 w 73819"/>
                <a:gd name="connsiteY2" fmla="*/ 19050 h 114300"/>
                <a:gd name="connsiteX3" fmla="*/ 69056 w 73819"/>
                <a:gd name="connsiteY3" fmla="*/ 0 h 114300"/>
                <a:gd name="connsiteX4" fmla="*/ 57150 w 73819"/>
                <a:gd name="connsiteY4" fmla="*/ 40481 h 114300"/>
                <a:gd name="connsiteX5" fmla="*/ 73819 w 73819"/>
                <a:gd name="connsiteY5" fmla="*/ 59531 h 114300"/>
                <a:gd name="connsiteX6" fmla="*/ 52387 w 73819"/>
                <a:gd name="connsiteY6" fmla="*/ 76200 h 114300"/>
                <a:gd name="connsiteX7" fmla="*/ 14287 w 73819"/>
                <a:gd name="connsiteY7" fmla="*/ 114300 h 114300"/>
                <a:gd name="connsiteX0" fmla="*/ 14287 w 73819"/>
                <a:gd name="connsiteY0" fmla="*/ 114300 h 114300"/>
                <a:gd name="connsiteX1" fmla="*/ 0 w 73819"/>
                <a:gd name="connsiteY1" fmla="*/ 57150 h 114300"/>
                <a:gd name="connsiteX2" fmla="*/ 28575 w 73819"/>
                <a:gd name="connsiteY2" fmla="*/ 19050 h 114300"/>
                <a:gd name="connsiteX3" fmla="*/ 69056 w 73819"/>
                <a:gd name="connsiteY3" fmla="*/ 0 h 114300"/>
                <a:gd name="connsiteX4" fmla="*/ 57150 w 73819"/>
                <a:gd name="connsiteY4" fmla="*/ 40481 h 114300"/>
                <a:gd name="connsiteX5" fmla="*/ 73819 w 73819"/>
                <a:gd name="connsiteY5" fmla="*/ 59531 h 114300"/>
                <a:gd name="connsiteX6" fmla="*/ 52387 w 73819"/>
                <a:gd name="connsiteY6" fmla="*/ 76200 h 114300"/>
                <a:gd name="connsiteX7" fmla="*/ 38100 w 73819"/>
                <a:gd name="connsiteY7" fmla="*/ 88106 h 114300"/>
                <a:gd name="connsiteX8" fmla="*/ 14287 w 73819"/>
                <a:gd name="connsiteY8" fmla="*/ 114300 h 114300"/>
                <a:gd name="connsiteX0" fmla="*/ 14287 w 73819"/>
                <a:gd name="connsiteY0" fmla="*/ 114300 h 128587"/>
                <a:gd name="connsiteX1" fmla="*/ 0 w 73819"/>
                <a:gd name="connsiteY1" fmla="*/ 57150 h 128587"/>
                <a:gd name="connsiteX2" fmla="*/ 28575 w 73819"/>
                <a:gd name="connsiteY2" fmla="*/ 19050 h 128587"/>
                <a:gd name="connsiteX3" fmla="*/ 69056 w 73819"/>
                <a:gd name="connsiteY3" fmla="*/ 0 h 128587"/>
                <a:gd name="connsiteX4" fmla="*/ 57150 w 73819"/>
                <a:gd name="connsiteY4" fmla="*/ 40481 h 128587"/>
                <a:gd name="connsiteX5" fmla="*/ 73819 w 73819"/>
                <a:gd name="connsiteY5" fmla="*/ 59531 h 128587"/>
                <a:gd name="connsiteX6" fmla="*/ 52387 w 73819"/>
                <a:gd name="connsiteY6" fmla="*/ 76200 h 128587"/>
                <a:gd name="connsiteX7" fmla="*/ 38100 w 73819"/>
                <a:gd name="connsiteY7" fmla="*/ 128587 h 128587"/>
                <a:gd name="connsiteX8" fmla="*/ 14287 w 73819"/>
                <a:gd name="connsiteY8" fmla="*/ 114300 h 12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819" h="128587">
                  <a:moveTo>
                    <a:pt x="14287" y="114300"/>
                  </a:moveTo>
                  <a:lnTo>
                    <a:pt x="0" y="57150"/>
                  </a:lnTo>
                  <a:lnTo>
                    <a:pt x="28575" y="19050"/>
                  </a:lnTo>
                  <a:lnTo>
                    <a:pt x="69056" y="0"/>
                  </a:lnTo>
                  <a:lnTo>
                    <a:pt x="57150" y="40481"/>
                  </a:lnTo>
                  <a:lnTo>
                    <a:pt x="73819" y="59531"/>
                  </a:lnTo>
                  <a:lnTo>
                    <a:pt x="52387" y="76200"/>
                  </a:lnTo>
                  <a:lnTo>
                    <a:pt x="38100" y="128587"/>
                  </a:lnTo>
                  <a:lnTo>
                    <a:pt x="14287" y="11430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7" name="Freeform: Shape 194"/>
            <p:cNvSpPr/>
            <p:nvPr/>
          </p:nvSpPr>
          <p:spPr bwMode="auto">
            <a:xfrm>
              <a:off x="4698206" y="3278981"/>
              <a:ext cx="138113" cy="76200"/>
            </a:xfrm>
            <a:custGeom>
              <a:avLst/>
              <a:gdLst>
                <a:gd name="connsiteX0" fmla="*/ 138113 w 138113"/>
                <a:gd name="connsiteY0" fmla="*/ 11907 h 76200"/>
                <a:gd name="connsiteX1" fmla="*/ 66675 w 138113"/>
                <a:gd name="connsiteY1" fmla="*/ 9525 h 76200"/>
                <a:gd name="connsiteX2" fmla="*/ 45244 w 138113"/>
                <a:gd name="connsiteY2" fmla="*/ 0 h 76200"/>
                <a:gd name="connsiteX3" fmla="*/ 7144 w 138113"/>
                <a:gd name="connsiteY3" fmla="*/ 33338 h 76200"/>
                <a:gd name="connsiteX4" fmla="*/ 0 w 138113"/>
                <a:gd name="connsiteY4" fmla="*/ 50007 h 76200"/>
                <a:gd name="connsiteX5" fmla="*/ 19050 w 138113"/>
                <a:gd name="connsiteY5" fmla="*/ 64294 h 76200"/>
                <a:gd name="connsiteX6" fmla="*/ 38100 w 138113"/>
                <a:gd name="connsiteY6" fmla="*/ 76200 h 76200"/>
                <a:gd name="connsiteX7" fmla="*/ 57150 w 138113"/>
                <a:gd name="connsiteY7" fmla="*/ 64294 h 76200"/>
                <a:gd name="connsiteX8" fmla="*/ 85725 w 138113"/>
                <a:gd name="connsiteY8" fmla="*/ 54769 h 76200"/>
                <a:gd name="connsiteX9" fmla="*/ 90488 w 138113"/>
                <a:gd name="connsiteY9" fmla="*/ 47625 h 76200"/>
                <a:gd name="connsiteX10" fmla="*/ 138113 w 138113"/>
                <a:gd name="connsiteY10" fmla="*/ 11907 h 76200"/>
                <a:gd name="connsiteX0" fmla="*/ 138113 w 138113"/>
                <a:gd name="connsiteY0" fmla="*/ 11907 h 76200"/>
                <a:gd name="connsiteX1" fmla="*/ 66675 w 138113"/>
                <a:gd name="connsiteY1" fmla="*/ 9525 h 76200"/>
                <a:gd name="connsiteX2" fmla="*/ 45244 w 138113"/>
                <a:gd name="connsiteY2" fmla="*/ 0 h 76200"/>
                <a:gd name="connsiteX3" fmla="*/ 7144 w 138113"/>
                <a:gd name="connsiteY3" fmla="*/ 33338 h 76200"/>
                <a:gd name="connsiteX4" fmla="*/ 0 w 138113"/>
                <a:gd name="connsiteY4" fmla="*/ 50007 h 76200"/>
                <a:gd name="connsiteX5" fmla="*/ 19050 w 138113"/>
                <a:gd name="connsiteY5" fmla="*/ 64294 h 76200"/>
                <a:gd name="connsiteX6" fmla="*/ 38100 w 138113"/>
                <a:gd name="connsiteY6" fmla="*/ 76200 h 76200"/>
                <a:gd name="connsiteX7" fmla="*/ 57150 w 138113"/>
                <a:gd name="connsiteY7" fmla="*/ 64294 h 76200"/>
                <a:gd name="connsiteX8" fmla="*/ 85725 w 138113"/>
                <a:gd name="connsiteY8" fmla="*/ 54769 h 76200"/>
                <a:gd name="connsiteX9" fmla="*/ 90488 w 138113"/>
                <a:gd name="connsiteY9" fmla="*/ 47625 h 76200"/>
                <a:gd name="connsiteX10" fmla="*/ 109538 w 138113"/>
                <a:gd name="connsiteY10" fmla="*/ 35719 h 76200"/>
                <a:gd name="connsiteX11" fmla="*/ 138113 w 138113"/>
                <a:gd name="connsiteY11" fmla="*/ 11907 h 76200"/>
                <a:gd name="connsiteX0" fmla="*/ 138113 w 138113"/>
                <a:gd name="connsiteY0" fmla="*/ 11907 h 76200"/>
                <a:gd name="connsiteX1" fmla="*/ 66675 w 138113"/>
                <a:gd name="connsiteY1" fmla="*/ 9525 h 76200"/>
                <a:gd name="connsiteX2" fmla="*/ 45244 w 138113"/>
                <a:gd name="connsiteY2" fmla="*/ 0 h 76200"/>
                <a:gd name="connsiteX3" fmla="*/ 7144 w 138113"/>
                <a:gd name="connsiteY3" fmla="*/ 33338 h 76200"/>
                <a:gd name="connsiteX4" fmla="*/ 0 w 138113"/>
                <a:gd name="connsiteY4" fmla="*/ 50007 h 76200"/>
                <a:gd name="connsiteX5" fmla="*/ 19050 w 138113"/>
                <a:gd name="connsiteY5" fmla="*/ 64294 h 76200"/>
                <a:gd name="connsiteX6" fmla="*/ 38100 w 138113"/>
                <a:gd name="connsiteY6" fmla="*/ 76200 h 76200"/>
                <a:gd name="connsiteX7" fmla="*/ 57150 w 138113"/>
                <a:gd name="connsiteY7" fmla="*/ 64294 h 76200"/>
                <a:gd name="connsiteX8" fmla="*/ 85725 w 138113"/>
                <a:gd name="connsiteY8" fmla="*/ 54769 h 76200"/>
                <a:gd name="connsiteX9" fmla="*/ 90488 w 138113"/>
                <a:gd name="connsiteY9" fmla="*/ 47625 h 76200"/>
                <a:gd name="connsiteX10" fmla="*/ 138113 w 138113"/>
                <a:gd name="connsiteY10" fmla="*/ 52388 h 76200"/>
                <a:gd name="connsiteX11" fmla="*/ 138113 w 138113"/>
                <a:gd name="connsiteY11" fmla="*/ 1190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113" h="76200">
                  <a:moveTo>
                    <a:pt x="138113" y="11907"/>
                  </a:moveTo>
                  <a:lnTo>
                    <a:pt x="66675" y="9525"/>
                  </a:lnTo>
                  <a:lnTo>
                    <a:pt x="45244" y="0"/>
                  </a:lnTo>
                  <a:lnTo>
                    <a:pt x="7144" y="33338"/>
                  </a:lnTo>
                  <a:lnTo>
                    <a:pt x="0" y="50007"/>
                  </a:lnTo>
                  <a:lnTo>
                    <a:pt x="19050" y="64294"/>
                  </a:lnTo>
                  <a:lnTo>
                    <a:pt x="38100" y="76200"/>
                  </a:lnTo>
                  <a:lnTo>
                    <a:pt x="57150" y="64294"/>
                  </a:lnTo>
                  <a:lnTo>
                    <a:pt x="85725" y="54769"/>
                  </a:lnTo>
                  <a:lnTo>
                    <a:pt x="90488" y="47625"/>
                  </a:lnTo>
                  <a:lnTo>
                    <a:pt x="138113" y="52388"/>
                  </a:lnTo>
                  <a:lnTo>
                    <a:pt x="138113" y="1190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88" name="Freeform: Shape 195"/>
            <p:cNvSpPr/>
            <p:nvPr/>
          </p:nvSpPr>
          <p:spPr bwMode="auto">
            <a:xfrm>
              <a:off x="4512469" y="3302794"/>
              <a:ext cx="200025" cy="97631"/>
            </a:xfrm>
            <a:custGeom>
              <a:avLst/>
              <a:gdLst>
                <a:gd name="connsiteX0" fmla="*/ 0 w 188119"/>
                <a:gd name="connsiteY0" fmla="*/ 85725 h 97631"/>
                <a:gd name="connsiteX1" fmla="*/ 83344 w 188119"/>
                <a:gd name="connsiteY1" fmla="*/ 88106 h 97631"/>
                <a:gd name="connsiteX2" fmla="*/ 114300 w 188119"/>
                <a:gd name="connsiteY2" fmla="*/ 97631 h 97631"/>
                <a:gd name="connsiteX3" fmla="*/ 154781 w 188119"/>
                <a:gd name="connsiteY3" fmla="*/ 88106 h 97631"/>
                <a:gd name="connsiteX4" fmla="*/ 164306 w 188119"/>
                <a:gd name="connsiteY4" fmla="*/ 69056 h 97631"/>
                <a:gd name="connsiteX5" fmla="*/ 188119 w 188119"/>
                <a:gd name="connsiteY5" fmla="*/ 40481 h 97631"/>
                <a:gd name="connsiteX6" fmla="*/ 169069 w 188119"/>
                <a:gd name="connsiteY6" fmla="*/ 30956 h 97631"/>
                <a:gd name="connsiteX7" fmla="*/ 173831 w 188119"/>
                <a:gd name="connsiteY7" fmla="*/ 14287 h 97631"/>
                <a:gd name="connsiteX8" fmla="*/ 126206 w 188119"/>
                <a:gd name="connsiteY8" fmla="*/ 0 h 97631"/>
                <a:gd name="connsiteX9" fmla="*/ 119063 w 188119"/>
                <a:gd name="connsiteY9" fmla="*/ 11906 h 97631"/>
                <a:gd name="connsiteX10" fmla="*/ 92869 w 188119"/>
                <a:gd name="connsiteY10" fmla="*/ 9525 h 97631"/>
                <a:gd name="connsiteX11" fmla="*/ 78581 w 188119"/>
                <a:gd name="connsiteY11" fmla="*/ 35719 h 97631"/>
                <a:gd name="connsiteX12" fmla="*/ 78581 w 188119"/>
                <a:gd name="connsiteY12" fmla="*/ 59531 h 97631"/>
                <a:gd name="connsiteX13" fmla="*/ 57150 w 188119"/>
                <a:gd name="connsiteY13" fmla="*/ 50006 h 97631"/>
                <a:gd name="connsiteX14" fmla="*/ 0 w 188119"/>
                <a:gd name="connsiteY14" fmla="*/ 85725 h 97631"/>
                <a:gd name="connsiteX0" fmla="*/ 0 w 188119"/>
                <a:gd name="connsiteY0" fmla="*/ 85725 h 97631"/>
                <a:gd name="connsiteX1" fmla="*/ 83344 w 188119"/>
                <a:gd name="connsiteY1" fmla="*/ 88106 h 97631"/>
                <a:gd name="connsiteX2" fmla="*/ 114300 w 188119"/>
                <a:gd name="connsiteY2" fmla="*/ 97631 h 97631"/>
                <a:gd name="connsiteX3" fmla="*/ 154781 w 188119"/>
                <a:gd name="connsiteY3" fmla="*/ 88106 h 97631"/>
                <a:gd name="connsiteX4" fmla="*/ 164306 w 188119"/>
                <a:gd name="connsiteY4" fmla="*/ 69056 h 97631"/>
                <a:gd name="connsiteX5" fmla="*/ 188119 w 188119"/>
                <a:gd name="connsiteY5" fmla="*/ 40481 h 97631"/>
                <a:gd name="connsiteX6" fmla="*/ 169069 w 188119"/>
                <a:gd name="connsiteY6" fmla="*/ 30956 h 97631"/>
                <a:gd name="connsiteX7" fmla="*/ 173831 w 188119"/>
                <a:gd name="connsiteY7" fmla="*/ 14287 h 97631"/>
                <a:gd name="connsiteX8" fmla="*/ 126206 w 188119"/>
                <a:gd name="connsiteY8" fmla="*/ 0 h 97631"/>
                <a:gd name="connsiteX9" fmla="*/ 119063 w 188119"/>
                <a:gd name="connsiteY9" fmla="*/ 11906 h 97631"/>
                <a:gd name="connsiteX10" fmla="*/ 92869 w 188119"/>
                <a:gd name="connsiteY10" fmla="*/ 9525 h 97631"/>
                <a:gd name="connsiteX11" fmla="*/ 78581 w 188119"/>
                <a:gd name="connsiteY11" fmla="*/ 35719 h 97631"/>
                <a:gd name="connsiteX12" fmla="*/ 78581 w 188119"/>
                <a:gd name="connsiteY12" fmla="*/ 59531 h 97631"/>
                <a:gd name="connsiteX13" fmla="*/ 57150 w 188119"/>
                <a:gd name="connsiteY13" fmla="*/ 50006 h 97631"/>
                <a:gd name="connsiteX14" fmla="*/ 26194 w 188119"/>
                <a:gd name="connsiteY14" fmla="*/ 69056 h 97631"/>
                <a:gd name="connsiteX15" fmla="*/ 0 w 188119"/>
                <a:gd name="connsiteY15" fmla="*/ 85725 h 97631"/>
                <a:gd name="connsiteX0" fmla="*/ 11906 w 200025"/>
                <a:gd name="connsiteY0" fmla="*/ 85725 h 97631"/>
                <a:gd name="connsiteX1" fmla="*/ 95250 w 200025"/>
                <a:gd name="connsiteY1" fmla="*/ 88106 h 97631"/>
                <a:gd name="connsiteX2" fmla="*/ 126206 w 200025"/>
                <a:gd name="connsiteY2" fmla="*/ 97631 h 97631"/>
                <a:gd name="connsiteX3" fmla="*/ 166687 w 200025"/>
                <a:gd name="connsiteY3" fmla="*/ 88106 h 97631"/>
                <a:gd name="connsiteX4" fmla="*/ 176212 w 200025"/>
                <a:gd name="connsiteY4" fmla="*/ 69056 h 97631"/>
                <a:gd name="connsiteX5" fmla="*/ 200025 w 200025"/>
                <a:gd name="connsiteY5" fmla="*/ 40481 h 97631"/>
                <a:gd name="connsiteX6" fmla="*/ 180975 w 200025"/>
                <a:gd name="connsiteY6" fmla="*/ 30956 h 97631"/>
                <a:gd name="connsiteX7" fmla="*/ 185737 w 200025"/>
                <a:gd name="connsiteY7" fmla="*/ 14287 h 97631"/>
                <a:gd name="connsiteX8" fmla="*/ 138112 w 200025"/>
                <a:gd name="connsiteY8" fmla="*/ 0 h 97631"/>
                <a:gd name="connsiteX9" fmla="*/ 130969 w 200025"/>
                <a:gd name="connsiteY9" fmla="*/ 11906 h 97631"/>
                <a:gd name="connsiteX10" fmla="*/ 104775 w 200025"/>
                <a:gd name="connsiteY10" fmla="*/ 9525 h 97631"/>
                <a:gd name="connsiteX11" fmla="*/ 90487 w 200025"/>
                <a:gd name="connsiteY11" fmla="*/ 35719 h 97631"/>
                <a:gd name="connsiteX12" fmla="*/ 90487 w 200025"/>
                <a:gd name="connsiteY12" fmla="*/ 59531 h 97631"/>
                <a:gd name="connsiteX13" fmla="*/ 69056 w 200025"/>
                <a:gd name="connsiteY13" fmla="*/ 50006 h 97631"/>
                <a:gd name="connsiteX14" fmla="*/ 0 w 200025"/>
                <a:gd name="connsiteY14" fmla="*/ 61912 h 97631"/>
                <a:gd name="connsiteX15" fmla="*/ 11906 w 200025"/>
                <a:gd name="connsiteY15" fmla="*/ 85725 h 9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0025" h="97631">
                  <a:moveTo>
                    <a:pt x="11906" y="85725"/>
                  </a:moveTo>
                  <a:lnTo>
                    <a:pt x="95250" y="88106"/>
                  </a:lnTo>
                  <a:lnTo>
                    <a:pt x="126206" y="97631"/>
                  </a:lnTo>
                  <a:lnTo>
                    <a:pt x="166687" y="88106"/>
                  </a:lnTo>
                  <a:lnTo>
                    <a:pt x="176212" y="69056"/>
                  </a:lnTo>
                  <a:lnTo>
                    <a:pt x="200025" y="40481"/>
                  </a:lnTo>
                  <a:lnTo>
                    <a:pt x="180975" y="30956"/>
                  </a:lnTo>
                  <a:lnTo>
                    <a:pt x="185737" y="14287"/>
                  </a:lnTo>
                  <a:lnTo>
                    <a:pt x="138112" y="0"/>
                  </a:lnTo>
                  <a:lnTo>
                    <a:pt x="130969" y="11906"/>
                  </a:lnTo>
                  <a:lnTo>
                    <a:pt x="104775" y="9525"/>
                  </a:lnTo>
                  <a:lnTo>
                    <a:pt x="90487" y="35719"/>
                  </a:lnTo>
                  <a:lnTo>
                    <a:pt x="90487" y="59531"/>
                  </a:lnTo>
                  <a:lnTo>
                    <a:pt x="69056" y="50006"/>
                  </a:lnTo>
                  <a:lnTo>
                    <a:pt x="0" y="61912"/>
                  </a:lnTo>
                  <a:lnTo>
                    <a:pt x="11906" y="8572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9" name="Freeform: Shape 196"/>
            <p:cNvSpPr/>
            <p:nvPr/>
          </p:nvSpPr>
          <p:spPr bwMode="auto">
            <a:xfrm>
              <a:off x="4686300" y="3324225"/>
              <a:ext cx="154781" cy="102394"/>
            </a:xfrm>
            <a:custGeom>
              <a:avLst/>
              <a:gdLst>
                <a:gd name="connsiteX0" fmla="*/ 107156 w 154781"/>
                <a:gd name="connsiteY0" fmla="*/ 80963 h 102394"/>
                <a:gd name="connsiteX1" fmla="*/ 154781 w 154781"/>
                <a:gd name="connsiteY1" fmla="*/ 21431 h 102394"/>
                <a:gd name="connsiteX2" fmla="*/ 145256 w 154781"/>
                <a:gd name="connsiteY2" fmla="*/ 4763 h 102394"/>
                <a:gd name="connsiteX3" fmla="*/ 107156 w 154781"/>
                <a:gd name="connsiteY3" fmla="*/ 0 h 102394"/>
                <a:gd name="connsiteX4" fmla="*/ 100013 w 154781"/>
                <a:gd name="connsiteY4" fmla="*/ 11906 h 102394"/>
                <a:gd name="connsiteX5" fmla="*/ 50006 w 154781"/>
                <a:gd name="connsiteY5" fmla="*/ 26194 h 102394"/>
                <a:gd name="connsiteX6" fmla="*/ 21431 w 154781"/>
                <a:gd name="connsiteY6" fmla="*/ 16669 h 102394"/>
                <a:gd name="connsiteX7" fmla="*/ 0 w 154781"/>
                <a:gd name="connsiteY7" fmla="*/ 64294 h 102394"/>
                <a:gd name="connsiteX8" fmla="*/ 28575 w 154781"/>
                <a:gd name="connsiteY8" fmla="*/ 90488 h 102394"/>
                <a:gd name="connsiteX9" fmla="*/ 50006 w 154781"/>
                <a:gd name="connsiteY9" fmla="*/ 102394 h 102394"/>
                <a:gd name="connsiteX10" fmla="*/ 107156 w 154781"/>
                <a:gd name="connsiteY10" fmla="*/ 80963 h 10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781" h="102394">
                  <a:moveTo>
                    <a:pt x="107156" y="80963"/>
                  </a:moveTo>
                  <a:lnTo>
                    <a:pt x="154781" y="21431"/>
                  </a:lnTo>
                  <a:lnTo>
                    <a:pt x="145256" y="4763"/>
                  </a:lnTo>
                  <a:lnTo>
                    <a:pt x="107156" y="0"/>
                  </a:lnTo>
                  <a:lnTo>
                    <a:pt x="100013" y="11906"/>
                  </a:lnTo>
                  <a:lnTo>
                    <a:pt x="50006" y="26194"/>
                  </a:lnTo>
                  <a:lnTo>
                    <a:pt x="21431" y="16669"/>
                  </a:lnTo>
                  <a:lnTo>
                    <a:pt x="0" y="64294"/>
                  </a:lnTo>
                  <a:lnTo>
                    <a:pt x="28575" y="90488"/>
                  </a:lnTo>
                  <a:lnTo>
                    <a:pt x="50006" y="102394"/>
                  </a:lnTo>
                  <a:lnTo>
                    <a:pt x="107156" y="8096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0" name="Freeform: Shape 197"/>
            <p:cNvSpPr/>
            <p:nvPr/>
          </p:nvSpPr>
          <p:spPr bwMode="auto">
            <a:xfrm>
              <a:off x="4814888" y="3483769"/>
              <a:ext cx="161925" cy="97631"/>
            </a:xfrm>
            <a:custGeom>
              <a:avLst/>
              <a:gdLst>
                <a:gd name="connsiteX0" fmla="*/ 135731 w 142875"/>
                <a:gd name="connsiteY0" fmla="*/ 73819 h 97631"/>
                <a:gd name="connsiteX1" fmla="*/ 142875 w 142875"/>
                <a:gd name="connsiteY1" fmla="*/ 14287 h 97631"/>
                <a:gd name="connsiteX2" fmla="*/ 119062 w 142875"/>
                <a:gd name="connsiteY2" fmla="*/ 0 h 97631"/>
                <a:gd name="connsiteX3" fmla="*/ 57150 w 142875"/>
                <a:gd name="connsiteY3" fmla="*/ 14287 h 97631"/>
                <a:gd name="connsiteX4" fmla="*/ 26193 w 142875"/>
                <a:gd name="connsiteY4" fmla="*/ 11906 h 97631"/>
                <a:gd name="connsiteX5" fmla="*/ 11906 w 142875"/>
                <a:gd name="connsiteY5" fmla="*/ 11906 h 97631"/>
                <a:gd name="connsiteX6" fmla="*/ 4762 w 142875"/>
                <a:gd name="connsiteY6" fmla="*/ 2381 h 97631"/>
                <a:gd name="connsiteX7" fmla="*/ 4762 w 142875"/>
                <a:gd name="connsiteY7" fmla="*/ 16669 h 97631"/>
                <a:gd name="connsiteX8" fmla="*/ 14287 w 142875"/>
                <a:gd name="connsiteY8" fmla="*/ 30956 h 97631"/>
                <a:gd name="connsiteX9" fmla="*/ 0 w 142875"/>
                <a:gd name="connsiteY9" fmla="*/ 50006 h 97631"/>
                <a:gd name="connsiteX10" fmla="*/ 9525 w 142875"/>
                <a:gd name="connsiteY10" fmla="*/ 76200 h 97631"/>
                <a:gd name="connsiteX11" fmla="*/ 19050 w 142875"/>
                <a:gd name="connsiteY11" fmla="*/ 97631 h 97631"/>
                <a:gd name="connsiteX12" fmla="*/ 54768 w 142875"/>
                <a:gd name="connsiteY12" fmla="*/ 90487 h 97631"/>
                <a:gd name="connsiteX13" fmla="*/ 80962 w 142875"/>
                <a:gd name="connsiteY13" fmla="*/ 92869 h 97631"/>
                <a:gd name="connsiteX14" fmla="*/ 135731 w 142875"/>
                <a:gd name="connsiteY14" fmla="*/ 73819 h 97631"/>
                <a:gd name="connsiteX0" fmla="*/ 154781 w 161925"/>
                <a:gd name="connsiteY0" fmla="*/ 73819 h 97631"/>
                <a:gd name="connsiteX1" fmla="*/ 161925 w 161925"/>
                <a:gd name="connsiteY1" fmla="*/ 14287 h 97631"/>
                <a:gd name="connsiteX2" fmla="*/ 138112 w 161925"/>
                <a:gd name="connsiteY2" fmla="*/ 0 h 97631"/>
                <a:gd name="connsiteX3" fmla="*/ 76200 w 161925"/>
                <a:gd name="connsiteY3" fmla="*/ 14287 h 97631"/>
                <a:gd name="connsiteX4" fmla="*/ 45243 w 161925"/>
                <a:gd name="connsiteY4" fmla="*/ 11906 h 97631"/>
                <a:gd name="connsiteX5" fmla="*/ 30956 w 161925"/>
                <a:gd name="connsiteY5" fmla="*/ 11906 h 97631"/>
                <a:gd name="connsiteX6" fmla="*/ 23812 w 161925"/>
                <a:gd name="connsiteY6" fmla="*/ 2381 h 97631"/>
                <a:gd name="connsiteX7" fmla="*/ 23812 w 161925"/>
                <a:gd name="connsiteY7" fmla="*/ 16669 h 97631"/>
                <a:gd name="connsiteX8" fmla="*/ 33337 w 161925"/>
                <a:gd name="connsiteY8" fmla="*/ 30956 h 97631"/>
                <a:gd name="connsiteX9" fmla="*/ 0 w 161925"/>
                <a:gd name="connsiteY9" fmla="*/ 54769 h 97631"/>
                <a:gd name="connsiteX10" fmla="*/ 28575 w 161925"/>
                <a:gd name="connsiteY10" fmla="*/ 76200 h 97631"/>
                <a:gd name="connsiteX11" fmla="*/ 38100 w 161925"/>
                <a:gd name="connsiteY11" fmla="*/ 97631 h 97631"/>
                <a:gd name="connsiteX12" fmla="*/ 73818 w 161925"/>
                <a:gd name="connsiteY12" fmla="*/ 90487 h 97631"/>
                <a:gd name="connsiteX13" fmla="*/ 100012 w 161925"/>
                <a:gd name="connsiteY13" fmla="*/ 92869 h 97631"/>
                <a:gd name="connsiteX14" fmla="*/ 154781 w 161925"/>
                <a:gd name="connsiteY14" fmla="*/ 73819 h 97631"/>
                <a:gd name="connsiteX0" fmla="*/ 154781 w 161925"/>
                <a:gd name="connsiteY0" fmla="*/ 73819 h 97631"/>
                <a:gd name="connsiteX1" fmla="*/ 161925 w 161925"/>
                <a:gd name="connsiteY1" fmla="*/ 14287 h 97631"/>
                <a:gd name="connsiteX2" fmla="*/ 138112 w 161925"/>
                <a:gd name="connsiteY2" fmla="*/ 0 h 97631"/>
                <a:gd name="connsiteX3" fmla="*/ 76200 w 161925"/>
                <a:gd name="connsiteY3" fmla="*/ 14287 h 97631"/>
                <a:gd name="connsiteX4" fmla="*/ 45243 w 161925"/>
                <a:gd name="connsiteY4" fmla="*/ 11906 h 97631"/>
                <a:gd name="connsiteX5" fmla="*/ 30956 w 161925"/>
                <a:gd name="connsiteY5" fmla="*/ 11906 h 97631"/>
                <a:gd name="connsiteX6" fmla="*/ 23812 w 161925"/>
                <a:gd name="connsiteY6" fmla="*/ 2381 h 97631"/>
                <a:gd name="connsiteX7" fmla="*/ 23812 w 161925"/>
                <a:gd name="connsiteY7" fmla="*/ 16669 h 97631"/>
                <a:gd name="connsiteX8" fmla="*/ 33337 w 161925"/>
                <a:gd name="connsiteY8" fmla="*/ 30956 h 97631"/>
                <a:gd name="connsiteX9" fmla="*/ 0 w 161925"/>
                <a:gd name="connsiteY9" fmla="*/ 54769 h 97631"/>
                <a:gd name="connsiteX10" fmla="*/ 23813 w 161925"/>
                <a:gd name="connsiteY10" fmla="*/ 80963 h 97631"/>
                <a:gd name="connsiteX11" fmla="*/ 38100 w 161925"/>
                <a:gd name="connsiteY11" fmla="*/ 97631 h 97631"/>
                <a:gd name="connsiteX12" fmla="*/ 73818 w 161925"/>
                <a:gd name="connsiteY12" fmla="*/ 90487 h 97631"/>
                <a:gd name="connsiteX13" fmla="*/ 100012 w 161925"/>
                <a:gd name="connsiteY13" fmla="*/ 92869 h 97631"/>
                <a:gd name="connsiteX14" fmla="*/ 154781 w 161925"/>
                <a:gd name="connsiteY14" fmla="*/ 73819 h 9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925" h="97631">
                  <a:moveTo>
                    <a:pt x="154781" y="73819"/>
                  </a:moveTo>
                  <a:lnTo>
                    <a:pt x="161925" y="14287"/>
                  </a:lnTo>
                  <a:lnTo>
                    <a:pt x="138112" y="0"/>
                  </a:lnTo>
                  <a:lnTo>
                    <a:pt x="76200" y="14287"/>
                  </a:lnTo>
                  <a:lnTo>
                    <a:pt x="45243" y="11906"/>
                  </a:lnTo>
                  <a:lnTo>
                    <a:pt x="30956" y="11906"/>
                  </a:lnTo>
                  <a:lnTo>
                    <a:pt x="23812" y="2381"/>
                  </a:lnTo>
                  <a:lnTo>
                    <a:pt x="23812" y="16669"/>
                  </a:lnTo>
                  <a:lnTo>
                    <a:pt x="33337" y="30956"/>
                  </a:lnTo>
                  <a:lnTo>
                    <a:pt x="0" y="54769"/>
                  </a:lnTo>
                  <a:lnTo>
                    <a:pt x="23813" y="80963"/>
                  </a:lnTo>
                  <a:lnTo>
                    <a:pt x="38100" y="97631"/>
                  </a:lnTo>
                  <a:lnTo>
                    <a:pt x="73818" y="90487"/>
                  </a:lnTo>
                  <a:lnTo>
                    <a:pt x="100012" y="92869"/>
                  </a:lnTo>
                  <a:lnTo>
                    <a:pt x="154781" y="7381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1" name="Freeform: Shape 198"/>
            <p:cNvSpPr/>
            <p:nvPr/>
          </p:nvSpPr>
          <p:spPr bwMode="auto">
            <a:xfrm>
              <a:off x="4605338" y="3388519"/>
              <a:ext cx="80962" cy="61912"/>
            </a:xfrm>
            <a:custGeom>
              <a:avLst/>
              <a:gdLst>
                <a:gd name="connsiteX0" fmla="*/ 80962 w 80962"/>
                <a:gd name="connsiteY0" fmla="*/ 0 h 61912"/>
                <a:gd name="connsiteX1" fmla="*/ 26193 w 80962"/>
                <a:gd name="connsiteY1" fmla="*/ 11906 h 61912"/>
                <a:gd name="connsiteX2" fmla="*/ 0 w 80962"/>
                <a:gd name="connsiteY2" fmla="*/ 2381 h 61912"/>
                <a:gd name="connsiteX3" fmla="*/ 2381 w 80962"/>
                <a:gd name="connsiteY3" fmla="*/ 47625 h 61912"/>
                <a:gd name="connsiteX4" fmla="*/ 26193 w 80962"/>
                <a:gd name="connsiteY4" fmla="*/ 61912 h 61912"/>
                <a:gd name="connsiteX5" fmla="*/ 80962 w 80962"/>
                <a:gd name="connsiteY5" fmla="*/ 0 h 6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962" h="61912">
                  <a:moveTo>
                    <a:pt x="80962" y="0"/>
                  </a:moveTo>
                  <a:lnTo>
                    <a:pt x="26193" y="11906"/>
                  </a:lnTo>
                  <a:lnTo>
                    <a:pt x="0" y="2381"/>
                  </a:lnTo>
                  <a:lnTo>
                    <a:pt x="2381" y="47625"/>
                  </a:lnTo>
                  <a:lnTo>
                    <a:pt x="26193" y="61912"/>
                  </a:lnTo>
                  <a:lnTo>
                    <a:pt x="80962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2" name="Freeform: Shape 199"/>
            <p:cNvSpPr/>
            <p:nvPr/>
          </p:nvSpPr>
          <p:spPr bwMode="auto">
            <a:xfrm>
              <a:off x="4633913" y="3388519"/>
              <a:ext cx="121443" cy="140494"/>
            </a:xfrm>
            <a:custGeom>
              <a:avLst/>
              <a:gdLst>
                <a:gd name="connsiteX0" fmla="*/ 52387 w 121443"/>
                <a:gd name="connsiteY0" fmla="*/ 0 h 140494"/>
                <a:gd name="connsiteX1" fmla="*/ 0 w 121443"/>
                <a:gd name="connsiteY1" fmla="*/ 59531 h 140494"/>
                <a:gd name="connsiteX2" fmla="*/ 38100 w 121443"/>
                <a:gd name="connsiteY2" fmla="*/ 100012 h 140494"/>
                <a:gd name="connsiteX3" fmla="*/ 85725 w 121443"/>
                <a:gd name="connsiteY3" fmla="*/ 140494 h 140494"/>
                <a:gd name="connsiteX4" fmla="*/ 42862 w 121443"/>
                <a:gd name="connsiteY4" fmla="*/ 66675 h 140494"/>
                <a:gd name="connsiteX5" fmla="*/ 61912 w 121443"/>
                <a:gd name="connsiteY5" fmla="*/ 57150 h 140494"/>
                <a:gd name="connsiteX6" fmla="*/ 121443 w 121443"/>
                <a:gd name="connsiteY6" fmla="*/ 64294 h 140494"/>
                <a:gd name="connsiteX7" fmla="*/ 121443 w 121443"/>
                <a:gd name="connsiteY7" fmla="*/ 30956 h 140494"/>
                <a:gd name="connsiteX8" fmla="*/ 100012 w 121443"/>
                <a:gd name="connsiteY8" fmla="*/ 42862 h 140494"/>
                <a:gd name="connsiteX9" fmla="*/ 52387 w 121443"/>
                <a:gd name="connsiteY9" fmla="*/ 0 h 140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443" h="140494">
                  <a:moveTo>
                    <a:pt x="52387" y="0"/>
                  </a:moveTo>
                  <a:lnTo>
                    <a:pt x="0" y="59531"/>
                  </a:lnTo>
                  <a:lnTo>
                    <a:pt x="38100" y="100012"/>
                  </a:lnTo>
                  <a:lnTo>
                    <a:pt x="85725" y="140494"/>
                  </a:lnTo>
                  <a:lnTo>
                    <a:pt x="42862" y="66675"/>
                  </a:lnTo>
                  <a:lnTo>
                    <a:pt x="61912" y="57150"/>
                  </a:lnTo>
                  <a:lnTo>
                    <a:pt x="121443" y="64294"/>
                  </a:lnTo>
                  <a:lnTo>
                    <a:pt x="121443" y="30956"/>
                  </a:lnTo>
                  <a:lnTo>
                    <a:pt x="100012" y="42862"/>
                  </a:lnTo>
                  <a:lnTo>
                    <a:pt x="52387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3" name="Freeform: Shape 200"/>
            <p:cNvSpPr/>
            <p:nvPr/>
          </p:nvSpPr>
          <p:spPr bwMode="auto">
            <a:xfrm>
              <a:off x="4758488" y="3498294"/>
              <a:ext cx="60007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  <a:gd name="connsiteX0" fmla="*/ 0 w 81262"/>
                <a:gd name="connsiteY0" fmla="*/ 18953 h 90488"/>
                <a:gd name="connsiteX1" fmla="*/ 36018 w 81262"/>
                <a:gd name="connsiteY1" fmla="*/ 90488 h 90488"/>
                <a:gd name="connsiteX2" fmla="*/ 81262 w 81262"/>
                <a:gd name="connsiteY2" fmla="*/ 78582 h 90488"/>
                <a:gd name="connsiteX3" fmla="*/ 52687 w 81262"/>
                <a:gd name="connsiteY3" fmla="*/ 0 h 90488"/>
                <a:gd name="connsiteX4" fmla="*/ 0 w 81262"/>
                <a:gd name="connsiteY4" fmla="*/ 18953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262" h="90488">
                  <a:moveTo>
                    <a:pt x="0" y="18953"/>
                  </a:moveTo>
                  <a:lnTo>
                    <a:pt x="36018" y="90488"/>
                  </a:lnTo>
                  <a:lnTo>
                    <a:pt x="81262" y="78582"/>
                  </a:lnTo>
                  <a:lnTo>
                    <a:pt x="52687" y="0"/>
                  </a:lnTo>
                  <a:lnTo>
                    <a:pt x="0" y="1895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4" name="Freeform: Shape 201"/>
            <p:cNvSpPr/>
            <p:nvPr/>
          </p:nvSpPr>
          <p:spPr bwMode="auto">
            <a:xfrm>
              <a:off x="4736993" y="3507344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5" name="Freeform: Shape 202"/>
            <p:cNvSpPr/>
            <p:nvPr/>
          </p:nvSpPr>
          <p:spPr bwMode="auto">
            <a:xfrm>
              <a:off x="4679156" y="3445669"/>
              <a:ext cx="78582" cy="85725"/>
            </a:xfrm>
            <a:custGeom>
              <a:avLst/>
              <a:gdLst>
                <a:gd name="connsiteX0" fmla="*/ 76200 w 78582"/>
                <a:gd name="connsiteY0" fmla="*/ 7144 h 85725"/>
                <a:gd name="connsiteX1" fmla="*/ 19050 w 78582"/>
                <a:gd name="connsiteY1" fmla="*/ 0 h 85725"/>
                <a:gd name="connsiteX2" fmla="*/ 2382 w 78582"/>
                <a:gd name="connsiteY2" fmla="*/ 0 h 85725"/>
                <a:gd name="connsiteX3" fmla="*/ 0 w 78582"/>
                <a:gd name="connsiteY3" fmla="*/ 11906 h 85725"/>
                <a:gd name="connsiteX4" fmla="*/ 45244 w 78582"/>
                <a:gd name="connsiteY4" fmla="*/ 85725 h 85725"/>
                <a:gd name="connsiteX5" fmla="*/ 54769 w 78582"/>
                <a:gd name="connsiteY5" fmla="*/ 83344 h 85725"/>
                <a:gd name="connsiteX6" fmla="*/ 78582 w 78582"/>
                <a:gd name="connsiteY6" fmla="*/ 59531 h 85725"/>
                <a:gd name="connsiteX7" fmla="*/ 76200 w 78582"/>
                <a:gd name="connsiteY7" fmla="*/ 7144 h 85725"/>
                <a:gd name="connsiteX0" fmla="*/ 76200 w 78582"/>
                <a:gd name="connsiteY0" fmla="*/ 7144 h 85725"/>
                <a:gd name="connsiteX1" fmla="*/ 19050 w 78582"/>
                <a:gd name="connsiteY1" fmla="*/ 0 h 85725"/>
                <a:gd name="connsiteX2" fmla="*/ 11907 w 78582"/>
                <a:gd name="connsiteY2" fmla="*/ 4762 h 85725"/>
                <a:gd name="connsiteX3" fmla="*/ 0 w 78582"/>
                <a:gd name="connsiteY3" fmla="*/ 11906 h 85725"/>
                <a:gd name="connsiteX4" fmla="*/ 45244 w 78582"/>
                <a:gd name="connsiteY4" fmla="*/ 85725 h 85725"/>
                <a:gd name="connsiteX5" fmla="*/ 54769 w 78582"/>
                <a:gd name="connsiteY5" fmla="*/ 83344 h 85725"/>
                <a:gd name="connsiteX6" fmla="*/ 78582 w 78582"/>
                <a:gd name="connsiteY6" fmla="*/ 59531 h 85725"/>
                <a:gd name="connsiteX7" fmla="*/ 76200 w 78582"/>
                <a:gd name="connsiteY7" fmla="*/ 7144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82" h="85725">
                  <a:moveTo>
                    <a:pt x="76200" y="7144"/>
                  </a:moveTo>
                  <a:lnTo>
                    <a:pt x="19050" y="0"/>
                  </a:lnTo>
                  <a:lnTo>
                    <a:pt x="11907" y="4762"/>
                  </a:lnTo>
                  <a:lnTo>
                    <a:pt x="0" y="11906"/>
                  </a:lnTo>
                  <a:lnTo>
                    <a:pt x="45244" y="85725"/>
                  </a:lnTo>
                  <a:lnTo>
                    <a:pt x="54769" y="83344"/>
                  </a:lnTo>
                  <a:lnTo>
                    <a:pt x="78582" y="59531"/>
                  </a:lnTo>
                  <a:lnTo>
                    <a:pt x="76200" y="714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6" name="Freeform: Shape 203"/>
            <p:cNvSpPr/>
            <p:nvPr/>
          </p:nvSpPr>
          <p:spPr bwMode="auto">
            <a:xfrm>
              <a:off x="4755356" y="3400425"/>
              <a:ext cx="104775" cy="138113"/>
            </a:xfrm>
            <a:custGeom>
              <a:avLst/>
              <a:gdLst>
                <a:gd name="connsiteX0" fmla="*/ 0 w 104775"/>
                <a:gd name="connsiteY0" fmla="*/ 0 h 123825"/>
                <a:gd name="connsiteX1" fmla="*/ 4763 w 104775"/>
                <a:gd name="connsiteY1" fmla="*/ 95250 h 123825"/>
                <a:gd name="connsiteX2" fmla="*/ 35719 w 104775"/>
                <a:gd name="connsiteY2" fmla="*/ 83343 h 123825"/>
                <a:gd name="connsiteX3" fmla="*/ 66675 w 104775"/>
                <a:gd name="connsiteY3" fmla="*/ 123825 h 123825"/>
                <a:gd name="connsiteX4" fmla="*/ 92869 w 104775"/>
                <a:gd name="connsiteY4" fmla="*/ 102393 h 123825"/>
                <a:gd name="connsiteX5" fmla="*/ 85725 w 104775"/>
                <a:gd name="connsiteY5" fmla="*/ 69056 h 123825"/>
                <a:gd name="connsiteX6" fmla="*/ 104775 w 104775"/>
                <a:gd name="connsiteY6" fmla="*/ 76200 h 123825"/>
                <a:gd name="connsiteX7" fmla="*/ 90488 w 104775"/>
                <a:gd name="connsiteY7" fmla="*/ 50006 h 123825"/>
                <a:gd name="connsiteX8" fmla="*/ 64294 w 104775"/>
                <a:gd name="connsiteY8" fmla="*/ 45243 h 123825"/>
                <a:gd name="connsiteX9" fmla="*/ 0 w 104775"/>
                <a:gd name="connsiteY9" fmla="*/ 0 h 123825"/>
                <a:gd name="connsiteX0" fmla="*/ 0 w 104775"/>
                <a:gd name="connsiteY0" fmla="*/ 0 h 123825"/>
                <a:gd name="connsiteX1" fmla="*/ 4763 w 104775"/>
                <a:gd name="connsiteY1" fmla="*/ 95250 h 123825"/>
                <a:gd name="connsiteX2" fmla="*/ 35719 w 104775"/>
                <a:gd name="connsiteY2" fmla="*/ 83343 h 123825"/>
                <a:gd name="connsiteX3" fmla="*/ 66675 w 104775"/>
                <a:gd name="connsiteY3" fmla="*/ 123825 h 123825"/>
                <a:gd name="connsiteX4" fmla="*/ 92869 w 104775"/>
                <a:gd name="connsiteY4" fmla="*/ 102393 h 123825"/>
                <a:gd name="connsiteX5" fmla="*/ 85725 w 104775"/>
                <a:gd name="connsiteY5" fmla="*/ 69056 h 123825"/>
                <a:gd name="connsiteX6" fmla="*/ 104775 w 104775"/>
                <a:gd name="connsiteY6" fmla="*/ 76200 h 123825"/>
                <a:gd name="connsiteX7" fmla="*/ 90488 w 104775"/>
                <a:gd name="connsiteY7" fmla="*/ 50006 h 123825"/>
                <a:gd name="connsiteX8" fmla="*/ 64294 w 104775"/>
                <a:gd name="connsiteY8" fmla="*/ 45243 h 123825"/>
                <a:gd name="connsiteX9" fmla="*/ 40482 w 104775"/>
                <a:gd name="connsiteY9" fmla="*/ 33337 h 123825"/>
                <a:gd name="connsiteX10" fmla="*/ 0 w 104775"/>
                <a:gd name="connsiteY10" fmla="*/ 0 h 123825"/>
                <a:gd name="connsiteX0" fmla="*/ 0 w 104775"/>
                <a:gd name="connsiteY0" fmla="*/ 14288 h 138113"/>
                <a:gd name="connsiteX1" fmla="*/ 4763 w 104775"/>
                <a:gd name="connsiteY1" fmla="*/ 109538 h 138113"/>
                <a:gd name="connsiteX2" fmla="*/ 35719 w 104775"/>
                <a:gd name="connsiteY2" fmla="*/ 97631 h 138113"/>
                <a:gd name="connsiteX3" fmla="*/ 66675 w 104775"/>
                <a:gd name="connsiteY3" fmla="*/ 138113 h 138113"/>
                <a:gd name="connsiteX4" fmla="*/ 92869 w 104775"/>
                <a:gd name="connsiteY4" fmla="*/ 116681 h 138113"/>
                <a:gd name="connsiteX5" fmla="*/ 85725 w 104775"/>
                <a:gd name="connsiteY5" fmla="*/ 83344 h 138113"/>
                <a:gd name="connsiteX6" fmla="*/ 104775 w 104775"/>
                <a:gd name="connsiteY6" fmla="*/ 90488 h 138113"/>
                <a:gd name="connsiteX7" fmla="*/ 90488 w 104775"/>
                <a:gd name="connsiteY7" fmla="*/ 64294 h 138113"/>
                <a:gd name="connsiteX8" fmla="*/ 64294 w 104775"/>
                <a:gd name="connsiteY8" fmla="*/ 59531 h 138113"/>
                <a:gd name="connsiteX9" fmla="*/ 47626 w 104775"/>
                <a:gd name="connsiteY9" fmla="*/ 0 h 138113"/>
                <a:gd name="connsiteX10" fmla="*/ 0 w 104775"/>
                <a:gd name="connsiteY10" fmla="*/ 14288 h 138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38113">
                  <a:moveTo>
                    <a:pt x="0" y="14288"/>
                  </a:moveTo>
                  <a:lnTo>
                    <a:pt x="4763" y="109538"/>
                  </a:lnTo>
                  <a:lnTo>
                    <a:pt x="35719" y="97631"/>
                  </a:lnTo>
                  <a:lnTo>
                    <a:pt x="66675" y="138113"/>
                  </a:lnTo>
                  <a:lnTo>
                    <a:pt x="92869" y="116681"/>
                  </a:lnTo>
                  <a:lnTo>
                    <a:pt x="85725" y="83344"/>
                  </a:lnTo>
                  <a:lnTo>
                    <a:pt x="104775" y="90488"/>
                  </a:lnTo>
                  <a:lnTo>
                    <a:pt x="90488" y="64294"/>
                  </a:lnTo>
                  <a:lnTo>
                    <a:pt x="64294" y="59531"/>
                  </a:lnTo>
                  <a:lnTo>
                    <a:pt x="47626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7" name="Freeform: Shape 204"/>
            <p:cNvSpPr/>
            <p:nvPr/>
          </p:nvSpPr>
          <p:spPr bwMode="auto">
            <a:xfrm>
              <a:off x="4752975" y="3552825"/>
              <a:ext cx="45244" cy="78581"/>
            </a:xfrm>
            <a:custGeom>
              <a:avLst/>
              <a:gdLst>
                <a:gd name="connsiteX0" fmla="*/ 0 w 45244"/>
                <a:gd name="connsiteY0" fmla="*/ 0 h 78581"/>
                <a:gd name="connsiteX1" fmla="*/ 14288 w 45244"/>
                <a:gd name="connsiteY1" fmla="*/ 78581 h 78581"/>
                <a:gd name="connsiteX2" fmla="*/ 45244 w 45244"/>
                <a:gd name="connsiteY2" fmla="*/ 50006 h 78581"/>
                <a:gd name="connsiteX3" fmla="*/ 0 w 45244"/>
                <a:gd name="connsiteY3" fmla="*/ 0 h 78581"/>
                <a:gd name="connsiteX0" fmla="*/ 0 w 45244"/>
                <a:gd name="connsiteY0" fmla="*/ 0 h 78581"/>
                <a:gd name="connsiteX1" fmla="*/ 14288 w 45244"/>
                <a:gd name="connsiteY1" fmla="*/ 78581 h 78581"/>
                <a:gd name="connsiteX2" fmla="*/ 45244 w 45244"/>
                <a:gd name="connsiteY2" fmla="*/ 50006 h 78581"/>
                <a:gd name="connsiteX3" fmla="*/ 26194 w 45244"/>
                <a:gd name="connsiteY3" fmla="*/ 38100 h 78581"/>
                <a:gd name="connsiteX4" fmla="*/ 0 w 45244"/>
                <a:gd name="connsiteY4" fmla="*/ 0 h 78581"/>
                <a:gd name="connsiteX0" fmla="*/ 0 w 45244"/>
                <a:gd name="connsiteY0" fmla="*/ 0 h 78581"/>
                <a:gd name="connsiteX1" fmla="*/ 14288 w 45244"/>
                <a:gd name="connsiteY1" fmla="*/ 78581 h 78581"/>
                <a:gd name="connsiteX2" fmla="*/ 45244 w 45244"/>
                <a:gd name="connsiteY2" fmla="*/ 50006 h 78581"/>
                <a:gd name="connsiteX3" fmla="*/ 33338 w 45244"/>
                <a:gd name="connsiteY3" fmla="*/ 2381 h 78581"/>
                <a:gd name="connsiteX4" fmla="*/ 0 w 45244"/>
                <a:gd name="connsiteY4" fmla="*/ 0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44" h="78581">
                  <a:moveTo>
                    <a:pt x="0" y="0"/>
                  </a:moveTo>
                  <a:lnTo>
                    <a:pt x="14288" y="78581"/>
                  </a:lnTo>
                  <a:lnTo>
                    <a:pt x="45244" y="50006"/>
                  </a:lnTo>
                  <a:lnTo>
                    <a:pt x="33338" y="23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8" name="Freeform: Shape 205"/>
            <p:cNvSpPr/>
            <p:nvPr/>
          </p:nvSpPr>
          <p:spPr bwMode="auto">
            <a:xfrm>
              <a:off x="4779169" y="3536156"/>
              <a:ext cx="66675" cy="61913"/>
            </a:xfrm>
            <a:custGeom>
              <a:avLst/>
              <a:gdLst>
                <a:gd name="connsiteX0" fmla="*/ 66675 w 66675"/>
                <a:gd name="connsiteY0" fmla="*/ 38100 h 61913"/>
                <a:gd name="connsiteX1" fmla="*/ 30956 w 66675"/>
                <a:gd name="connsiteY1" fmla="*/ 0 h 61913"/>
                <a:gd name="connsiteX2" fmla="*/ 0 w 66675"/>
                <a:gd name="connsiteY2" fmla="*/ 16669 h 61913"/>
                <a:gd name="connsiteX3" fmla="*/ 19050 w 66675"/>
                <a:gd name="connsiteY3" fmla="*/ 61913 h 61913"/>
                <a:gd name="connsiteX4" fmla="*/ 66675 w 66675"/>
                <a:gd name="connsiteY4" fmla="*/ 3810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" h="61913">
                  <a:moveTo>
                    <a:pt x="66675" y="38100"/>
                  </a:moveTo>
                  <a:lnTo>
                    <a:pt x="30956" y="0"/>
                  </a:lnTo>
                  <a:lnTo>
                    <a:pt x="0" y="16669"/>
                  </a:lnTo>
                  <a:lnTo>
                    <a:pt x="19050" y="61913"/>
                  </a:lnTo>
                  <a:lnTo>
                    <a:pt x="66675" y="3810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9" name="Freeform: Shape 206"/>
            <p:cNvSpPr/>
            <p:nvPr/>
          </p:nvSpPr>
          <p:spPr bwMode="auto">
            <a:xfrm>
              <a:off x="4764881" y="3571875"/>
              <a:ext cx="171450" cy="161925"/>
            </a:xfrm>
            <a:custGeom>
              <a:avLst/>
              <a:gdLst>
                <a:gd name="connsiteX0" fmla="*/ 0 w 171450"/>
                <a:gd name="connsiteY0" fmla="*/ 54769 h 161925"/>
                <a:gd name="connsiteX1" fmla="*/ 47625 w 171450"/>
                <a:gd name="connsiteY1" fmla="*/ 109538 h 161925"/>
                <a:gd name="connsiteX2" fmla="*/ 61913 w 171450"/>
                <a:gd name="connsiteY2" fmla="*/ 95250 h 161925"/>
                <a:gd name="connsiteX3" fmla="*/ 78582 w 171450"/>
                <a:gd name="connsiteY3" fmla="*/ 111919 h 161925"/>
                <a:gd name="connsiteX4" fmla="*/ 47625 w 171450"/>
                <a:gd name="connsiteY4" fmla="*/ 121444 h 161925"/>
                <a:gd name="connsiteX5" fmla="*/ 69057 w 171450"/>
                <a:gd name="connsiteY5" fmla="*/ 161925 h 161925"/>
                <a:gd name="connsiteX6" fmla="*/ 83344 w 171450"/>
                <a:gd name="connsiteY6" fmla="*/ 133350 h 161925"/>
                <a:gd name="connsiteX7" fmla="*/ 123825 w 171450"/>
                <a:gd name="connsiteY7" fmla="*/ 107156 h 161925"/>
                <a:gd name="connsiteX8" fmla="*/ 80963 w 171450"/>
                <a:gd name="connsiteY8" fmla="*/ 78581 h 161925"/>
                <a:gd name="connsiteX9" fmla="*/ 73819 w 171450"/>
                <a:gd name="connsiteY9" fmla="*/ 50006 h 161925"/>
                <a:gd name="connsiteX10" fmla="*/ 73819 w 171450"/>
                <a:gd name="connsiteY10" fmla="*/ 50006 h 161925"/>
                <a:gd name="connsiteX11" fmla="*/ 100013 w 171450"/>
                <a:gd name="connsiteY11" fmla="*/ 40481 h 161925"/>
                <a:gd name="connsiteX12" fmla="*/ 102394 w 171450"/>
                <a:gd name="connsiteY12" fmla="*/ 30956 h 161925"/>
                <a:gd name="connsiteX13" fmla="*/ 121444 w 171450"/>
                <a:gd name="connsiteY13" fmla="*/ 21431 h 161925"/>
                <a:gd name="connsiteX14" fmla="*/ 142875 w 171450"/>
                <a:gd name="connsiteY14" fmla="*/ 19050 h 161925"/>
                <a:gd name="connsiteX15" fmla="*/ 164307 w 171450"/>
                <a:gd name="connsiteY15" fmla="*/ 30956 h 161925"/>
                <a:gd name="connsiteX16" fmla="*/ 171450 w 171450"/>
                <a:gd name="connsiteY16" fmla="*/ 0 h 161925"/>
                <a:gd name="connsiteX17" fmla="*/ 150019 w 171450"/>
                <a:gd name="connsiteY17" fmla="*/ 4763 h 161925"/>
                <a:gd name="connsiteX18" fmla="*/ 116682 w 171450"/>
                <a:gd name="connsiteY18" fmla="*/ 4763 h 161925"/>
                <a:gd name="connsiteX19" fmla="*/ 85725 w 171450"/>
                <a:gd name="connsiteY19" fmla="*/ 9525 h 161925"/>
                <a:gd name="connsiteX20" fmla="*/ 76200 w 171450"/>
                <a:gd name="connsiteY20" fmla="*/ 2381 h 161925"/>
                <a:gd name="connsiteX21" fmla="*/ 0 w 171450"/>
                <a:gd name="connsiteY21" fmla="*/ 5476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61925">
                  <a:moveTo>
                    <a:pt x="0" y="54769"/>
                  </a:moveTo>
                  <a:lnTo>
                    <a:pt x="47625" y="109538"/>
                  </a:lnTo>
                  <a:lnTo>
                    <a:pt x="61913" y="95250"/>
                  </a:lnTo>
                  <a:lnTo>
                    <a:pt x="78582" y="111919"/>
                  </a:lnTo>
                  <a:lnTo>
                    <a:pt x="47625" y="121444"/>
                  </a:lnTo>
                  <a:lnTo>
                    <a:pt x="69057" y="161925"/>
                  </a:lnTo>
                  <a:lnTo>
                    <a:pt x="83344" y="133350"/>
                  </a:lnTo>
                  <a:lnTo>
                    <a:pt x="123825" y="107156"/>
                  </a:lnTo>
                  <a:lnTo>
                    <a:pt x="80963" y="78581"/>
                  </a:lnTo>
                  <a:lnTo>
                    <a:pt x="73819" y="50006"/>
                  </a:lnTo>
                  <a:lnTo>
                    <a:pt x="73819" y="50006"/>
                  </a:lnTo>
                  <a:lnTo>
                    <a:pt x="100013" y="40481"/>
                  </a:lnTo>
                  <a:lnTo>
                    <a:pt x="102394" y="30956"/>
                  </a:lnTo>
                  <a:lnTo>
                    <a:pt x="121444" y="21431"/>
                  </a:lnTo>
                  <a:lnTo>
                    <a:pt x="142875" y="19050"/>
                  </a:lnTo>
                  <a:lnTo>
                    <a:pt x="164307" y="30956"/>
                  </a:lnTo>
                  <a:lnTo>
                    <a:pt x="171450" y="0"/>
                  </a:lnTo>
                  <a:lnTo>
                    <a:pt x="150019" y="4763"/>
                  </a:lnTo>
                  <a:lnTo>
                    <a:pt x="116682" y="4763"/>
                  </a:lnTo>
                  <a:lnTo>
                    <a:pt x="85725" y="9525"/>
                  </a:lnTo>
                  <a:lnTo>
                    <a:pt x="76200" y="2381"/>
                  </a:lnTo>
                  <a:lnTo>
                    <a:pt x="0" y="5476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0" name="Freeform: Shape 207"/>
            <p:cNvSpPr/>
            <p:nvPr/>
          </p:nvSpPr>
          <p:spPr bwMode="auto">
            <a:xfrm>
              <a:off x="4929316" y="3552825"/>
              <a:ext cx="466597" cy="195263"/>
            </a:xfrm>
            <a:custGeom>
              <a:avLst/>
              <a:gdLst>
                <a:gd name="connsiteX0" fmla="*/ 64294 w 461963"/>
                <a:gd name="connsiteY0" fmla="*/ 42863 h 195263"/>
                <a:gd name="connsiteX1" fmla="*/ 0 w 461963"/>
                <a:gd name="connsiteY1" fmla="*/ 64294 h 195263"/>
                <a:gd name="connsiteX2" fmla="*/ 0 w 461963"/>
                <a:gd name="connsiteY2" fmla="*/ 64294 h 195263"/>
                <a:gd name="connsiteX3" fmla="*/ 11906 w 461963"/>
                <a:gd name="connsiteY3" fmla="*/ 102394 h 195263"/>
                <a:gd name="connsiteX4" fmla="*/ 11906 w 461963"/>
                <a:gd name="connsiteY4" fmla="*/ 133350 h 195263"/>
                <a:gd name="connsiteX5" fmla="*/ 30956 w 461963"/>
                <a:gd name="connsiteY5" fmla="*/ 161925 h 195263"/>
                <a:gd name="connsiteX6" fmla="*/ 90488 w 461963"/>
                <a:gd name="connsiteY6" fmla="*/ 195263 h 195263"/>
                <a:gd name="connsiteX7" fmla="*/ 111919 w 461963"/>
                <a:gd name="connsiteY7" fmla="*/ 173831 h 195263"/>
                <a:gd name="connsiteX8" fmla="*/ 152400 w 461963"/>
                <a:gd name="connsiteY8" fmla="*/ 192881 h 195263"/>
                <a:gd name="connsiteX9" fmla="*/ 195263 w 461963"/>
                <a:gd name="connsiteY9" fmla="*/ 180975 h 195263"/>
                <a:gd name="connsiteX10" fmla="*/ 219075 w 461963"/>
                <a:gd name="connsiteY10" fmla="*/ 171450 h 195263"/>
                <a:gd name="connsiteX11" fmla="*/ 233363 w 461963"/>
                <a:gd name="connsiteY11" fmla="*/ 185738 h 195263"/>
                <a:gd name="connsiteX12" fmla="*/ 252413 w 461963"/>
                <a:gd name="connsiteY12" fmla="*/ 176213 h 195263"/>
                <a:gd name="connsiteX13" fmla="*/ 250031 w 461963"/>
                <a:gd name="connsiteY13" fmla="*/ 161925 h 195263"/>
                <a:gd name="connsiteX14" fmla="*/ 269081 w 461963"/>
                <a:gd name="connsiteY14" fmla="*/ 171450 h 195263"/>
                <a:gd name="connsiteX15" fmla="*/ 290513 w 461963"/>
                <a:gd name="connsiteY15" fmla="*/ 161925 h 195263"/>
                <a:gd name="connsiteX16" fmla="*/ 319088 w 461963"/>
                <a:gd name="connsiteY16" fmla="*/ 173831 h 195263"/>
                <a:gd name="connsiteX17" fmla="*/ 388144 w 461963"/>
                <a:gd name="connsiteY17" fmla="*/ 142875 h 195263"/>
                <a:gd name="connsiteX18" fmla="*/ 400050 w 461963"/>
                <a:gd name="connsiteY18" fmla="*/ 152400 h 195263"/>
                <a:gd name="connsiteX19" fmla="*/ 438150 w 461963"/>
                <a:gd name="connsiteY19" fmla="*/ 154781 h 195263"/>
                <a:gd name="connsiteX20" fmla="*/ 461963 w 461963"/>
                <a:gd name="connsiteY20" fmla="*/ 152400 h 195263"/>
                <a:gd name="connsiteX21" fmla="*/ 450056 w 461963"/>
                <a:gd name="connsiteY21" fmla="*/ 133350 h 195263"/>
                <a:gd name="connsiteX22" fmla="*/ 447675 w 461963"/>
                <a:gd name="connsiteY22" fmla="*/ 71438 h 195263"/>
                <a:gd name="connsiteX23" fmla="*/ 423863 w 461963"/>
                <a:gd name="connsiteY23" fmla="*/ 61913 h 195263"/>
                <a:gd name="connsiteX24" fmla="*/ 409575 w 461963"/>
                <a:gd name="connsiteY24" fmla="*/ 33338 h 195263"/>
                <a:gd name="connsiteX25" fmla="*/ 385763 w 461963"/>
                <a:gd name="connsiteY25" fmla="*/ 16669 h 195263"/>
                <a:gd name="connsiteX26" fmla="*/ 366713 w 461963"/>
                <a:gd name="connsiteY26" fmla="*/ 16669 h 195263"/>
                <a:gd name="connsiteX27" fmla="*/ 335756 w 461963"/>
                <a:gd name="connsiteY27" fmla="*/ 35719 h 195263"/>
                <a:gd name="connsiteX28" fmla="*/ 302419 w 461963"/>
                <a:gd name="connsiteY28" fmla="*/ 33338 h 195263"/>
                <a:gd name="connsiteX29" fmla="*/ 250031 w 461963"/>
                <a:gd name="connsiteY29" fmla="*/ 33338 h 195263"/>
                <a:gd name="connsiteX30" fmla="*/ 223838 w 461963"/>
                <a:gd name="connsiteY30" fmla="*/ 23813 h 195263"/>
                <a:gd name="connsiteX31" fmla="*/ 197644 w 461963"/>
                <a:gd name="connsiteY31" fmla="*/ 0 h 195263"/>
                <a:gd name="connsiteX32" fmla="*/ 164306 w 461963"/>
                <a:gd name="connsiteY32" fmla="*/ 4763 h 195263"/>
                <a:gd name="connsiteX33" fmla="*/ 126206 w 461963"/>
                <a:gd name="connsiteY33" fmla="*/ 21431 h 195263"/>
                <a:gd name="connsiteX34" fmla="*/ 64294 w 461963"/>
                <a:gd name="connsiteY34" fmla="*/ 42863 h 195263"/>
                <a:gd name="connsiteX0" fmla="*/ 45244 w 461963"/>
                <a:gd name="connsiteY0" fmla="*/ 50006 h 195263"/>
                <a:gd name="connsiteX1" fmla="*/ 0 w 461963"/>
                <a:gd name="connsiteY1" fmla="*/ 64294 h 195263"/>
                <a:gd name="connsiteX2" fmla="*/ 0 w 461963"/>
                <a:gd name="connsiteY2" fmla="*/ 64294 h 195263"/>
                <a:gd name="connsiteX3" fmla="*/ 11906 w 461963"/>
                <a:gd name="connsiteY3" fmla="*/ 102394 h 195263"/>
                <a:gd name="connsiteX4" fmla="*/ 11906 w 461963"/>
                <a:gd name="connsiteY4" fmla="*/ 133350 h 195263"/>
                <a:gd name="connsiteX5" fmla="*/ 30956 w 461963"/>
                <a:gd name="connsiteY5" fmla="*/ 161925 h 195263"/>
                <a:gd name="connsiteX6" fmla="*/ 90488 w 461963"/>
                <a:gd name="connsiteY6" fmla="*/ 195263 h 195263"/>
                <a:gd name="connsiteX7" fmla="*/ 111919 w 461963"/>
                <a:gd name="connsiteY7" fmla="*/ 173831 h 195263"/>
                <a:gd name="connsiteX8" fmla="*/ 152400 w 461963"/>
                <a:gd name="connsiteY8" fmla="*/ 192881 h 195263"/>
                <a:gd name="connsiteX9" fmla="*/ 195263 w 461963"/>
                <a:gd name="connsiteY9" fmla="*/ 180975 h 195263"/>
                <a:gd name="connsiteX10" fmla="*/ 219075 w 461963"/>
                <a:gd name="connsiteY10" fmla="*/ 171450 h 195263"/>
                <a:gd name="connsiteX11" fmla="*/ 233363 w 461963"/>
                <a:gd name="connsiteY11" fmla="*/ 185738 h 195263"/>
                <a:gd name="connsiteX12" fmla="*/ 252413 w 461963"/>
                <a:gd name="connsiteY12" fmla="*/ 176213 h 195263"/>
                <a:gd name="connsiteX13" fmla="*/ 250031 w 461963"/>
                <a:gd name="connsiteY13" fmla="*/ 161925 h 195263"/>
                <a:gd name="connsiteX14" fmla="*/ 269081 w 461963"/>
                <a:gd name="connsiteY14" fmla="*/ 171450 h 195263"/>
                <a:gd name="connsiteX15" fmla="*/ 290513 w 461963"/>
                <a:gd name="connsiteY15" fmla="*/ 161925 h 195263"/>
                <a:gd name="connsiteX16" fmla="*/ 319088 w 461963"/>
                <a:gd name="connsiteY16" fmla="*/ 173831 h 195263"/>
                <a:gd name="connsiteX17" fmla="*/ 388144 w 461963"/>
                <a:gd name="connsiteY17" fmla="*/ 142875 h 195263"/>
                <a:gd name="connsiteX18" fmla="*/ 400050 w 461963"/>
                <a:gd name="connsiteY18" fmla="*/ 152400 h 195263"/>
                <a:gd name="connsiteX19" fmla="*/ 438150 w 461963"/>
                <a:gd name="connsiteY19" fmla="*/ 154781 h 195263"/>
                <a:gd name="connsiteX20" fmla="*/ 461963 w 461963"/>
                <a:gd name="connsiteY20" fmla="*/ 152400 h 195263"/>
                <a:gd name="connsiteX21" fmla="*/ 450056 w 461963"/>
                <a:gd name="connsiteY21" fmla="*/ 133350 h 195263"/>
                <a:gd name="connsiteX22" fmla="*/ 447675 w 461963"/>
                <a:gd name="connsiteY22" fmla="*/ 71438 h 195263"/>
                <a:gd name="connsiteX23" fmla="*/ 423863 w 461963"/>
                <a:gd name="connsiteY23" fmla="*/ 61913 h 195263"/>
                <a:gd name="connsiteX24" fmla="*/ 409575 w 461963"/>
                <a:gd name="connsiteY24" fmla="*/ 33338 h 195263"/>
                <a:gd name="connsiteX25" fmla="*/ 385763 w 461963"/>
                <a:gd name="connsiteY25" fmla="*/ 16669 h 195263"/>
                <a:gd name="connsiteX26" fmla="*/ 366713 w 461963"/>
                <a:gd name="connsiteY26" fmla="*/ 16669 h 195263"/>
                <a:gd name="connsiteX27" fmla="*/ 335756 w 461963"/>
                <a:gd name="connsiteY27" fmla="*/ 35719 h 195263"/>
                <a:gd name="connsiteX28" fmla="*/ 302419 w 461963"/>
                <a:gd name="connsiteY28" fmla="*/ 33338 h 195263"/>
                <a:gd name="connsiteX29" fmla="*/ 250031 w 461963"/>
                <a:gd name="connsiteY29" fmla="*/ 33338 h 195263"/>
                <a:gd name="connsiteX30" fmla="*/ 223838 w 461963"/>
                <a:gd name="connsiteY30" fmla="*/ 23813 h 195263"/>
                <a:gd name="connsiteX31" fmla="*/ 197644 w 461963"/>
                <a:gd name="connsiteY31" fmla="*/ 0 h 195263"/>
                <a:gd name="connsiteX32" fmla="*/ 164306 w 461963"/>
                <a:gd name="connsiteY32" fmla="*/ 4763 h 195263"/>
                <a:gd name="connsiteX33" fmla="*/ 126206 w 461963"/>
                <a:gd name="connsiteY33" fmla="*/ 21431 h 195263"/>
                <a:gd name="connsiteX34" fmla="*/ 45244 w 461963"/>
                <a:gd name="connsiteY34" fmla="*/ 50006 h 195263"/>
                <a:gd name="connsiteX0" fmla="*/ 45244 w 461963"/>
                <a:gd name="connsiteY0" fmla="*/ 50006 h 195263"/>
                <a:gd name="connsiteX1" fmla="*/ 0 w 461963"/>
                <a:gd name="connsiteY1" fmla="*/ 64294 h 195263"/>
                <a:gd name="connsiteX2" fmla="*/ 0 w 461963"/>
                <a:gd name="connsiteY2" fmla="*/ 64294 h 195263"/>
                <a:gd name="connsiteX3" fmla="*/ 11906 w 461963"/>
                <a:gd name="connsiteY3" fmla="*/ 102394 h 195263"/>
                <a:gd name="connsiteX4" fmla="*/ 11906 w 461963"/>
                <a:gd name="connsiteY4" fmla="*/ 133350 h 195263"/>
                <a:gd name="connsiteX5" fmla="*/ 30956 w 461963"/>
                <a:gd name="connsiteY5" fmla="*/ 161925 h 195263"/>
                <a:gd name="connsiteX6" fmla="*/ 90488 w 461963"/>
                <a:gd name="connsiteY6" fmla="*/ 195263 h 195263"/>
                <a:gd name="connsiteX7" fmla="*/ 111919 w 461963"/>
                <a:gd name="connsiteY7" fmla="*/ 173831 h 195263"/>
                <a:gd name="connsiteX8" fmla="*/ 152400 w 461963"/>
                <a:gd name="connsiteY8" fmla="*/ 192881 h 195263"/>
                <a:gd name="connsiteX9" fmla="*/ 195263 w 461963"/>
                <a:gd name="connsiteY9" fmla="*/ 180975 h 195263"/>
                <a:gd name="connsiteX10" fmla="*/ 219075 w 461963"/>
                <a:gd name="connsiteY10" fmla="*/ 171450 h 195263"/>
                <a:gd name="connsiteX11" fmla="*/ 233363 w 461963"/>
                <a:gd name="connsiteY11" fmla="*/ 185738 h 195263"/>
                <a:gd name="connsiteX12" fmla="*/ 252413 w 461963"/>
                <a:gd name="connsiteY12" fmla="*/ 176213 h 195263"/>
                <a:gd name="connsiteX13" fmla="*/ 250031 w 461963"/>
                <a:gd name="connsiteY13" fmla="*/ 161925 h 195263"/>
                <a:gd name="connsiteX14" fmla="*/ 269081 w 461963"/>
                <a:gd name="connsiteY14" fmla="*/ 171450 h 195263"/>
                <a:gd name="connsiteX15" fmla="*/ 290513 w 461963"/>
                <a:gd name="connsiteY15" fmla="*/ 161925 h 195263"/>
                <a:gd name="connsiteX16" fmla="*/ 319088 w 461963"/>
                <a:gd name="connsiteY16" fmla="*/ 173831 h 195263"/>
                <a:gd name="connsiteX17" fmla="*/ 388144 w 461963"/>
                <a:gd name="connsiteY17" fmla="*/ 142875 h 195263"/>
                <a:gd name="connsiteX18" fmla="*/ 400050 w 461963"/>
                <a:gd name="connsiteY18" fmla="*/ 152400 h 195263"/>
                <a:gd name="connsiteX19" fmla="*/ 438150 w 461963"/>
                <a:gd name="connsiteY19" fmla="*/ 154781 h 195263"/>
                <a:gd name="connsiteX20" fmla="*/ 461963 w 461963"/>
                <a:gd name="connsiteY20" fmla="*/ 152400 h 195263"/>
                <a:gd name="connsiteX21" fmla="*/ 450056 w 461963"/>
                <a:gd name="connsiteY21" fmla="*/ 133350 h 195263"/>
                <a:gd name="connsiteX22" fmla="*/ 447675 w 461963"/>
                <a:gd name="connsiteY22" fmla="*/ 71438 h 195263"/>
                <a:gd name="connsiteX23" fmla="*/ 423863 w 461963"/>
                <a:gd name="connsiteY23" fmla="*/ 61913 h 195263"/>
                <a:gd name="connsiteX24" fmla="*/ 409575 w 461963"/>
                <a:gd name="connsiteY24" fmla="*/ 33338 h 195263"/>
                <a:gd name="connsiteX25" fmla="*/ 385763 w 461963"/>
                <a:gd name="connsiteY25" fmla="*/ 16669 h 195263"/>
                <a:gd name="connsiteX26" fmla="*/ 366713 w 461963"/>
                <a:gd name="connsiteY26" fmla="*/ 16669 h 195263"/>
                <a:gd name="connsiteX27" fmla="*/ 335756 w 461963"/>
                <a:gd name="connsiteY27" fmla="*/ 35719 h 195263"/>
                <a:gd name="connsiteX28" fmla="*/ 302419 w 461963"/>
                <a:gd name="connsiteY28" fmla="*/ 33338 h 195263"/>
                <a:gd name="connsiteX29" fmla="*/ 250031 w 461963"/>
                <a:gd name="connsiteY29" fmla="*/ 33338 h 195263"/>
                <a:gd name="connsiteX30" fmla="*/ 223838 w 461963"/>
                <a:gd name="connsiteY30" fmla="*/ 23813 h 195263"/>
                <a:gd name="connsiteX31" fmla="*/ 197644 w 461963"/>
                <a:gd name="connsiteY31" fmla="*/ 0 h 195263"/>
                <a:gd name="connsiteX32" fmla="*/ 164306 w 461963"/>
                <a:gd name="connsiteY32" fmla="*/ 4763 h 195263"/>
                <a:gd name="connsiteX33" fmla="*/ 126206 w 461963"/>
                <a:gd name="connsiteY33" fmla="*/ 21431 h 195263"/>
                <a:gd name="connsiteX34" fmla="*/ 78581 w 461963"/>
                <a:gd name="connsiteY34" fmla="*/ 38100 h 195263"/>
                <a:gd name="connsiteX35" fmla="*/ 45244 w 461963"/>
                <a:gd name="connsiteY35" fmla="*/ 50006 h 195263"/>
                <a:gd name="connsiteX0" fmla="*/ 45244 w 461963"/>
                <a:gd name="connsiteY0" fmla="*/ 50006 h 195263"/>
                <a:gd name="connsiteX1" fmla="*/ 0 w 461963"/>
                <a:gd name="connsiteY1" fmla="*/ 64294 h 195263"/>
                <a:gd name="connsiteX2" fmla="*/ 0 w 461963"/>
                <a:gd name="connsiteY2" fmla="*/ 64294 h 195263"/>
                <a:gd name="connsiteX3" fmla="*/ 11906 w 461963"/>
                <a:gd name="connsiteY3" fmla="*/ 102394 h 195263"/>
                <a:gd name="connsiteX4" fmla="*/ 11906 w 461963"/>
                <a:gd name="connsiteY4" fmla="*/ 133350 h 195263"/>
                <a:gd name="connsiteX5" fmla="*/ 30956 w 461963"/>
                <a:gd name="connsiteY5" fmla="*/ 161925 h 195263"/>
                <a:gd name="connsiteX6" fmla="*/ 90488 w 461963"/>
                <a:gd name="connsiteY6" fmla="*/ 195263 h 195263"/>
                <a:gd name="connsiteX7" fmla="*/ 111919 w 461963"/>
                <a:gd name="connsiteY7" fmla="*/ 173831 h 195263"/>
                <a:gd name="connsiteX8" fmla="*/ 152400 w 461963"/>
                <a:gd name="connsiteY8" fmla="*/ 192881 h 195263"/>
                <a:gd name="connsiteX9" fmla="*/ 195263 w 461963"/>
                <a:gd name="connsiteY9" fmla="*/ 180975 h 195263"/>
                <a:gd name="connsiteX10" fmla="*/ 219075 w 461963"/>
                <a:gd name="connsiteY10" fmla="*/ 171450 h 195263"/>
                <a:gd name="connsiteX11" fmla="*/ 233363 w 461963"/>
                <a:gd name="connsiteY11" fmla="*/ 185738 h 195263"/>
                <a:gd name="connsiteX12" fmla="*/ 252413 w 461963"/>
                <a:gd name="connsiteY12" fmla="*/ 176213 h 195263"/>
                <a:gd name="connsiteX13" fmla="*/ 250031 w 461963"/>
                <a:gd name="connsiteY13" fmla="*/ 161925 h 195263"/>
                <a:gd name="connsiteX14" fmla="*/ 269081 w 461963"/>
                <a:gd name="connsiteY14" fmla="*/ 171450 h 195263"/>
                <a:gd name="connsiteX15" fmla="*/ 290513 w 461963"/>
                <a:gd name="connsiteY15" fmla="*/ 161925 h 195263"/>
                <a:gd name="connsiteX16" fmla="*/ 319088 w 461963"/>
                <a:gd name="connsiteY16" fmla="*/ 173831 h 195263"/>
                <a:gd name="connsiteX17" fmla="*/ 388144 w 461963"/>
                <a:gd name="connsiteY17" fmla="*/ 142875 h 195263"/>
                <a:gd name="connsiteX18" fmla="*/ 400050 w 461963"/>
                <a:gd name="connsiteY18" fmla="*/ 152400 h 195263"/>
                <a:gd name="connsiteX19" fmla="*/ 438150 w 461963"/>
                <a:gd name="connsiteY19" fmla="*/ 154781 h 195263"/>
                <a:gd name="connsiteX20" fmla="*/ 461963 w 461963"/>
                <a:gd name="connsiteY20" fmla="*/ 152400 h 195263"/>
                <a:gd name="connsiteX21" fmla="*/ 450056 w 461963"/>
                <a:gd name="connsiteY21" fmla="*/ 133350 h 195263"/>
                <a:gd name="connsiteX22" fmla="*/ 447675 w 461963"/>
                <a:gd name="connsiteY22" fmla="*/ 71438 h 195263"/>
                <a:gd name="connsiteX23" fmla="*/ 423863 w 461963"/>
                <a:gd name="connsiteY23" fmla="*/ 61913 h 195263"/>
                <a:gd name="connsiteX24" fmla="*/ 409575 w 461963"/>
                <a:gd name="connsiteY24" fmla="*/ 33338 h 195263"/>
                <a:gd name="connsiteX25" fmla="*/ 385763 w 461963"/>
                <a:gd name="connsiteY25" fmla="*/ 16669 h 195263"/>
                <a:gd name="connsiteX26" fmla="*/ 366713 w 461963"/>
                <a:gd name="connsiteY26" fmla="*/ 16669 h 195263"/>
                <a:gd name="connsiteX27" fmla="*/ 335756 w 461963"/>
                <a:gd name="connsiteY27" fmla="*/ 35719 h 195263"/>
                <a:gd name="connsiteX28" fmla="*/ 302419 w 461963"/>
                <a:gd name="connsiteY28" fmla="*/ 33338 h 195263"/>
                <a:gd name="connsiteX29" fmla="*/ 250031 w 461963"/>
                <a:gd name="connsiteY29" fmla="*/ 33338 h 195263"/>
                <a:gd name="connsiteX30" fmla="*/ 223838 w 461963"/>
                <a:gd name="connsiteY30" fmla="*/ 23813 h 195263"/>
                <a:gd name="connsiteX31" fmla="*/ 197644 w 461963"/>
                <a:gd name="connsiteY31" fmla="*/ 0 h 195263"/>
                <a:gd name="connsiteX32" fmla="*/ 164306 w 461963"/>
                <a:gd name="connsiteY32" fmla="*/ 4763 h 195263"/>
                <a:gd name="connsiteX33" fmla="*/ 126206 w 461963"/>
                <a:gd name="connsiteY33" fmla="*/ 21431 h 195263"/>
                <a:gd name="connsiteX34" fmla="*/ 69056 w 461963"/>
                <a:gd name="connsiteY34" fmla="*/ 26194 h 195263"/>
                <a:gd name="connsiteX35" fmla="*/ 45244 w 461963"/>
                <a:gd name="connsiteY35" fmla="*/ 50006 h 195263"/>
                <a:gd name="connsiteX0" fmla="*/ 45244 w 461963"/>
                <a:gd name="connsiteY0" fmla="*/ 50006 h 195263"/>
                <a:gd name="connsiteX1" fmla="*/ 0 w 461963"/>
                <a:gd name="connsiteY1" fmla="*/ 64294 h 195263"/>
                <a:gd name="connsiteX2" fmla="*/ 0 w 461963"/>
                <a:gd name="connsiteY2" fmla="*/ 64294 h 195263"/>
                <a:gd name="connsiteX3" fmla="*/ 11906 w 461963"/>
                <a:gd name="connsiteY3" fmla="*/ 102394 h 195263"/>
                <a:gd name="connsiteX4" fmla="*/ 11906 w 461963"/>
                <a:gd name="connsiteY4" fmla="*/ 133350 h 195263"/>
                <a:gd name="connsiteX5" fmla="*/ 30956 w 461963"/>
                <a:gd name="connsiteY5" fmla="*/ 161925 h 195263"/>
                <a:gd name="connsiteX6" fmla="*/ 90488 w 461963"/>
                <a:gd name="connsiteY6" fmla="*/ 195263 h 195263"/>
                <a:gd name="connsiteX7" fmla="*/ 111919 w 461963"/>
                <a:gd name="connsiteY7" fmla="*/ 173831 h 195263"/>
                <a:gd name="connsiteX8" fmla="*/ 152400 w 461963"/>
                <a:gd name="connsiteY8" fmla="*/ 192881 h 195263"/>
                <a:gd name="connsiteX9" fmla="*/ 195263 w 461963"/>
                <a:gd name="connsiteY9" fmla="*/ 180975 h 195263"/>
                <a:gd name="connsiteX10" fmla="*/ 219075 w 461963"/>
                <a:gd name="connsiteY10" fmla="*/ 171450 h 195263"/>
                <a:gd name="connsiteX11" fmla="*/ 233363 w 461963"/>
                <a:gd name="connsiteY11" fmla="*/ 185738 h 195263"/>
                <a:gd name="connsiteX12" fmla="*/ 252413 w 461963"/>
                <a:gd name="connsiteY12" fmla="*/ 176213 h 195263"/>
                <a:gd name="connsiteX13" fmla="*/ 250031 w 461963"/>
                <a:gd name="connsiteY13" fmla="*/ 161925 h 195263"/>
                <a:gd name="connsiteX14" fmla="*/ 269081 w 461963"/>
                <a:gd name="connsiteY14" fmla="*/ 171450 h 195263"/>
                <a:gd name="connsiteX15" fmla="*/ 290513 w 461963"/>
                <a:gd name="connsiteY15" fmla="*/ 161925 h 195263"/>
                <a:gd name="connsiteX16" fmla="*/ 319088 w 461963"/>
                <a:gd name="connsiteY16" fmla="*/ 173831 h 195263"/>
                <a:gd name="connsiteX17" fmla="*/ 388144 w 461963"/>
                <a:gd name="connsiteY17" fmla="*/ 142875 h 195263"/>
                <a:gd name="connsiteX18" fmla="*/ 400050 w 461963"/>
                <a:gd name="connsiteY18" fmla="*/ 152400 h 195263"/>
                <a:gd name="connsiteX19" fmla="*/ 438150 w 461963"/>
                <a:gd name="connsiteY19" fmla="*/ 154781 h 195263"/>
                <a:gd name="connsiteX20" fmla="*/ 461963 w 461963"/>
                <a:gd name="connsiteY20" fmla="*/ 152400 h 195263"/>
                <a:gd name="connsiteX21" fmla="*/ 450056 w 461963"/>
                <a:gd name="connsiteY21" fmla="*/ 133350 h 195263"/>
                <a:gd name="connsiteX22" fmla="*/ 447675 w 461963"/>
                <a:gd name="connsiteY22" fmla="*/ 71438 h 195263"/>
                <a:gd name="connsiteX23" fmla="*/ 423863 w 461963"/>
                <a:gd name="connsiteY23" fmla="*/ 61913 h 195263"/>
                <a:gd name="connsiteX24" fmla="*/ 409575 w 461963"/>
                <a:gd name="connsiteY24" fmla="*/ 33338 h 195263"/>
                <a:gd name="connsiteX25" fmla="*/ 385763 w 461963"/>
                <a:gd name="connsiteY25" fmla="*/ 16669 h 195263"/>
                <a:gd name="connsiteX26" fmla="*/ 366713 w 461963"/>
                <a:gd name="connsiteY26" fmla="*/ 16669 h 195263"/>
                <a:gd name="connsiteX27" fmla="*/ 335756 w 461963"/>
                <a:gd name="connsiteY27" fmla="*/ 35719 h 195263"/>
                <a:gd name="connsiteX28" fmla="*/ 302419 w 461963"/>
                <a:gd name="connsiteY28" fmla="*/ 33338 h 195263"/>
                <a:gd name="connsiteX29" fmla="*/ 250031 w 461963"/>
                <a:gd name="connsiteY29" fmla="*/ 33338 h 195263"/>
                <a:gd name="connsiteX30" fmla="*/ 223838 w 461963"/>
                <a:gd name="connsiteY30" fmla="*/ 23813 h 195263"/>
                <a:gd name="connsiteX31" fmla="*/ 197644 w 461963"/>
                <a:gd name="connsiteY31" fmla="*/ 0 h 195263"/>
                <a:gd name="connsiteX32" fmla="*/ 164306 w 461963"/>
                <a:gd name="connsiteY32" fmla="*/ 4763 h 195263"/>
                <a:gd name="connsiteX33" fmla="*/ 126206 w 461963"/>
                <a:gd name="connsiteY33" fmla="*/ 21431 h 195263"/>
                <a:gd name="connsiteX34" fmla="*/ 33337 w 461963"/>
                <a:gd name="connsiteY34" fmla="*/ 9525 h 195263"/>
                <a:gd name="connsiteX35" fmla="*/ 45244 w 461963"/>
                <a:gd name="connsiteY35" fmla="*/ 50006 h 195263"/>
                <a:gd name="connsiteX0" fmla="*/ 45244 w 461963"/>
                <a:gd name="connsiteY0" fmla="*/ 50006 h 195263"/>
                <a:gd name="connsiteX1" fmla="*/ 40481 w 461963"/>
                <a:gd name="connsiteY1" fmla="*/ 30956 h 195263"/>
                <a:gd name="connsiteX2" fmla="*/ 0 w 461963"/>
                <a:gd name="connsiteY2" fmla="*/ 64294 h 195263"/>
                <a:gd name="connsiteX3" fmla="*/ 0 w 461963"/>
                <a:gd name="connsiteY3" fmla="*/ 64294 h 195263"/>
                <a:gd name="connsiteX4" fmla="*/ 11906 w 461963"/>
                <a:gd name="connsiteY4" fmla="*/ 102394 h 195263"/>
                <a:gd name="connsiteX5" fmla="*/ 11906 w 461963"/>
                <a:gd name="connsiteY5" fmla="*/ 133350 h 195263"/>
                <a:gd name="connsiteX6" fmla="*/ 30956 w 461963"/>
                <a:gd name="connsiteY6" fmla="*/ 161925 h 195263"/>
                <a:gd name="connsiteX7" fmla="*/ 90488 w 461963"/>
                <a:gd name="connsiteY7" fmla="*/ 195263 h 195263"/>
                <a:gd name="connsiteX8" fmla="*/ 111919 w 461963"/>
                <a:gd name="connsiteY8" fmla="*/ 173831 h 195263"/>
                <a:gd name="connsiteX9" fmla="*/ 152400 w 461963"/>
                <a:gd name="connsiteY9" fmla="*/ 192881 h 195263"/>
                <a:gd name="connsiteX10" fmla="*/ 195263 w 461963"/>
                <a:gd name="connsiteY10" fmla="*/ 180975 h 195263"/>
                <a:gd name="connsiteX11" fmla="*/ 219075 w 461963"/>
                <a:gd name="connsiteY11" fmla="*/ 171450 h 195263"/>
                <a:gd name="connsiteX12" fmla="*/ 233363 w 461963"/>
                <a:gd name="connsiteY12" fmla="*/ 185738 h 195263"/>
                <a:gd name="connsiteX13" fmla="*/ 252413 w 461963"/>
                <a:gd name="connsiteY13" fmla="*/ 176213 h 195263"/>
                <a:gd name="connsiteX14" fmla="*/ 250031 w 461963"/>
                <a:gd name="connsiteY14" fmla="*/ 161925 h 195263"/>
                <a:gd name="connsiteX15" fmla="*/ 269081 w 461963"/>
                <a:gd name="connsiteY15" fmla="*/ 171450 h 195263"/>
                <a:gd name="connsiteX16" fmla="*/ 290513 w 461963"/>
                <a:gd name="connsiteY16" fmla="*/ 161925 h 195263"/>
                <a:gd name="connsiteX17" fmla="*/ 319088 w 461963"/>
                <a:gd name="connsiteY17" fmla="*/ 173831 h 195263"/>
                <a:gd name="connsiteX18" fmla="*/ 388144 w 461963"/>
                <a:gd name="connsiteY18" fmla="*/ 142875 h 195263"/>
                <a:gd name="connsiteX19" fmla="*/ 400050 w 461963"/>
                <a:gd name="connsiteY19" fmla="*/ 152400 h 195263"/>
                <a:gd name="connsiteX20" fmla="*/ 438150 w 461963"/>
                <a:gd name="connsiteY20" fmla="*/ 154781 h 195263"/>
                <a:gd name="connsiteX21" fmla="*/ 461963 w 461963"/>
                <a:gd name="connsiteY21" fmla="*/ 152400 h 195263"/>
                <a:gd name="connsiteX22" fmla="*/ 450056 w 461963"/>
                <a:gd name="connsiteY22" fmla="*/ 133350 h 195263"/>
                <a:gd name="connsiteX23" fmla="*/ 447675 w 461963"/>
                <a:gd name="connsiteY23" fmla="*/ 71438 h 195263"/>
                <a:gd name="connsiteX24" fmla="*/ 423863 w 461963"/>
                <a:gd name="connsiteY24" fmla="*/ 61913 h 195263"/>
                <a:gd name="connsiteX25" fmla="*/ 409575 w 461963"/>
                <a:gd name="connsiteY25" fmla="*/ 33338 h 195263"/>
                <a:gd name="connsiteX26" fmla="*/ 385763 w 461963"/>
                <a:gd name="connsiteY26" fmla="*/ 16669 h 195263"/>
                <a:gd name="connsiteX27" fmla="*/ 366713 w 461963"/>
                <a:gd name="connsiteY27" fmla="*/ 16669 h 195263"/>
                <a:gd name="connsiteX28" fmla="*/ 335756 w 461963"/>
                <a:gd name="connsiteY28" fmla="*/ 35719 h 195263"/>
                <a:gd name="connsiteX29" fmla="*/ 302419 w 461963"/>
                <a:gd name="connsiteY29" fmla="*/ 33338 h 195263"/>
                <a:gd name="connsiteX30" fmla="*/ 250031 w 461963"/>
                <a:gd name="connsiteY30" fmla="*/ 33338 h 195263"/>
                <a:gd name="connsiteX31" fmla="*/ 223838 w 461963"/>
                <a:gd name="connsiteY31" fmla="*/ 23813 h 195263"/>
                <a:gd name="connsiteX32" fmla="*/ 197644 w 461963"/>
                <a:gd name="connsiteY32" fmla="*/ 0 h 195263"/>
                <a:gd name="connsiteX33" fmla="*/ 164306 w 461963"/>
                <a:gd name="connsiteY33" fmla="*/ 4763 h 195263"/>
                <a:gd name="connsiteX34" fmla="*/ 126206 w 461963"/>
                <a:gd name="connsiteY34" fmla="*/ 21431 h 195263"/>
                <a:gd name="connsiteX35" fmla="*/ 33337 w 461963"/>
                <a:gd name="connsiteY35" fmla="*/ 9525 h 195263"/>
                <a:gd name="connsiteX36" fmla="*/ 45244 w 461963"/>
                <a:gd name="connsiteY36" fmla="*/ 50006 h 195263"/>
                <a:gd name="connsiteX0" fmla="*/ 45244 w 461963"/>
                <a:gd name="connsiteY0" fmla="*/ 50006 h 195263"/>
                <a:gd name="connsiteX1" fmla="*/ 33338 w 461963"/>
                <a:gd name="connsiteY1" fmla="*/ 57150 h 195263"/>
                <a:gd name="connsiteX2" fmla="*/ 0 w 461963"/>
                <a:gd name="connsiteY2" fmla="*/ 64294 h 195263"/>
                <a:gd name="connsiteX3" fmla="*/ 0 w 461963"/>
                <a:gd name="connsiteY3" fmla="*/ 64294 h 195263"/>
                <a:gd name="connsiteX4" fmla="*/ 11906 w 461963"/>
                <a:gd name="connsiteY4" fmla="*/ 102394 h 195263"/>
                <a:gd name="connsiteX5" fmla="*/ 11906 w 461963"/>
                <a:gd name="connsiteY5" fmla="*/ 133350 h 195263"/>
                <a:gd name="connsiteX6" fmla="*/ 30956 w 461963"/>
                <a:gd name="connsiteY6" fmla="*/ 161925 h 195263"/>
                <a:gd name="connsiteX7" fmla="*/ 90488 w 461963"/>
                <a:gd name="connsiteY7" fmla="*/ 195263 h 195263"/>
                <a:gd name="connsiteX8" fmla="*/ 111919 w 461963"/>
                <a:gd name="connsiteY8" fmla="*/ 173831 h 195263"/>
                <a:gd name="connsiteX9" fmla="*/ 152400 w 461963"/>
                <a:gd name="connsiteY9" fmla="*/ 192881 h 195263"/>
                <a:gd name="connsiteX10" fmla="*/ 195263 w 461963"/>
                <a:gd name="connsiteY10" fmla="*/ 180975 h 195263"/>
                <a:gd name="connsiteX11" fmla="*/ 219075 w 461963"/>
                <a:gd name="connsiteY11" fmla="*/ 171450 h 195263"/>
                <a:gd name="connsiteX12" fmla="*/ 233363 w 461963"/>
                <a:gd name="connsiteY12" fmla="*/ 185738 h 195263"/>
                <a:gd name="connsiteX13" fmla="*/ 252413 w 461963"/>
                <a:gd name="connsiteY13" fmla="*/ 176213 h 195263"/>
                <a:gd name="connsiteX14" fmla="*/ 250031 w 461963"/>
                <a:gd name="connsiteY14" fmla="*/ 161925 h 195263"/>
                <a:gd name="connsiteX15" fmla="*/ 269081 w 461963"/>
                <a:gd name="connsiteY15" fmla="*/ 171450 h 195263"/>
                <a:gd name="connsiteX16" fmla="*/ 290513 w 461963"/>
                <a:gd name="connsiteY16" fmla="*/ 161925 h 195263"/>
                <a:gd name="connsiteX17" fmla="*/ 319088 w 461963"/>
                <a:gd name="connsiteY17" fmla="*/ 173831 h 195263"/>
                <a:gd name="connsiteX18" fmla="*/ 388144 w 461963"/>
                <a:gd name="connsiteY18" fmla="*/ 142875 h 195263"/>
                <a:gd name="connsiteX19" fmla="*/ 400050 w 461963"/>
                <a:gd name="connsiteY19" fmla="*/ 152400 h 195263"/>
                <a:gd name="connsiteX20" fmla="*/ 438150 w 461963"/>
                <a:gd name="connsiteY20" fmla="*/ 154781 h 195263"/>
                <a:gd name="connsiteX21" fmla="*/ 461963 w 461963"/>
                <a:gd name="connsiteY21" fmla="*/ 152400 h 195263"/>
                <a:gd name="connsiteX22" fmla="*/ 450056 w 461963"/>
                <a:gd name="connsiteY22" fmla="*/ 133350 h 195263"/>
                <a:gd name="connsiteX23" fmla="*/ 447675 w 461963"/>
                <a:gd name="connsiteY23" fmla="*/ 71438 h 195263"/>
                <a:gd name="connsiteX24" fmla="*/ 423863 w 461963"/>
                <a:gd name="connsiteY24" fmla="*/ 61913 h 195263"/>
                <a:gd name="connsiteX25" fmla="*/ 409575 w 461963"/>
                <a:gd name="connsiteY25" fmla="*/ 33338 h 195263"/>
                <a:gd name="connsiteX26" fmla="*/ 385763 w 461963"/>
                <a:gd name="connsiteY26" fmla="*/ 16669 h 195263"/>
                <a:gd name="connsiteX27" fmla="*/ 366713 w 461963"/>
                <a:gd name="connsiteY27" fmla="*/ 16669 h 195263"/>
                <a:gd name="connsiteX28" fmla="*/ 335756 w 461963"/>
                <a:gd name="connsiteY28" fmla="*/ 35719 h 195263"/>
                <a:gd name="connsiteX29" fmla="*/ 302419 w 461963"/>
                <a:gd name="connsiteY29" fmla="*/ 33338 h 195263"/>
                <a:gd name="connsiteX30" fmla="*/ 250031 w 461963"/>
                <a:gd name="connsiteY30" fmla="*/ 33338 h 195263"/>
                <a:gd name="connsiteX31" fmla="*/ 223838 w 461963"/>
                <a:gd name="connsiteY31" fmla="*/ 23813 h 195263"/>
                <a:gd name="connsiteX32" fmla="*/ 197644 w 461963"/>
                <a:gd name="connsiteY32" fmla="*/ 0 h 195263"/>
                <a:gd name="connsiteX33" fmla="*/ 164306 w 461963"/>
                <a:gd name="connsiteY33" fmla="*/ 4763 h 195263"/>
                <a:gd name="connsiteX34" fmla="*/ 126206 w 461963"/>
                <a:gd name="connsiteY34" fmla="*/ 21431 h 195263"/>
                <a:gd name="connsiteX35" fmla="*/ 33337 w 461963"/>
                <a:gd name="connsiteY35" fmla="*/ 9525 h 195263"/>
                <a:gd name="connsiteX36" fmla="*/ 45244 w 461963"/>
                <a:gd name="connsiteY36" fmla="*/ 50006 h 195263"/>
                <a:gd name="connsiteX0" fmla="*/ 45244 w 461963"/>
                <a:gd name="connsiteY0" fmla="*/ 38100 h 195263"/>
                <a:gd name="connsiteX1" fmla="*/ 33338 w 461963"/>
                <a:gd name="connsiteY1" fmla="*/ 57150 h 195263"/>
                <a:gd name="connsiteX2" fmla="*/ 0 w 461963"/>
                <a:gd name="connsiteY2" fmla="*/ 64294 h 195263"/>
                <a:gd name="connsiteX3" fmla="*/ 0 w 461963"/>
                <a:gd name="connsiteY3" fmla="*/ 64294 h 195263"/>
                <a:gd name="connsiteX4" fmla="*/ 11906 w 461963"/>
                <a:gd name="connsiteY4" fmla="*/ 102394 h 195263"/>
                <a:gd name="connsiteX5" fmla="*/ 11906 w 461963"/>
                <a:gd name="connsiteY5" fmla="*/ 133350 h 195263"/>
                <a:gd name="connsiteX6" fmla="*/ 30956 w 461963"/>
                <a:gd name="connsiteY6" fmla="*/ 161925 h 195263"/>
                <a:gd name="connsiteX7" fmla="*/ 90488 w 461963"/>
                <a:gd name="connsiteY7" fmla="*/ 195263 h 195263"/>
                <a:gd name="connsiteX8" fmla="*/ 111919 w 461963"/>
                <a:gd name="connsiteY8" fmla="*/ 173831 h 195263"/>
                <a:gd name="connsiteX9" fmla="*/ 152400 w 461963"/>
                <a:gd name="connsiteY9" fmla="*/ 192881 h 195263"/>
                <a:gd name="connsiteX10" fmla="*/ 195263 w 461963"/>
                <a:gd name="connsiteY10" fmla="*/ 180975 h 195263"/>
                <a:gd name="connsiteX11" fmla="*/ 219075 w 461963"/>
                <a:gd name="connsiteY11" fmla="*/ 171450 h 195263"/>
                <a:gd name="connsiteX12" fmla="*/ 233363 w 461963"/>
                <a:gd name="connsiteY12" fmla="*/ 185738 h 195263"/>
                <a:gd name="connsiteX13" fmla="*/ 252413 w 461963"/>
                <a:gd name="connsiteY13" fmla="*/ 176213 h 195263"/>
                <a:gd name="connsiteX14" fmla="*/ 250031 w 461963"/>
                <a:gd name="connsiteY14" fmla="*/ 161925 h 195263"/>
                <a:gd name="connsiteX15" fmla="*/ 269081 w 461963"/>
                <a:gd name="connsiteY15" fmla="*/ 171450 h 195263"/>
                <a:gd name="connsiteX16" fmla="*/ 290513 w 461963"/>
                <a:gd name="connsiteY16" fmla="*/ 161925 h 195263"/>
                <a:gd name="connsiteX17" fmla="*/ 319088 w 461963"/>
                <a:gd name="connsiteY17" fmla="*/ 173831 h 195263"/>
                <a:gd name="connsiteX18" fmla="*/ 388144 w 461963"/>
                <a:gd name="connsiteY18" fmla="*/ 142875 h 195263"/>
                <a:gd name="connsiteX19" fmla="*/ 400050 w 461963"/>
                <a:gd name="connsiteY19" fmla="*/ 152400 h 195263"/>
                <a:gd name="connsiteX20" fmla="*/ 438150 w 461963"/>
                <a:gd name="connsiteY20" fmla="*/ 154781 h 195263"/>
                <a:gd name="connsiteX21" fmla="*/ 461963 w 461963"/>
                <a:gd name="connsiteY21" fmla="*/ 152400 h 195263"/>
                <a:gd name="connsiteX22" fmla="*/ 450056 w 461963"/>
                <a:gd name="connsiteY22" fmla="*/ 133350 h 195263"/>
                <a:gd name="connsiteX23" fmla="*/ 447675 w 461963"/>
                <a:gd name="connsiteY23" fmla="*/ 71438 h 195263"/>
                <a:gd name="connsiteX24" fmla="*/ 423863 w 461963"/>
                <a:gd name="connsiteY24" fmla="*/ 61913 h 195263"/>
                <a:gd name="connsiteX25" fmla="*/ 409575 w 461963"/>
                <a:gd name="connsiteY25" fmla="*/ 33338 h 195263"/>
                <a:gd name="connsiteX26" fmla="*/ 385763 w 461963"/>
                <a:gd name="connsiteY26" fmla="*/ 16669 h 195263"/>
                <a:gd name="connsiteX27" fmla="*/ 366713 w 461963"/>
                <a:gd name="connsiteY27" fmla="*/ 16669 h 195263"/>
                <a:gd name="connsiteX28" fmla="*/ 335756 w 461963"/>
                <a:gd name="connsiteY28" fmla="*/ 35719 h 195263"/>
                <a:gd name="connsiteX29" fmla="*/ 302419 w 461963"/>
                <a:gd name="connsiteY29" fmla="*/ 33338 h 195263"/>
                <a:gd name="connsiteX30" fmla="*/ 250031 w 461963"/>
                <a:gd name="connsiteY30" fmla="*/ 33338 h 195263"/>
                <a:gd name="connsiteX31" fmla="*/ 223838 w 461963"/>
                <a:gd name="connsiteY31" fmla="*/ 23813 h 195263"/>
                <a:gd name="connsiteX32" fmla="*/ 197644 w 461963"/>
                <a:gd name="connsiteY32" fmla="*/ 0 h 195263"/>
                <a:gd name="connsiteX33" fmla="*/ 164306 w 461963"/>
                <a:gd name="connsiteY33" fmla="*/ 4763 h 195263"/>
                <a:gd name="connsiteX34" fmla="*/ 126206 w 461963"/>
                <a:gd name="connsiteY34" fmla="*/ 21431 h 195263"/>
                <a:gd name="connsiteX35" fmla="*/ 33337 w 461963"/>
                <a:gd name="connsiteY35" fmla="*/ 9525 h 195263"/>
                <a:gd name="connsiteX36" fmla="*/ 45244 w 461963"/>
                <a:gd name="connsiteY36" fmla="*/ 38100 h 195263"/>
                <a:gd name="connsiteX0" fmla="*/ 45244 w 461963"/>
                <a:gd name="connsiteY0" fmla="*/ 38100 h 195263"/>
                <a:gd name="connsiteX1" fmla="*/ 40481 w 461963"/>
                <a:gd name="connsiteY1" fmla="*/ 23813 h 195263"/>
                <a:gd name="connsiteX2" fmla="*/ 33338 w 461963"/>
                <a:gd name="connsiteY2" fmla="*/ 57150 h 195263"/>
                <a:gd name="connsiteX3" fmla="*/ 0 w 461963"/>
                <a:gd name="connsiteY3" fmla="*/ 64294 h 195263"/>
                <a:gd name="connsiteX4" fmla="*/ 0 w 461963"/>
                <a:gd name="connsiteY4" fmla="*/ 64294 h 195263"/>
                <a:gd name="connsiteX5" fmla="*/ 11906 w 461963"/>
                <a:gd name="connsiteY5" fmla="*/ 102394 h 195263"/>
                <a:gd name="connsiteX6" fmla="*/ 11906 w 461963"/>
                <a:gd name="connsiteY6" fmla="*/ 133350 h 195263"/>
                <a:gd name="connsiteX7" fmla="*/ 30956 w 461963"/>
                <a:gd name="connsiteY7" fmla="*/ 161925 h 195263"/>
                <a:gd name="connsiteX8" fmla="*/ 90488 w 461963"/>
                <a:gd name="connsiteY8" fmla="*/ 195263 h 195263"/>
                <a:gd name="connsiteX9" fmla="*/ 111919 w 461963"/>
                <a:gd name="connsiteY9" fmla="*/ 173831 h 195263"/>
                <a:gd name="connsiteX10" fmla="*/ 152400 w 461963"/>
                <a:gd name="connsiteY10" fmla="*/ 192881 h 195263"/>
                <a:gd name="connsiteX11" fmla="*/ 195263 w 461963"/>
                <a:gd name="connsiteY11" fmla="*/ 180975 h 195263"/>
                <a:gd name="connsiteX12" fmla="*/ 219075 w 461963"/>
                <a:gd name="connsiteY12" fmla="*/ 171450 h 195263"/>
                <a:gd name="connsiteX13" fmla="*/ 233363 w 461963"/>
                <a:gd name="connsiteY13" fmla="*/ 185738 h 195263"/>
                <a:gd name="connsiteX14" fmla="*/ 252413 w 461963"/>
                <a:gd name="connsiteY14" fmla="*/ 176213 h 195263"/>
                <a:gd name="connsiteX15" fmla="*/ 250031 w 461963"/>
                <a:gd name="connsiteY15" fmla="*/ 161925 h 195263"/>
                <a:gd name="connsiteX16" fmla="*/ 269081 w 461963"/>
                <a:gd name="connsiteY16" fmla="*/ 171450 h 195263"/>
                <a:gd name="connsiteX17" fmla="*/ 290513 w 461963"/>
                <a:gd name="connsiteY17" fmla="*/ 161925 h 195263"/>
                <a:gd name="connsiteX18" fmla="*/ 319088 w 461963"/>
                <a:gd name="connsiteY18" fmla="*/ 173831 h 195263"/>
                <a:gd name="connsiteX19" fmla="*/ 388144 w 461963"/>
                <a:gd name="connsiteY19" fmla="*/ 142875 h 195263"/>
                <a:gd name="connsiteX20" fmla="*/ 400050 w 461963"/>
                <a:gd name="connsiteY20" fmla="*/ 152400 h 195263"/>
                <a:gd name="connsiteX21" fmla="*/ 438150 w 461963"/>
                <a:gd name="connsiteY21" fmla="*/ 154781 h 195263"/>
                <a:gd name="connsiteX22" fmla="*/ 461963 w 461963"/>
                <a:gd name="connsiteY22" fmla="*/ 152400 h 195263"/>
                <a:gd name="connsiteX23" fmla="*/ 450056 w 461963"/>
                <a:gd name="connsiteY23" fmla="*/ 133350 h 195263"/>
                <a:gd name="connsiteX24" fmla="*/ 447675 w 461963"/>
                <a:gd name="connsiteY24" fmla="*/ 71438 h 195263"/>
                <a:gd name="connsiteX25" fmla="*/ 423863 w 461963"/>
                <a:gd name="connsiteY25" fmla="*/ 61913 h 195263"/>
                <a:gd name="connsiteX26" fmla="*/ 409575 w 461963"/>
                <a:gd name="connsiteY26" fmla="*/ 33338 h 195263"/>
                <a:gd name="connsiteX27" fmla="*/ 385763 w 461963"/>
                <a:gd name="connsiteY27" fmla="*/ 16669 h 195263"/>
                <a:gd name="connsiteX28" fmla="*/ 366713 w 461963"/>
                <a:gd name="connsiteY28" fmla="*/ 16669 h 195263"/>
                <a:gd name="connsiteX29" fmla="*/ 335756 w 461963"/>
                <a:gd name="connsiteY29" fmla="*/ 35719 h 195263"/>
                <a:gd name="connsiteX30" fmla="*/ 302419 w 461963"/>
                <a:gd name="connsiteY30" fmla="*/ 33338 h 195263"/>
                <a:gd name="connsiteX31" fmla="*/ 250031 w 461963"/>
                <a:gd name="connsiteY31" fmla="*/ 33338 h 195263"/>
                <a:gd name="connsiteX32" fmla="*/ 223838 w 461963"/>
                <a:gd name="connsiteY32" fmla="*/ 23813 h 195263"/>
                <a:gd name="connsiteX33" fmla="*/ 197644 w 461963"/>
                <a:gd name="connsiteY33" fmla="*/ 0 h 195263"/>
                <a:gd name="connsiteX34" fmla="*/ 164306 w 461963"/>
                <a:gd name="connsiteY34" fmla="*/ 4763 h 195263"/>
                <a:gd name="connsiteX35" fmla="*/ 126206 w 461963"/>
                <a:gd name="connsiteY35" fmla="*/ 21431 h 195263"/>
                <a:gd name="connsiteX36" fmla="*/ 33337 w 461963"/>
                <a:gd name="connsiteY36" fmla="*/ 9525 h 195263"/>
                <a:gd name="connsiteX37" fmla="*/ 45244 w 461963"/>
                <a:gd name="connsiteY37" fmla="*/ 38100 h 195263"/>
                <a:gd name="connsiteX0" fmla="*/ 2382 w 461963"/>
                <a:gd name="connsiteY0" fmla="*/ 38100 h 195263"/>
                <a:gd name="connsiteX1" fmla="*/ 40481 w 461963"/>
                <a:gd name="connsiteY1" fmla="*/ 23813 h 195263"/>
                <a:gd name="connsiteX2" fmla="*/ 33338 w 461963"/>
                <a:gd name="connsiteY2" fmla="*/ 57150 h 195263"/>
                <a:gd name="connsiteX3" fmla="*/ 0 w 461963"/>
                <a:gd name="connsiteY3" fmla="*/ 64294 h 195263"/>
                <a:gd name="connsiteX4" fmla="*/ 0 w 461963"/>
                <a:gd name="connsiteY4" fmla="*/ 64294 h 195263"/>
                <a:gd name="connsiteX5" fmla="*/ 11906 w 461963"/>
                <a:gd name="connsiteY5" fmla="*/ 102394 h 195263"/>
                <a:gd name="connsiteX6" fmla="*/ 11906 w 461963"/>
                <a:gd name="connsiteY6" fmla="*/ 133350 h 195263"/>
                <a:gd name="connsiteX7" fmla="*/ 30956 w 461963"/>
                <a:gd name="connsiteY7" fmla="*/ 161925 h 195263"/>
                <a:gd name="connsiteX8" fmla="*/ 90488 w 461963"/>
                <a:gd name="connsiteY8" fmla="*/ 195263 h 195263"/>
                <a:gd name="connsiteX9" fmla="*/ 111919 w 461963"/>
                <a:gd name="connsiteY9" fmla="*/ 173831 h 195263"/>
                <a:gd name="connsiteX10" fmla="*/ 152400 w 461963"/>
                <a:gd name="connsiteY10" fmla="*/ 192881 h 195263"/>
                <a:gd name="connsiteX11" fmla="*/ 195263 w 461963"/>
                <a:gd name="connsiteY11" fmla="*/ 180975 h 195263"/>
                <a:gd name="connsiteX12" fmla="*/ 219075 w 461963"/>
                <a:gd name="connsiteY12" fmla="*/ 171450 h 195263"/>
                <a:gd name="connsiteX13" fmla="*/ 233363 w 461963"/>
                <a:gd name="connsiteY13" fmla="*/ 185738 h 195263"/>
                <a:gd name="connsiteX14" fmla="*/ 252413 w 461963"/>
                <a:gd name="connsiteY14" fmla="*/ 176213 h 195263"/>
                <a:gd name="connsiteX15" fmla="*/ 250031 w 461963"/>
                <a:gd name="connsiteY15" fmla="*/ 161925 h 195263"/>
                <a:gd name="connsiteX16" fmla="*/ 269081 w 461963"/>
                <a:gd name="connsiteY16" fmla="*/ 171450 h 195263"/>
                <a:gd name="connsiteX17" fmla="*/ 290513 w 461963"/>
                <a:gd name="connsiteY17" fmla="*/ 161925 h 195263"/>
                <a:gd name="connsiteX18" fmla="*/ 319088 w 461963"/>
                <a:gd name="connsiteY18" fmla="*/ 173831 h 195263"/>
                <a:gd name="connsiteX19" fmla="*/ 388144 w 461963"/>
                <a:gd name="connsiteY19" fmla="*/ 142875 h 195263"/>
                <a:gd name="connsiteX20" fmla="*/ 400050 w 461963"/>
                <a:gd name="connsiteY20" fmla="*/ 152400 h 195263"/>
                <a:gd name="connsiteX21" fmla="*/ 438150 w 461963"/>
                <a:gd name="connsiteY21" fmla="*/ 154781 h 195263"/>
                <a:gd name="connsiteX22" fmla="*/ 461963 w 461963"/>
                <a:gd name="connsiteY22" fmla="*/ 152400 h 195263"/>
                <a:gd name="connsiteX23" fmla="*/ 450056 w 461963"/>
                <a:gd name="connsiteY23" fmla="*/ 133350 h 195263"/>
                <a:gd name="connsiteX24" fmla="*/ 447675 w 461963"/>
                <a:gd name="connsiteY24" fmla="*/ 71438 h 195263"/>
                <a:gd name="connsiteX25" fmla="*/ 423863 w 461963"/>
                <a:gd name="connsiteY25" fmla="*/ 61913 h 195263"/>
                <a:gd name="connsiteX26" fmla="*/ 409575 w 461963"/>
                <a:gd name="connsiteY26" fmla="*/ 33338 h 195263"/>
                <a:gd name="connsiteX27" fmla="*/ 385763 w 461963"/>
                <a:gd name="connsiteY27" fmla="*/ 16669 h 195263"/>
                <a:gd name="connsiteX28" fmla="*/ 366713 w 461963"/>
                <a:gd name="connsiteY28" fmla="*/ 16669 h 195263"/>
                <a:gd name="connsiteX29" fmla="*/ 335756 w 461963"/>
                <a:gd name="connsiteY29" fmla="*/ 35719 h 195263"/>
                <a:gd name="connsiteX30" fmla="*/ 302419 w 461963"/>
                <a:gd name="connsiteY30" fmla="*/ 33338 h 195263"/>
                <a:gd name="connsiteX31" fmla="*/ 250031 w 461963"/>
                <a:gd name="connsiteY31" fmla="*/ 33338 h 195263"/>
                <a:gd name="connsiteX32" fmla="*/ 223838 w 461963"/>
                <a:gd name="connsiteY32" fmla="*/ 23813 h 195263"/>
                <a:gd name="connsiteX33" fmla="*/ 197644 w 461963"/>
                <a:gd name="connsiteY33" fmla="*/ 0 h 195263"/>
                <a:gd name="connsiteX34" fmla="*/ 164306 w 461963"/>
                <a:gd name="connsiteY34" fmla="*/ 4763 h 195263"/>
                <a:gd name="connsiteX35" fmla="*/ 126206 w 461963"/>
                <a:gd name="connsiteY35" fmla="*/ 21431 h 195263"/>
                <a:gd name="connsiteX36" fmla="*/ 33337 w 461963"/>
                <a:gd name="connsiteY36" fmla="*/ 9525 h 195263"/>
                <a:gd name="connsiteX37" fmla="*/ 2382 w 461963"/>
                <a:gd name="connsiteY37" fmla="*/ 38100 h 195263"/>
                <a:gd name="connsiteX0" fmla="*/ 2382 w 461963"/>
                <a:gd name="connsiteY0" fmla="*/ 38100 h 195263"/>
                <a:gd name="connsiteX1" fmla="*/ 4762 w 461963"/>
                <a:gd name="connsiteY1" fmla="*/ 45244 h 195263"/>
                <a:gd name="connsiteX2" fmla="*/ 33338 w 461963"/>
                <a:gd name="connsiteY2" fmla="*/ 57150 h 195263"/>
                <a:gd name="connsiteX3" fmla="*/ 0 w 461963"/>
                <a:gd name="connsiteY3" fmla="*/ 64294 h 195263"/>
                <a:gd name="connsiteX4" fmla="*/ 0 w 461963"/>
                <a:gd name="connsiteY4" fmla="*/ 64294 h 195263"/>
                <a:gd name="connsiteX5" fmla="*/ 11906 w 461963"/>
                <a:gd name="connsiteY5" fmla="*/ 102394 h 195263"/>
                <a:gd name="connsiteX6" fmla="*/ 11906 w 461963"/>
                <a:gd name="connsiteY6" fmla="*/ 133350 h 195263"/>
                <a:gd name="connsiteX7" fmla="*/ 30956 w 461963"/>
                <a:gd name="connsiteY7" fmla="*/ 161925 h 195263"/>
                <a:gd name="connsiteX8" fmla="*/ 90488 w 461963"/>
                <a:gd name="connsiteY8" fmla="*/ 195263 h 195263"/>
                <a:gd name="connsiteX9" fmla="*/ 111919 w 461963"/>
                <a:gd name="connsiteY9" fmla="*/ 173831 h 195263"/>
                <a:gd name="connsiteX10" fmla="*/ 152400 w 461963"/>
                <a:gd name="connsiteY10" fmla="*/ 192881 h 195263"/>
                <a:gd name="connsiteX11" fmla="*/ 195263 w 461963"/>
                <a:gd name="connsiteY11" fmla="*/ 180975 h 195263"/>
                <a:gd name="connsiteX12" fmla="*/ 219075 w 461963"/>
                <a:gd name="connsiteY12" fmla="*/ 171450 h 195263"/>
                <a:gd name="connsiteX13" fmla="*/ 233363 w 461963"/>
                <a:gd name="connsiteY13" fmla="*/ 185738 h 195263"/>
                <a:gd name="connsiteX14" fmla="*/ 252413 w 461963"/>
                <a:gd name="connsiteY14" fmla="*/ 176213 h 195263"/>
                <a:gd name="connsiteX15" fmla="*/ 250031 w 461963"/>
                <a:gd name="connsiteY15" fmla="*/ 161925 h 195263"/>
                <a:gd name="connsiteX16" fmla="*/ 269081 w 461963"/>
                <a:gd name="connsiteY16" fmla="*/ 171450 h 195263"/>
                <a:gd name="connsiteX17" fmla="*/ 290513 w 461963"/>
                <a:gd name="connsiteY17" fmla="*/ 161925 h 195263"/>
                <a:gd name="connsiteX18" fmla="*/ 319088 w 461963"/>
                <a:gd name="connsiteY18" fmla="*/ 173831 h 195263"/>
                <a:gd name="connsiteX19" fmla="*/ 388144 w 461963"/>
                <a:gd name="connsiteY19" fmla="*/ 142875 h 195263"/>
                <a:gd name="connsiteX20" fmla="*/ 400050 w 461963"/>
                <a:gd name="connsiteY20" fmla="*/ 152400 h 195263"/>
                <a:gd name="connsiteX21" fmla="*/ 438150 w 461963"/>
                <a:gd name="connsiteY21" fmla="*/ 154781 h 195263"/>
                <a:gd name="connsiteX22" fmla="*/ 461963 w 461963"/>
                <a:gd name="connsiteY22" fmla="*/ 152400 h 195263"/>
                <a:gd name="connsiteX23" fmla="*/ 450056 w 461963"/>
                <a:gd name="connsiteY23" fmla="*/ 133350 h 195263"/>
                <a:gd name="connsiteX24" fmla="*/ 447675 w 461963"/>
                <a:gd name="connsiteY24" fmla="*/ 71438 h 195263"/>
                <a:gd name="connsiteX25" fmla="*/ 423863 w 461963"/>
                <a:gd name="connsiteY25" fmla="*/ 61913 h 195263"/>
                <a:gd name="connsiteX26" fmla="*/ 409575 w 461963"/>
                <a:gd name="connsiteY26" fmla="*/ 33338 h 195263"/>
                <a:gd name="connsiteX27" fmla="*/ 385763 w 461963"/>
                <a:gd name="connsiteY27" fmla="*/ 16669 h 195263"/>
                <a:gd name="connsiteX28" fmla="*/ 366713 w 461963"/>
                <a:gd name="connsiteY28" fmla="*/ 16669 h 195263"/>
                <a:gd name="connsiteX29" fmla="*/ 335756 w 461963"/>
                <a:gd name="connsiteY29" fmla="*/ 35719 h 195263"/>
                <a:gd name="connsiteX30" fmla="*/ 302419 w 461963"/>
                <a:gd name="connsiteY30" fmla="*/ 33338 h 195263"/>
                <a:gd name="connsiteX31" fmla="*/ 250031 w 461963"/>
                <a:gd name="connsiteY31" fmla="*/ 33338 h 195263"/>
                <a:gd name="connsiteX32" fmla="*/ 223838 w 461963"/>
                <a:gd name="connsiteY32" fmla="*/ 23813 h 195263"/>
                <a:gd name="connsiteX33" fmla="*/ 197644 w 461963"/>
                <a:gd name="connsiteY33" fmla="*/ 0 h 195263"/>
                <a:gd name="connsiteX34" fmla="*/ 164306 w 461963"/>
                <a:gd name="connsiteY34" fmla="*/ 4763 h 195263"/>
                <a:gd name="connsiteX35" fmla="*/ 126206 w 461963"/>
                <a:gd name="connsiteY35" fmla="*/ 21431 h 195263"/>
                <a:gd name="connsiteX36" fmla="*/ 33337 w 461963"/>
                <a:gd name="connsiteY36" fmla="*/ 9525 h 195263"/>
                <a:gd name="connsiteX37" fmla="*/ 2382 w 461963"/>
                <a:gd name="connsiteY37" fmla="*/ 38100 h 195263"/>
                <a:gd name="connsiteX0" fmla="*/ 42864 w 461963"/>
                <a:gd name="connsiteY0" fmla="*/ 35719 h 195263"/>
                <a:gd name="connsiteX1" fmla="*/ 4762 w 461963"/>
                <a:gd name="connsiteY1" fmla="*/ 45244 h 195263"/>
                <a:gd name="connsiteX2" fmla="*/ 33338 w 461963"/>
                <a:gd name="connsiteY2" fmla="*/ 57150 h 195263"/>
                <a:gd name="connsiteX3" fmla="*/ 0 w 461963"/>
                <a:gd name="connsiteY3" fmla="*/ 64294 h 195263"/>
                <a:gd name="connsiteX4" fmla="*/ 0 w 461963"/>
                <a:gd name="connsiteY4" fmla="*/ 64294 h 195263"/>
                <a:gd name="connsiteX5" fmla="*/ 11906 w 461963"/>
                <a:gd name="connsiteY5" fmla="*/ 102394 h 195263"/>
                <a:gd name="connsiteX6" fmla="*/ 11906 w 461963"/>
                <a:gd name="connsiteY6" fmla="*/ 133350 h 195263"/>
                <a:gd name="connsiteX7" fmla="*/ 30956 w 461963"/>
                <a:gd name="connsiteY7" fmla="*/ 161925 h 195263"/>
                <a:gd name="connsiteX8" fmla="*/ 90488 w 461963"/>
                <a:gd name="connsiteY8" fmla="*/ 195263 h 195263"/>
                <a:gd name="connsiteX9" fmla="*/ 111919 w 461963"/>
                <a:gd name="connsiteY9" fmla="*/ 173831 h 195263"/>
                <a:gd name="connsiteX10" fmla="*/ 152400 w 461963"/>
                <a:gd name="connsiteY10" fmla="*/ 192881 h 195263"/>
                <a:gd name="connsiteX11" fmla="*/ 195263 w 461963"/>
                <a:gd name="connsiteY11" fmla="*/ 180975 h 195263"/>
                <a:gd name="connsiteX12" fmla="*/ 219075 w 461963"/>
                <a:gd name="connsiteY12" fmla="*/ 171450 h 195263"/>
                <a:gd name="connsiteX13" fmla="*/ 233363 w 461963"/>
                <a:gd name="connsiteY13" fmla="*/ 185738 h 195263"/>
                <a:gd name="connsiteX14" fmla="*/ 252413 w 461963"/>
                <a:gd name="connsiteY14" fmla="*/ 176213 h 195263"/>
                <a:gd name="connsiteX15" fmla="*/ 250031 w 461963"/>
                <a:gd name="connsiteY15" fmla="*/ 161925 h 195263"/>
                <a:gd name="connsiteX16" fmla="*/ 269081 w 461963"/>
                <a:gd name="connsiteY16" fmla="*/ 171450 h 195263"/>
                <a:gd name="connsiteX17" fmla="*/ 290513 w 461963"/>
                <a:gd name="connsiteY17" fmla="*/ 161925 h 195263"/>
                <a:gd name="connsiteX18" fmla="*/ 319088 w 461963"/>
                <a:gd name="connsiteY18" fmla="*/ 173831 h 195263"/>
                <a:gd name="connsiteX19" fmla="*/ 388144 w 461963"/>
                <a:gd name="connsiteY19" fmla="*/ 142875 h 195263"/>
                <a:gd name="connsiteX20" fmla="*/ 400050 w 461963"/>
                <a:gd name="connsiteY20" fmla="*/ 152400 h 195263"/>
                <a:gd name="connsiteX21" fmla="*/ 438150 w 461963"/>
                <a:gd name="connsiteY21" fmla="*/ 154781 h 195263"/>
                <a:gd name="connsiteX22" fmla="*/ 461963 w 461963"/>
                <a:gd name="connsiteY22" fmla="*/ 152400 h 195263"/>
                <a:gd name="connsiteX23" fmla="*/ 450056 w 461963"/>
                <a:gd name="connsiteY23" fmla="*/ 133350 h 195263"/>
                <a:gd name="connsiteX24" fmla="*/ 447675 w 461963"/>
                <a:gd name="connsiteY24" fmla="*/ 71438 h 195263"/>
                <a:gd name="connsiteX25" fmla="*/ 423863 w 461963"/>
                <a:gd name="connsiteY25" fmla="*/ 61913 h 195263"/>
                <a:gd name="connsiteX26" fmla="*/ 409575 w 461963"/>
                <a:gd name="connsiteY26" fmla="*/ 33338 h 195263"/>
                <a:gd name="connsiteX27" fmla="*/ 385763 w 461963"/>
                <a:gd name="connsiteY27" fmla="*/ 16669 h 195263"/>
                <a:gd name="connsiteX28" fmla="*/ 366713 w 461963"/>
                <a:gd name="connsiteY28" fmla="*/ 16669 h 195263"/>
                <a:gd name="connsiteX29" fmla="*/ 335756 w 461963"/>
                <a:gd name="connsiteY29" fmla="*/ 35719 h 195263"/>
                <a:gd name="connsiteX30" fmla="*/ 302419 w 461963"/>
                <a:gd name="connsiteY30" fmla="*/ 33338 h 195263"/>
                <a:gd name="connsiteX31" fmla="*/ 250031 w 461963"/>
                <a:gd name="connsiteY31" fmla="*/ 33338 h 195263"/>
                <a:gd name="connsiteX32" fmla="*/ 223838 w 461963"/>
                <a:gd name="connsiteY32" fmla="*/ 23813 h 195263"/>
                <a:gd name="connsiteX33" fmla="*/ 197644 w 461963"/>
                <a:gd name="connsiteY33" fmla="*/ 0 h 195263"/>
                <a:gd name="connsiteX34" fmla="*/ 164306 w 461963"/>
                <a:gd name="connsiteY34" fmla="*/ 4763 h 195263"/>
                <a:gd name="connsiteX35" fmla="*/ 126206 w 461963"/>
                <a:gd name="connsiteY35" fmla="*/ 21431 h 195263"/>
                <a:gd name="connsiteX36" fmla="*/ 33337 w 461963"/>
                <a:gd name="connsiteY36" fmla="*/ 9525 h 195263"/>
                <a:gd name="connsiteX37" fmla="*/ 42864 w 461963"/>
                <a:gd name="connsiteY37" fmla="*/ 35719 h 195263"/>
                <a:gd name="connsiteX0" fmla="*/ 4764 w 461963"/>
                <a:gd name="connsiteY0" fmla="*/ 16669 h 195263"/>
                <a:gd name="connsiteX1" fmla="*/ 4762 w 461963"/>
                <a:gd name="connsiteY1" fmla="*/ 45244 h 195263"/>
                <a:gd name="connsiteX2" fmla="*/ 33338 w 461963"/>
                <a:gd name="connsiteY2" fmla="*/ 57150 h 195263"/>
                <a:gd name="connsiteX3" fmla="*/ 0 w 461963"/>
                <a:gd name="connsiteY3" fmla="*/ 64294 h 195263"/>
                <a:gd name="connsiteX4" fmla="*/ 0 w 461963"/>
                <a:gd name="connsiteY4" fmla="*/ 64294 h 195263"/>
                <a:gd name="connsiteX5" fmla="*/ 11906 w 461963"/>
                <a:gd name="connsiteY5" fmla="*/ 102394 h 195263"/>
                <a:gd name="connsiteX6" fmla="*/ 11906 w 461963"/>
                <a:gd name="connsiteY6" fmla="*/ 133350 h 195263"/>
                <a:gd name="connsiteX7" fmla="*/ 30956 w 461963"/>
                <a:gd name="connsiteY7" fmla="*/ 161925 h 195263"/>
                <a:gd name="connsiteX8" fmla="*/ 90488 w 461963"/>
                <a:gd name="connsiteY8" fmla="*/ 195263 h 195263"/>
                <a:gd name="connsiteX9" fmla="*/ 111919 w 461963"/>
                <a:gd name="connsiteY9" fmla="*/ 173831 h 195263"/>
                <a:gd name="connsiteX10" fmla="*/ 152400 w 461963"/>
                <a:gd name="connsiteY10" fmla="*/ 192881 h 195263"/>
                <a:gd name="connsiteX11" fmla="*/ 195263 w 461963"/>
                <a:gd name="connsiteY11" fmla="*/ 180975 h 195263"/>
                <a:gd name="connsiteX12" fmla="*/ 219075 w 461963"/>
                <a:gd name="connsiteY12" fmla="*/ 171450 h 195263"/>
                <a:gd name="connsiteX13" fmla="*/ 233363 w 461963"/>
                <a:gd name="connsiteY13" fmla="*/ 185738 h 195263"/>
                <a:gd name="connsiteX14" fmla="*/ 252413 w 461963"/>
                <a:gd name="connsiteY14" fmla="*/ 176213 h 195263"/>
                <a:gd name="connsiteX15" fmla="*/ 250031 w 461963"/>
                <a:gd name="connsiteY15" fmla="*/ 161925 h 195263"/>
                <a:gd name="connsiteX16" fmla="*/ 269081 w 461963"/>
                <a:gd name="connsiteY16" fmla="*/ 171450 h 195263"/>
                <a:gd name="connsiteX17" fmla="*/ 290513 w 461963"/>
                <a:gd name="connsiteY17" fmla="*/ 161925 h 195263"/>
                <a:gd name="connsiteX18" fmla="*/ 319088 w 461963"/>
                <a:gd name="connsiteY18" fmla="*/ 173831 h 195263"/>
                <a:gd name="connsiteX19" fmla="*/ 388144 w 461963"/>
                <a:gd name="connsiteY19" fmla="*/ 142875 h 195263"/>
                <a:gd name="connsiteX20" fmla="*/ 400050 w 461963"/>
                <a:gd name="connsiteY20" fmla="*/ 152400 h 195263"/>
                <a:gd name="connsiteX21" fmla="*/ 438150 w 461963"/>
                <a:gd name="connsiteY21" fmla="*/ 154781 h 195263"/>
                <a:gd name="connsiteX22" fmla="*/ 461963 w 461963"/>
                <a:gd name="connsiteY22" fmla="*/ 152400 h 195263"/>
                <a:gd name="connsiteX23" fmla="*/ 450056 w 461963"/>
                <a:gd name="connsiteY23" fmla="*/ 133350 h 195263"/>
                <a:gd name="connsiteX24" fmla="*/ 447675 w 461963"/>
                <a:gd name="connsiteY24" fmla="*/ 71438 h 195263"/>
                <a:gd name="connsiteX25" fmla="*/ 423863 w 461963"/>
                <a:gd name="connsiteY25" fmla="*/ 61913 h 195263"/>
                <a:gd name="connsiteX26" fmla="*/ 409575 w 461963"/>
                <a:gd name="connsiteY26" fmla="*/ 33338 h 195263"/>
                <a:gd name="connsiteX27" fmla="*/ 385763 w 461963"/>
                <a:gd name="connsiteY27" fmla="*/ 16669 h 195263"/>
                <a:gd name="connsiteX28" fmla="*/ 366713 w 461963"/>
                <a:gd name="connsiteY28" fmla="*/ 16669 h 195263"/>
                <a:gd name="connsiteX29" fmla="*/ 335756 w 461963"/>
                <a:gd name="connsiteY29" fmla="*/ 35719 h 195263"/>
                <a:gd name="connsiteX30" fmla="*/ 302419 w 461963"/>
                <a:gd name="connsiteY30" fmla="*/ 33338 h 195263"/>
                <a:gd name="connsiteX31" fmla="*/ 250031 w 461963"/>
                <a:gd name="connsiteY31" fmla="*/ 33338 h 195263"/>
                <a:gd name="connsiteX32" fmla="*/ 223838 w 461963"/>
                <a:gd name="connsiteY32" fmla="*/ 23813 h 195263"/>
                <a:gd name="connsiteX33" fmla="*/ 197644 w 461963"/>
                <a:gd name="connsiteY33" fmla="*/ 0 h 195263"/>
                <a:gd name="connsiteX34" fmla="*/ 164306 w 461963"/>
                <a:gd name="connsiteY34" fmla="*/ 4763 h 195263"/>
                <a:gd name="connsiteX35" fmla="*/ 126206 w 461963"/>
                <a:gd name="connsiteY35" fmla="*/ 21431 h 195263"/>
                <a:gd name="connsiteX36" fmla="*/ 33337 w 461963"/>
                <a:gd name="connsiteY36" fmla="*/ 9525 h 195263"/>
                <a:gd name="connsiteX37" fmla="*/ 4764 w 461963"/>
                <a:gd name="connsiteY37" fmla="*/ 16669 h 195263"/>
                <a:gd name="connsiteX0" fmla="*/ 4764 w 461963"/>
                <a:gd name="connsiteY0" fmla="*/ 16669 h 195263"/>
                <a:gd name="connsiteX1" fmla="*/ 47625 w 461963"/>
                <a:gd name="connsiteY1" fmla="*/ 42863 h 195263"/>
                <a:gd name="connsiteX2" fmla="*/ 33338 w 461963"/>
                <a:gd name="connsiteY2" fmla="*/ 57150 h 195263"/>
                <a:gd name="connsiteX3" fmla="*/ 0 w 461963"/>
                <a:gd name="connsiteY3" fmla="*/ 64294 h 195263"/>
                <a:gd name="connsiteX4" fmla="*/ 0 w 461963"/>
                <a:gd name="connsiteY4" fmla="*/ 64294 h 195263"/>
                <a:gd name="connsiteX5" fmla="*/ 11906 w 461963"/>
                <a:gd name="connsiteY5" fmla="*/ 102394 h 195263"/>
                <a:gd name="connsiteX6" fmla="*/ 11906 w 461963"/>
                <a:gd name="connsiteY6" fmla="*/ 133350 h 195263"/>
                <a:gd name="connsiteX7" fmla="*/ 30956 w 461963"/>
                <a:gd name="connsiteY7" fmla="*/ 161925 h 195263"/>
                <a:gd name="connsiteX8" fmla="*/ 90488 w 461963"/>
                <a:gd name="connsiteY8" fmla="*/ 195263 h 195263"/>
                <a:gd name="connsiteX9" fmla="*/ 111919 w 461963"/>
                <a:gd name="connsiteY9" fmla="*/ 173831 h 195263"/>
                <a:gd name="connsiteX10" fmla="*/ 152400 w 461963"/>
                <a:gd name="connsiteY10" fmla="*/ 192881 h 195263"/>
                <a:gd name="connsiteX11" fmla="*/ 195263 w 461963"/>
                <a:gd name="connsiteY11" fmla="*/ 180975 h 195263"/>
                <a:gd name="connsiteX12" fmla="*/ 219075 w 461963"/>
                <a:gd name="connsiteY12" fmla="*/ 171450 h 195263"/>
                <a:gd name="connsiteX13" fmla="*/ 233363 w 461963"/>
                <a:gd name="connsiteY13" fmla="*/ 185738 h 195263"/>
                <a:gd name="connsiteX14" fmla="*/ 252413 w 461963"/>
                <a:gd name="connsiteY14" fmla="*/ 176213 h 195263"/>
                <a:gd name="connsiteX15" fmla="*/ 250031 w 461963"/>
                <a:gd name="connsiteY15" fmla="*/ 161925 h 195263"/>
                <a:gd name="connsiteX16" fmla="*/ 269081 w 461963"/>
                <a:gd name="connsiteY16" fmla="*/ 171450 h 195263"/>
                <a:gd name="connsiteX17" fmla="*/ 290513 w 461963"/>
                <a:gd name="connsiteY17" fmla="*/ 161925 h 195263"/>
                <a:gd name="connsiteX18" fmla="*/ 319088 w 461963"/>
                <a:gd name="connsiteY18" fmla="*/ 173831 h 195263"/>
                <a:gd name="connsiteX19" fmla="*/ 388144 w 461963"/>
                <a:gd name="connsiteY19" fmla="*/ 142875 h 195263"/>
                <a:gd name="connsiteX20" fmla="*/ 400050 w 461963"/>
                <a:gd name="connsiteY20" fmla="*/ 152400 h 195263"/>
                <a:gd name="connsiteX21" fmla="*/ 438150 w 461963"/>
                <a:gd name="connsiteY21" fmla="*/ 154781 h 195263"/>
                <a:gd name="connsiteX22" fmla="*/ 461963 w 461963"/>
                <a:gd name="connsiteY22" fmla="*/ 152400 h 195263"/>
                <a:gd name="connsiteX23" fmla="*/ 450056 w 461963"/>
                <a:gd name="connsiteY23" fmla="*/ 133350 h 195263"/>
                <a:gd name="connsiteX24" fmla="*/ 447675 w 461963"/>
                <a:gd name="connsiteY24" fmla="*/ 71438 h 195263"/>
                <a:gd name="connsiteX25" fmla="*/ 423863 w 461963"/>
                <a:gd name="connsiteY25" fmla="*/ 61913 h 195263"/>
                <a:gd name="connsiteX26" fmla="*/ 409575 w 461963"/>
                <a:gd name="connsiteY26" fmla="*/ 33338 h 195263"/>
                <a:gd name="connsiteX27" fmla="*/ 385763 w 461963"/>
                <a:gd name="connsiteY27" fmla="*/ 16669 h 195263"/>
                <a:gd name="connsiteX28" fmla="*/ 366713 w 461963"/>
                <a:gd name="connsiteY28" fmla="*/ 16669 h 195263"/>
                <a:gd name="connsiteX29" fmla="*/ 335756 w 461963"/>
                <a:gd name="connsiteY29" fmla="*/ 35719 h 195263"/>
                <a:gd name="connsiteX30" fmla="*/ 302419 w 461963"/>
                <a:gd name="connsiteY30" fmla="*/ 33338 h 195263"/>
                <a:gd name="connsiteX31" fmla="*/ 250031 w 461963"/>
                <a:gd name="connsiteY31" fmla="*/ 33338 h 195263"/>
                <a:gd name="connsiteX32" fmla="*/ 223838 w 461963"/>
                <a:gd name="connsiteY32" fmla="*/ 23813 h 195263"/>
                <a:gd name="connsiteX33" fmla="*/ 197644 w 461963"/>
                <a:gd name="connsiteY33" fmla="*/ 0 h 195263"/>
                <a:gd name="connsiteX34" fmla="*/ 164306 w 461963"/>
                <a:gd name="connsiteY34" fmla="*/ 4763 h 195263"/>
                <a:gd name="connsiteX35" fmla="*/ 126206 w 461963"/>
                <a:gd name="connsiteY35" fmla="*/ 21431 h 195263"/>
                <a:gd name="connsiteX36" fmla="*/ 33337 w 461963"/>
                <a:gd name="connsiteY36" fmla="*/ 9525 h 195263"/>
                <a:gd name="connsiteX37" fmla="*/ 4764 w 461963"/>
                <a:gd name="connsiteY37" fmla="*/ 16669 h 195263"/>
                <a:gd name="connsiteX0" fmla="*/ 4764 w 461963"/>
                <a:gd name="connsiteY0" fmla="*/ 16669 h 195263"/>
                <a:gd name="connsiteX1" fmla="*/ 19050 w 461963"/>
                <a:gd name="connsiteY1" fmla="*/ 23813 h 195263"/>
                <a:gd name="connsiteX2" fmla="*/ 47625 w 461963"/>
                <a:gd name="connsiteY2" fmla="*/ 42863 h 195263"/>
                <a:gd name="connsiteX3" fmla="*/ 33338 w 461963"/>
                <a:gd name="connsiteY3" fmla="*/ 57150 h 195263"/>
                <a:gd name="connsiteX4" fmla="*/ 0 w 461963"/>
                <a:gd name="connsiteY4" fmla="*/ 64294 h 195263"/>
                <a:gd name="connsiteX5" fmla="*/ 0 w 461963"/>
                <a:gd name="connsiteY5" fmla="*/ 64294 h 195263"/>
                <a:gd name="connsiteX6" fmla="*/ 11906 w 461963"/>
                <a:gd name="connsiteY6" fmla="*/ 102394 h 195263"/>
                <a:gd name="connsiteX7" fmla="*/ 11906 w 461963"/>
                <a:gd name="connsiteY7" fmla="*/ 133350 h 195263"/>
                <a:gd name="connsiteX8" fmla="*/ 30956 w 461963"/>
                <a:gd name="connsiteY8" fmla="*/ 161925 h 195263"/>
                <a:gd name="connsiteX9" fmla="*/ 90488 w 461963"/>
                <a:gd name="connsiteY9" fmla="*/ 195263 h 195263"/>
                <a:gd name="connsiteX10" fmla="*/ 111919 w 461963"/>
                <a:gd name="connsiteY10" fmla="*/ 173831 h 195263"/>
                <a:gd name="connsiteX11" fmla="*/ 152400 w 461963"/>
                <a:gd name="connsiteY11" fmla="*/ 192881 h 195263"/>
                <a:gd name="connsiteX12" fmla="*/ 195263 w 461963"/>
                <a:gd name="connsiteY12" fmla="*/ 180975 h 195263"/>
                <a:gd name="connsiteX13" fmla="*/ 219075 w 461963"/>
                <a:gd name="connsiteY13" fmla="*/ 171450 h 195263"/>
                <a:gd name="connsiteX14" fmla="*/ 233363 w 461963"/>
                <a:gd name="connsiteY14" fmla="*/ 185738 h 195263"/>
                <a:gd name="connsiteX15" fmla="*/ 252413 w 461963"/>
                <a:gd name="connsiteY15" fmla="*/ 176213 h 195263"/>
                <a:gd name="connsiteX16" fmla="*/ 250031 w 461963"/>
                <a:gd name="connsiteY16" fmla="*/ 161925 h 195263"/>
                <a:gd name="connsiteX17" fmla="*/ 269081 w 461963"/>
                <a:gd name="connsiteY17" fmla="*/ 171450 h 195263"/>
                <a:gd name="connsiteX18" fmla="*/ 290513 w 461963"/>
                <a:gd name="connsiteY18" fmla="*/ 161925 h 195263"/>
                <a:gd name="connsiteX19" fmla="*/ 319088 w 461963"/>
                <a:gd name="connsiteY19" fmla="*/ 173831 h 195263"/>
                <a:gd name="connsiteX20" fmla="*/ 388144 w 461963"/>
                <a:gd name="connsiteY20" fmla="*/ 142875 h 195263"/>
                <a:gd name="connsiteX21" fmla="*/ 400050 w 461963"/>
                <a:gd name="connsiteY21" fmla="*/ 152400 h 195263"/>
                <a:gd name="connsiteX22" fmla="*/ 438150 w 461963"/>
                <a:gd name="connsiteY22" fmla="*/ 154781 h 195263"/>
                <a:gd name="connsiteX23" fmla="*/ 461963 w 461963"/>
                <a:gd name="connsiteY23" fmla="*/ 152400 h 195263"/>
                <a:gd name="connsiteX24" fmla="*/ 450056 w 461963"/>
                <a:gd name="connsiteY24" fmla="*/ 133350 h 195263"/>
                <a:gd name="connsiteX25" fmla="*/ 447675 w 461963"/>
                <a:gd name="connsiteY25" fmla="*/ 71438 h 195263"/>
                <a:gd name="connsiteX26" fmla="*/ 423863 w 461963"/>
                <a:gd name="connsiteY26" fmla="*/ 61913 h 195263"/>
                <a:gd name="connsiteX27" fmla="*/ 409575 w 461963"/>
                <a:gd name="connsiteY27" fmla="*/ 33338 h 195263"/>
                <a:gd name="connsiteX28" fmla="*/ 385763 w 461963"/>
                <a:gd name="connsiteY28" fmla="*/ 16669 h 195263"/>
                <a:gd name="connsiteX29" fmla="*/ 366713 w 461963"/>
                <a:gd name="connsiteY29" fmla="*/ 16669 h 195263"/>
                <a:gd name="connsiteX30" fmla="*/ 335756 w 461963"/>
                <a:gd name="connsiteY30" fmla="*/ 35719 h 195263"/>
                <a:gd name="connsiteX31" fmla="*/ 302419 w 461963"/>
                <a:gd name="connsiteY31" fmla="*/ 33338 h 195263"/>
                <a:gd name="connsiteX32" fmla="*/ 250031 w 461963"/>
                <a:gd name="connsiteY32" fmla="*/ 33338 h 195263"/>
                <a:gd name="connsiteX33" fmla="*/ 223838 w 461963"/>
                <a:gd name="connsiteY33" fmla="*/ 23813 h 195263"/>
                <a:gd name="connsiteX34" fmla="*/ 197644 w 461963"/>
                <a:gd name="connsiteY34" fmla="*/ 0 h 195263"/>
                <a:gd name="connsiteX35" fmla="*/ 164306 w 461963"/>
                <a:gd name="connsiteY35" fmla="*/ 4763 h 195263"/>
                <a:gd name="connsiteX36" fmla="*/ 126206 w 461963"/>
                <a:gd name="connsiteY36" fmla="*/ 21431 h 195263"/>
                <a:gd name="connsiteX37" fmla="*/ 33337 w 461963"/>
                <a:gd name="connsiteY37" fmla="*/ 9525 h 195263"/>
                <a:gd name="connsiteX38" fmla="*/ 4764 w 461963"/>
                <a:gd name="connsiteY38" fmla="*/ 16669 h 195263"/>
                <a:gd name="connsiteX0" fmla="*/ 9398 w 466597"/>
                <a:gd name="connsiteY0" fmla="*/ 16669 h 195263"/>
                <a:gd name="connsiteX1" fmla="*/ 2253 w 466597"/>
                <a:gd name="connsiteY1" fmla="*/ 50007 h 195263"/>
                <a:gd name="connsiteX2" fmla="*/ 52259 w 466597"/>
                <a:gd name="connsiteY2" fmla="*/ 42863 h 195263"/>
                <a:gd name="connsiteX3" fmla="*/ 37972 w 466597"/>
                <a:gd name="connsiteY3" fmla="*/ 57150 h 195263"/>
                <a:gd name="connsiteX4" fmla="*/ 4634 w 466597"/>
                <a:gd name="connsiteY4" fmla="*/ 64294 h 195263"/>
                <a:gd name="connsiteX5" fmla="*/ 4634 w 466597"/>
                <a:gd name="connsiteY5" fmla="*/ 64294 h 195263"/>
                <a:gd name="connsiteX6" fmla="*/ 16540 w 466597"/>
                <a:gd name="connsiteY6" fmla="*/ 102394 h 195263"/>
                <a:gd name="connsiteX7" fmla="*/ 16540 w 466597"/>
                <a:gd name="connsiteY7" fmla="*/ 133350 h 195263"/>
                <a:gd name="connsiteX8" fmla="*/ 35590 w 466597"/>
                <a:gd name="connsiteY8" fmla="*/ 161925 h 195263"/>
                <a:gd name="connsiteX9" fmla="*/ 95122 w 466597"/>
                <a:gd name="connsiteY9" fmla="*/ 195263 h 195263"/>
                <a:gd name="connsiteX10" fmla="*/ 116553 w 466597"/>
                <a:gd name="connsiteY10" fmla="*/ 173831 h 195263"/>
                <a:gd name="connsiteX11" fmla="*/ 157034 w 466597"/>
                <a:gd name="connsiteY11" fmla="*/ 192881 h 195263"/>
                <a:gd name="connsiteX12" fmla="*/ 199897 w 466597"/>
                <a:gd name="connsiteY12" fmla="*/ 180975 h 195263"/>
                <a:gd name="connsiteX13" fmla="*/ 223709 w 466597"/>
                <a:gd name="connsiteY13" fmla="*/ 171450 h 195263"/>
                <a:gd name="connsiteX14" fmla="*/ 237997 w 466597"/>
                <a:gd name="connsiteY14" fmla="*/ 185738 h 195263"/>
                <a:gd name="connsiteX15" fmla="*/ 257047 w 466597"/>
                <a:gd name="connsiteY15" fmla="*/ 176213 h 195263"/>
                <a:gd name="connsiteX16" fmla="*/ 254665 w 466597"/>
                <a:gd name="connsiteY16" fmla="*/ 161925 h 195263"/>
                <a:gd name="connsiteX17" fmla="*/ 273715 w 466597"/>
                <a:gd name="connsiteY17" fmla="*/ 171450 h 195263"/>
                <a:gd name="connsiteX18" fmla="*/ 295147 w 466597"/>
                <a:gd name="connsiteY18" fmla="*/ 161925 h 195263"/>
                <a:gd name="connsiteX19" fmla="*/ 323722 w 466597"/>
                <a:gd name="connsiteY19" fmla="*/ 173831 h 195263"/>
                <a:gd name="connsiteX20" fmla="*/ 392778 w 466597"/>
                <a:gd name="connsiteY20" fmla="*/ 142875 h 195263"/>
                <a:gd name="connsiteX21" fmla="*/ 404684 w 466597"/>
                <a:gd name="connsiteY21" fmla="*/ 152400 h 195263"/>
                <a:gd name="connsiteX22" fmla="*/ 442784 w 466597"/>
                <a:gd name="connsiteY22" fmla="*/ 154781 h 195263"/>
                <a:gd name="connsiteX23" fmla="*/ 466597 w 466597"/>
                <a:gd name="connsiteY23" fmla="*/ 152400 h 195263"/>
                <a:gd name="connsiteX24" fmla="*/ 454690 w 466597"/>
                <a:gd name="connsiteY24" fmla="*/ 133350 h 195263"/>
                <a:gd name="connsiteX25" fmla="*/ 452309 w 466597"/>
                <a:gd name="connsiteY25" fmla="*/ 71438 h 195263"/>
                <a:gd name="connsiteX26" fmla="*/ 428497 w 466597"/>
                <a:gd name="connsiteY26" fmla="*/ 61913 h 195263"/>
                <a:gd name="connsiteX27" fmla="*/ 414209 w 466597"/>
                <a:gd name="connsiteY27" fmla="*/ 33338 h 195263"/>
                <a:gd name="connsiteX28" fmla="*/ 390397 w 466597"/>
                <a:gd name="connsiteY28" fmla="*/ 16669 h 195263"/>
                <a:gd name="connsiteX29" fmla="*/ 371347 w 466597"/>
                <a:gd name="connsiteY29" fmla="*/ 16669 h 195263"/>
                <a:gd name="connsiteX30" fmla="*/ 340390 w 466597"/>
                <a:gd name="connsiteY30" fmla="*/ 35719 h 195263"/>
                <a:gd name="connsiteX31" fmla="*/ 307053 w 466597"/>
                <a:gd name="connsiteY31" fmla="*/ 33338 h 195263"/>
                <a:gd name="connsiteX32" fmla="*/ 254665 w 466597"/>
                <a:gd name="connsiteY32" fmla="*/ 33338 h 195263"/>
                <a:gd name="connsiteX33" fmla="*/ 228472 w 466597"/>
                <a:gd name="connsiteY33" fmla="*/ 23813 h 195263"/>
                <a:gd name="connsiteX34" fmla="*/ 202278 w 466597"/>
                <a:gd name="connsiteY34" fmla="*/ 0 h 195263"/>
                <a:gd name="connsiteX35" fmla="*/ 168940 w 466597"/>
                <a:gd name="connsiteY35" fmla="*/ 4763 h 195263"/>
                <a:gd name="connsiteX36" fmla="*/ 130840 w 466597"/>
                <a:gd name="connsiteY36" fmla="*/ 21431 h 195263"/>
                <a:gd name="connsiteX37" fmla="*/ 37971 w 466597"/>
                <a:gd name="connsiteY37" fmla="*/ 9525 h 195263"/>
                <a:gd name="connsiteX38" fmla="*/ 9398 w 466597"/>
                <a:gd name="connsiteY38" fmla="*/ 16669 h 195263"/>
                <a:gd name="connsiteX0" fmla="*/ 9398 w 466597"/>
                <a:gd name="connsiteY0" fmla="*/ 16669 h 195263"/>
                <a:gd name="connsiteX1" fmla="*/ 2253 w 466597"/>
                <a:gd name="connsiteY1" fmla="*/ 42863 h 195263"/>
                <a:gd name="connsiteX2" fmla="*/ 52259 w 466597"/>
                <a:gd name="connsiteY2" fmla="*/ 42863 h 195263"/>
                <a:gd name="connsiteX3" fmla="*/ 37972 w 466597"/>
                <a:gd name="connsiteY3" fmla="*/ 57150 h 195263"/>
                <a:gd name="connsiteX4" fmla="*/ 4634 w 466597"/>
                <a:gd name="connsiteY4" fmla="*/ 64294 h 195263"/>
                <a:gd name="connsiteX5" fmla="*/ 4634 w 466597"/>
                <a:gd name="connsiteY5" fmla="*/ 64294 h 195263"/>
                <a:gd name="connsiteX6" fmla="*/ 16540 w 466597"/>
                <a:gd name="connsiteY6" fmla="*/ 102394 h 195263"/>
                <a:gd name="connsiteX7" fmla="*/ 16540 w 466597"/>
                <a:gd name="connsiteY7" fmla="*/ 133350 h 195263"/>
                <a:gd name="connsiteX8" fmla="*/ 35590 w 466597"/>
                <a:gd name="connsiteY8" fmla="*/ 161925 h 195263"/>
                <a:gd name="connsiteX9" fmla="*/ 95122 w 466597"/>
                <a:gd name="connsiteY9" fmla="*/ 195263 h 195263"/>
                <a:gd name="connsiteX10" fmla="*/ 116553 w 466597"/>
                <a:gd name="connsiteY10" fmla="*/ 173831 h 195263"/>
                <a:gd name="connsiteX11" fmla="*/ 157034 w 466597"/>
                <a:gd name="connsiteY11" fmla="*/ 192881 h 195263"/>
                <a:gd name="connsiteX12" fmla="*/ 199897 w 466597"/>
                <a:gd name="connsiteY12" fmla="*/ 180975 h 195263"/>
                <a:gd name="connsiteX13" fmla="*/ 223709 w 466597"/>
                <a:gd name="connsiteY13" fmla="*/ 171450 h 195263"/>
                <a:gd name="connsiteX14" fmla="*/ 237997 w 466597"/>
                <a:gd name="connsiteY14" fmla="*/ 185738 h 195263"/>
                <a:gd name="connsiteX15" fmla="*/ 257047 w 466597"/>
                <a:gd name="connsiteY15" fmla="*/ 176213 h 195263"/>
                <a:gd name="connsiteX16" fmla="*/ 254665 w 466597"/>
                <a:gd name="connsiteY16" fmla="*/ 161925 h 195263"/>
                <a:gd name="connsiteX17" fmla="*/ 273715 w 466597"/>
                <a:gd name="connsiteY17" fmla="*/ 171450 h 195263"/>
                <a:gd name="connsiteX18" fmla="*/ 295147 w 466597"/>
                <a:gd name="connsiteY18" fmla="*/ 161925 h 195263"/>
                <a:gd name="connsiteX19" fmla="*/ 323722 w 466597"/>
                <a:gd name="connsiteY19" fmla="*/ 173831 h 195263"/>
                <a:gd name="connsiteX20" fmla="*/ 392778 w 466597"/>
                <a:gd name="connsiteY20" fmla="*/ 142875 h 195263"/>
                <a:gd name="connsiteX21" fmla="*/ 404684 w 466597"/>
                <a:gd name="connsiteY21" fmla="*/ 152400 h 195263"/>
                <a:gd name="connsiteX22" fmla="*/ 442784 w 466597"/>
                <a:gd name="connsiteY22" fmla="*/ 154781 h 195263"/>
                <a:gd name="connsiteX23" fmla="*/ 466597 w 466597"/>
                <a:gd name="connsiteY23" fmla="*/ 152400 h 195263"/>
                <a:gd name="connsiteX24" fmla="*/ 454690 w 466597"/>
                <a:gd name="connsiteY24" fmla="*/ 133350 h 195263"/>
                <a:gd name="connsiteX25" fmla="*/ 452309 w 466597"/>
                <a:gd name="connsiteY25" fmla="*/ 71438 h 195263"/>
                <a:gd name="connsiteX26" fmla="*/ 428497 w 466597"/>
                <a:gd name="connsiteY26" fmla="*/ 61913 h 195263"/>
                <a:gd name="connsiteX27" fmla="*/ 414209 w 466597"/>
                <a:gd name="connsiteY27" fmla="*/ 33338 h 195263"/>
                <a:gd name="connsiteX28" fmla="*/ 390397 w 466597"/>
                <a:gd name="connsiteY28" fmla="*/ 16669 h 195263"/>
                <a:gd name="connsiteX29" fmla="*/ 371347 w 466597"/>
                <a:gd name="connsiteY29" fmla="*/ 16669 h 195263"/>
                <a:gd name="connsiteX30" fmla="*/ 340390 w 466597"/>
                <a:gd name="connsiteY30" fmla="*/ 35719 h 195263"/>
                <a:gd name="connsiteX31" fmla="*/ 307053 w 466597"/>
                <a:gd name="connsiteY31" fmla="*/ 33338 h 195263"/>
                <a:gd name="connsiteX32" fmla="*/ 254665 w 466597"/>
                <a:gd name="connsiteY32" fmla="*/ 33338 h 195263"/>
                <a:gd name="connsiteX33" fmla="*/ 228472 w 466597"/>
                <a:gd name="connsiteY33" fmla="*/ 23813 h 195263"/>
                <a:gd name="connsiteX34" fmla="*/ 202278 w 466597"/>
                <a:gd name="connsiteY34" fmla="*/ 0 h 195263"/>
                <a:gd name="connsiteX35" fmla="*/ 168940 w 466597"/>
                <a:gd name="connsiteY35" fmla="*/ 4763 h 195263"/>
                <a:gd name="connsiteX36" fmla="*/ 130840 w 466597"/>
                <a:gd name="connsiteY36" fmla="*/ 21431 h 195263"/>
                <a:gd name="connsiteX37" fmla="*/ 37971 w 466597"/>
                <a:gd name="connsiteY37" fmla="*/ 9525 h 195263"/>
                <a:gd name="connsiteX38" fmla="*/ 9398 w 466597"/>
                <a:gd name="connsiteY38" fmla="*/ 16669 h 19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6597" h="195263">
                  <a:moveTo>
                    <a:pt x="9398" y="16669"/>
                  </a:moveTo>
                  <a:cubicBezTo>
                    <a:pt x="7017" y="19050"/>
                    <a:pt x="-4890" y="38497"/>
                    <a:pt x="2253" y="42863"/>
                  </a:cubicBezTo>
                  <a:cubicBezTo>
                    <a:pt x="9396" y="47229"/>
                    <a:pt x="49878" y="37307"/>
                    <a:pt x="52259" y="42863"/>
                  </a:cubicBezTo>
                  <a:lnTo>
                    <a:pt x="37972" y="57150"/>
                  </a:lnTo>
                  <a:lnTo>
                    <a:pt x="4634" y="64294"/>
                  </a:lnTo>
                  <a:lnTo>
                    <a:pt x="4634" y="64294"/>
                  </a:lnTo>
                  <a:lnTo>
                    <a:pt x="16540" y="102394"/>
                  </a:lnTo>
                  <a:lnTo>
                    <a:pt x="16540" y="133350"/>
                  </a:lnTo>
                  <a:lnTo>
                    <a:pt x="35590" y="161925"/>
                  </a:lnTo>
                  <a:lnTo>
                    <a:pt x="95122" y="195263"/>
                  </a:lnTo>
                  <a:lnTo>
                    <a:pt x="116553" y="173831"/>
                  </a:lnTo>
                  <a:lnTo>
                    <a:pt x="157034" y="192881"/>
                  </a:lnTo>
                  <a:lnTo>
                    <a:pt x="199897" y="180975"/>
                  </a:lnTo>
                  <a:lnTo>
                    <a:pt x="223709" y="171450"/>
                  </a:lnTo>
                  <a:lnTo>
                    <a:pt x="237997" y="185738"/>
                  </a:lnTo>
                  <a:lnTo>
                    <a:pt x="257047" y="176213"/>
                  </a:lnTo>
                  <a:lnTo>
                    <a:pt x="254665" y="161925"/>
                  </a:lnTo>
                  <a:lnTo>
                    <a:pt x="273715" y="171450"/>
                  </a:lnTo>
                  <a:lnTo>
                    <a:pt x="295147" y="161925"/>
                  </a:lnTo>
                  <a:lnTo>
                    <a:pt x="323722" y="173831"/>
                  </a:lnTo>
                  <a:lnTo>
                    <a:pt x="392778" y="142875"/>
                  </a:lnTo>
                  <a:lnTo>
                    <a:pt x="404684" y="152400"/>
                  </a:lnTo>
                  <a:lnTo>
                    <a:pt x="442784" y="154781"/>
                  </a:lnTo>
                  <a:lnTo>
                    <a:pt x="466597" y="152400"/>
                  </a:lnTo>
                  <a:lnTo>
                    <a:pt x="454690" y="133350"/>
                  </a:lnTo>
                  <a:cubicBezTo>
                    <a:pt x="453896" y="112713"/>
                    <a:pt x="453103" y="92075"/>
                    <a:pt x="452309" y="71438"/>
                  </a:cubicBezTo>
                  <a:lnTo>
                    <a:pt x="428497" y="61913"/>
                  </a:lnTo>
                  <a:lnTo>
                    <a:pt x="414209" y="33338"/>
                  </a:lnTo>
                  <a:lnTo>
                    <a:pt x="390397" y="16669"/>
                  </a:lnTo>
                  <a:lnTo>
                    <a:pt x="371347" y="16669"/>
                  </a:lnTo>
                  <a:lnTo>
                    <a:pt x="340390" y="35719"/>
                  </a:lnTo>
                  <a:lnTo>
                    <a:pt x="307053" y="33338"/>
                  </a:lnTo>
                  <a:lnTo>
                    <a:pt x="254665" y="33338"/>
                  </a:lnTo>
                  <a:lnTo>
                    <a:pt x="228472" y="23813"/>
                  </a:lnTo>
                  <a:lnTo>
                    <a:pt x="202278" y="0"/>
                  </a:lnTo>
                  <a:lnTo>
                    <a:pt x="168940" y="4763"/>
                  </a:lnTo>
                  <a:lnTo>
                    <a:pt x="130840" y="21431"/>
                  </a:lnTo>
                  <a:lnTo>
                    <a:pt x="37971" y="9525"/>
                  </a:lnTo>
                  <a:lnTo>
                    <a:pt x="9398" y="1666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1" name="Freeform: Shape 208"/>
            <p:cNvSpPr/>
            <p:nvPr/>
          </p:nvSpPr>
          <p:spPr bwMode="auto">
            <a:xfrm>
              <a:off x="5083969" y="3424237"/>
              <a:ext cx="95250" cy="59531"/>
            </a:xfrm>
            <a:custGeom>
              <a:avLst/>
              <a:gdLst>
                <a:gd name="connsiteX0" fmla="*/ 0 w 95250"/>
                <a:gd name="connsiteY0" fmla="*/ 0 h 50006"/>
                <a:gd name="connsiteX1" fmla="*/ 30956 w 95250"/>
                <a:gd name="connsiteY1" fmla="*/ 50006 h 50006"/>
                <a:gd name="connsiteX2" fmla="*/ 95250 w 95250"/>
                <a:gd name="connsiteY2" fmla="*/ 11906 h 50006"/>
                <a:gd name="connsiteX3" fmla="*/ 57150 w 95250"/>
                <a:gd name="connsiteY3" fmla="*/ 2381 h 50006"/>
                <a:gd name="connsiteX4" fmla="*/ 0 w 95250"/>
                <a:gd name="connsiteY4" fmla="*/ 0 h 50006"/>
                <a:gd name="connsiteX0" fmla="*/ 0 w 95250"/>
                <a:gd name="connsiteY0" fmla="*/ 2382 h 52388"/>
                <a:gd name="connsiteX1" fmla="*/ 30956 w 95250"/>
                <a:gd name="connsiteY1" fmla="*/ 52388 h 52388"/>
                <a:gd name="connsiteX2" fmla="*/ 95250 w 95250"/>
                <a:gd name="connsiteY2" fmla="*/ 14288 h 52388"/>
                <a:gd name="connsiteX3" fmla="*/ 57150 w 95250"/>
                <a:gd name="connsiteY3" fmla="*/ 4763 h 52388"/>
                <a:gd name="connsiteX4" fmla="*/ 30956 w 95250"/>
                <a:gd name="connsiteY4" fmla="*/ 0 h 52388"/>
                <a:gd name="connsiteX5" fmla="*/ 0 w 95250"/>
                <a:gd name="connsiteY5" fmla="*/ 2382 h 52388"/>
                <a:gd name="connsiteX0" fmla="*/ 0 w 95250"/>
                <a:gd name="connsiteY0" fmla="*/ 9525 h 59531"/>
                <a:gd name="connsiteX1" fmla="*/ 30956 w 95250"/>
                <a:gd name="connsiteY1" fmla="*/ 59531 h 59531"/>
                <a:gd name="connsiteX2" fmla="*/ 95250 w 95250"/>
                <a:gd name="connsiteY2" fmla="*/ 21431 h 59531"/>
                <a:gd name="connsiteX3" fmla="*/ 57150 w 95250"/>
                <a:gd name="connsiteY3" fmla="*/ 11906 h 59531"/>
                <a:gd name="connsiteX4" fmla="*/ 35719 w 95250"/>
                <a:gd name="connsiteY4" fmla="*/ 0 h 59531"/>
                <a:gd name="connsiteX5" fmla="*/ 0 w 95250"/>
                <a:gd name="connsiteY5" fmla="*/ 9525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59531">
                  <a:moveTo>
                    <a:pt x="0" y="9525"/>
                  </a:moveTo>
                  <a:lnTo>
                    <a:pt x="30956" y="59531"/>
                  </a:lnTo>
                  <a:lnTo>
                    <a:pt x="95250" y="21431"/>
                  </a:lnTo>
                  <a:lnTo>
                    <a:pt x="57150" y="11906"/>
                  </a:lnTo>
                  <a:lnTo>
                    <a:pt x="35719" y="0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2" name="Freeform: Shape 209"/>
            <p:cNvSpPr/>
            <p:nvPr/>
          </p:nvSpPr>
          <p:spPr bwMode="auto">
            <a:xfrm>
              <a:off x="4857750" y="3757613"/>
              <a:ext cx="59531" cy="23812"/>
            </a:xfrm>
            <a:custGeom>
              <a:avLst/>
              <a:gdLst>
                <a:gd name="connsiteX0" fmla="*/ 0 w 59531"/>
                <a:gd name="connsiteY0" fmla="*/ 2381 h 23812"/>
                <a:gd name="connsiteX1" fmla="*/ 59531 w 59531"/>
                <a:gd name="connsiteY1" fmla="*/ 23812 h 23812"/>
                <a:gd name="connsiteX2" fmla="*/ 50006 w 59531"/>
                <a:gd name="connsiteY2" fmla="*/ 0 h 23812"/>
                <a:gd name="connsiteX3" fmla="*/ 0 w 59531"/>
                <a:gd name="connsiteY3" fmla="*/ 2381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31" h="23812">
                  <a:moveTo>
                    <a:pt x="0" y="2381"/>
                  </a:moveTo>
                  <a:lnTo>
                    <a:pt x="59531" y="23812"/>
                  </a:lnTo>
                  <a:lnTo>
                    <a:pt x="50006" y="0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3" name="Freeform: Shape 210"/>
            <p:cNvSpPr/>
            <p:nvPr/>
          </p:nvSpPr>
          <p:spPr bwMode="auto">
            <a:xfrm rot="18190164">
              <a:off x="5079709" y="3759515"/>
              <a:ext cx="45719" cy="45719"/>
            </a:xfrm>
            <a:custGeom>
              <a:avLst/>
              <a:gdLst>
                <a:gd name="connsiteX0" fmla="*/ 0 w 59531"/>
                <a:gd name="connsiteY0" fmla="*/ 2381 h 23812"/>
                <a:gd name="connsiteX1" fmla="*/ 59531 w 59531"/>
                <a:gd name="connsiteY1" fmla="*/ 23812 h 23812"/>
                <a:gd name="connsiteX2" fmla="*/ 50006 w 59531"/>
                <a:gd name="connsiteY2" fmla="*/ 0 h 23812"/>
                <a:gd name="connsiteX3" fmla="*/ 0 w 59531"/>
                <a:gd name="connsiteY3" fmla="*/ 2381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31" h="23812">
                  <a:moveTo>
                    <a:pt x="0" y="2381"/>
                  </a:moveTo>
                  <a:lnTo>
                    <a:pt x="59531" y="23812"/>
                  </a:lnTo>
                  <a:lnTo>
                    <a:pt x="50006" y="0"/>
                  </a:lnTo>
                  <a:lnTo>
                    <a:pt x="0" y="238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4" name="Freeform: Shape 211"/>
            <p:cNvSpPr/>
            <p:nvPr/>
          </p:nvSpPr>
          <p:spPr bwMode="auto">
            <a:xfrm>
              <a:off x="5229225" y="3702844"/>
              <a:ext cx="254794" cy="235744"/>
            </a:xfrm>
            <a:custGeom>
              <a:avLst/>
              <a:gdLst>
                <a:gd name="connsiteX0" fmla="*/ 195263 w 254794"/>
                <a:gd name="connsiteY0" fmla="*/ 235744 h 235744"/>
                <a:gd name="connsiteX1" fmla="*/ 147638 w 254794"/>
                <a:gd name="connsiteY1" fmla="*/ 235744 h 235744"/>
                <a:gd name="connsiteX2" fmla="*/ 85725 w 254794"/>
                <a:gd name="connsiteY2" fmla="*/ 178594 h 235744"/>
                <a:gd name="connsiteX3" fmla="*/ 16669 w 254794"/>
                <a:gd name="connsiteY3" fmla="*/ 152400 h 235744"/>
                <a:gd name="connsiteX4" fmla="*/ 0 w 254794"/>
                <a:gd name="connsiteY4" fmla="*/ 114300 h 235744"/>
                <a:gd name="connsiteX5" fmla="*/ 59531 w 254794"/>
                <a:gd name="connsiteY5" fmla="*/ 85725 h 235744"/>
                <a:gd name="connsiteX6" fmla="*/ 73819 w 254794"/>
                <a:gd name="connsiteY6" fmla="*/ 35719 h 235744"/>
                <a:gd name="connsiteX7" fmla="*/ 92869 w 254794"/>
                <a:gd name="connsiteY7" fmla="*/ 4762 h 235744"/>
                <a:gd name="connsiteX8" fmla="*/ 138113 w 254794"/>
                <a:gd name="connsiteY8" fmla="*/ 4762 h 235744"/>
                <a:gd name="connsiteX9" fmla="*/ 164306 w 254794"/>
                <a:gd name="connsiteY9" fmla="*/ 0 h 235744"/>
                <a:gd name="connsiteX10" fmla="*/ 195263 w 254794"/>
                <a:gd name="connsiteY10" fmla="*/ 59531 h 235744"/>
                <a:gd name="connsiteX11" fmla="*/ 188119 w 254794"/>
                <a:gd name="connsiteY11" fmla="*/ 109537 h 235744"/>
                <a:gd name="connsiteX12" fmla="*/ 238125 w 254794"/>
                <a:gd name="connsiteY12" fmla="*/ 145256 h 235744"/>
                <a:gd name="connsiteX13" fmla="*/ 254794 w 254794"/>
                <a:gd name="connsiteY13" fmla="*/ 209550 h 235744"/>
                <a:gd name="connsiteX14" fmla="*/ 195263 w 254794"/>
                <a:gd name="connsiteY14" fmla="*/ 235744 h 235744"/>
                <a:gd name="connsiteX0" fmla="*/ 195263 w 254794"/>
                <a:gd name="connsiteY0" fmla="*/ 235744 h 235744"/>
                <a:gd name="connsiteX1" fmla="*/ 147638 w 254794"/>
                <a:gd name="connsiteY1" fmla="*/ 235744 h 235744"/>
                <a:gd name="connsiteX2" fmla="*/ 85725 w 254794"/>
                <a:gd name="connsiteY2" fmla="*/ 178594 h 235744"/>
                <a:gd name="connsiteX3" fmla="*/ 16669 w 254794"/>
                <a:gd name="connsiteY3" fmla="*/ 152400 h 235744"/>
                <a:gd name="connsiteX4" fmla="*/ 0 w 254794"/>
                <a:gd name="connsiteY4" fmla="*/ 114300 h 235744"/>
                <a:gd name="connsiteX5" fmla="*/ 59531 w 254794"/>
                <a:gd name="connsiteY5" fmla="*/ 85725 h 235744"/>
                <a:gd name="connsiteX6" fmla="*/ 73819 w 254794"/>
                <a:gd name="connsiteY6" fmla="*/ 35719 h 235744"/>
                <a:gd name="connsiteX7" fmla="*/ 92869 w 254794"/>
                <a:gd name="connsiteY7" fmla="*/ 4762 h 235744"/>
                <a:gd name="connsiteX8" fmla="*/ 138113 w 254794"/>
                <a:gd name="connsiteY8" fmla="*/ 4762 h 235744"/>
                <a:gd name="connsiteX9" fmla="*/ 164306 w 254794"/>
                <a:gd name="connsiteY9" fmla="*/ 0 h 235744"/>
                <a:gd name="connsiteX10" fmla="*/ 195263 w 254794"/>
                <a:gd name="connsiteY10" fmla="*/ 59531 h 235744"/>
                <a:gd name="connsiteX11" fmla="*/ 188119 w 254794"/>
                <a:gd name="connsiteY11" fmla="*/ 109537 h 235744"/>
                <a:gd name="connsiteX12" fmla="*/ 238125 w 254794"/>
                <a:gd name="connsiteY12" fmla="*/ 145256 h 235744"/>
                <a:gd name="connsiteX13" fmla="*/ 254794 w 254794"/>
                <a:gd name="connsiteY13" fmla="*/ 209550 h 235744"/>
                <a:gd name="connsiteX14" fmla="*/ 226219 w 254794"/>
                <a:gd name="connsiteY14" fmla="*/ 216694 h 235744"/>
                <a:gd name="connsiteX15" fmla="*/ 195263 w 254794"/>
                <a:gd name="connsiteY15" fmla="*/ 235744 h 235744"/>
                <a:gd name="connsiteX0" fmla="*/ 195263 w 254794"/>
                <a:gd name="connsiteY0" fmla="*/ 235744 h 235744"/>
                <a:gd name="connsiteX1" fmla="*/ 147638 w 254794"/>
                <a:gd name="connsiteY1" fmla="*/ 235744 h 235744"/>
                <a:gd name="connsiteX2" fmla="*/ 85725 w 254794"/>
                <a:gd name="connsiteY2" fmla="*/ 178594 h 235744"/>
                <a:gd name="connsiteX3" fmla="*/ 16669 w 254794"/>
                <a:gd name="connsiteY3" fmla="*/ 152400 h 235744"/>
                <a:gd name="connsiteX4" fmla="*/ 0 w 254794"/>
                <a:gd name="connsiteY4" fmla="*/ 114300 h 235744"/>
                <a:gd name="connsiteX5" fmla="*/ 59531 w 254794"/>
                <a:gd name="connsiteY5" fmla="*/ 85725 h 235744"/>
                <a:gd name="connsiteX6" fmla="*/ 73819 w 254794"/>
                <a:gd name="connsiteY6" fmla="*/ 35719 h 235744"/>
                <a:gd name="connsiteX7" fmla="*/ 92869 w 254794"/>
                <a:gd name="connsiteY7" fmla="*/ 4762 h 235744"/>
                <a:gd name="connsiteX8" fmla="*/ 138113 w 254794"/>
                <a:gd name="connsiteY8" fmla="*/ 4762 h 235744"/>
                <a:gd name="connsiteX9" fmla="*/ 164306 w 254794"/>
                <a:gd name="connsiteY9" fmla="*/ 0 h 235744"/>
                <a:gd name="connsiteX10" fmla="*/ 195263 w 254794"/>
                <a:gd name="connsiteY10" fmla="*/ 59531 h 235744"/>
                <a:gd name="connsiteX11" fmla="*/ 188119 w 254794"/>
                <a:gd name="connsiteY11" fmla="*/ 109537 h 235744"/>
                <a:gd name="connsiteX12" fmla="*/ 238125 w 254794"/>
                <a:gd name="connsiteY12" fmla="*/ 145256 h 235744"/>
                <a:gd name="connsiteX13" fmla="*/ 254794 w 254794"/>
                <a:gd name="connsiteY13" fmla="*/ 209550 h 235744"/>
                <a:gd name="connsiteX14" fmla="*/ 221457 w 254794"/>
                <a:gd name="connsiteY14" fmla="*/ 192882 h 235744"/>
                <a:gd name="connsiteX15" fmla="*/ 195263 w 254794"/>
                <a:gd name="connsiteY15" fmla="*/ 235744 h 23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4794" h="235744">
                  <a:moveTo>
                    <a:pt x="195263" y="235744"/>
                  </a:moveTo>
                  <a:lnTo>
                    <a:pt x="147638" y="235744"/>
                  </a:lnTo>
                  <a:lnTo>
                    <a:pt x="85725" y="178594"/>
                  </a:lnTo>
                  <a:lnTo>
                    <a:pt x="16669" y="152400"/>
                  </a:lnTo>
                  <a:lnTo>
                    <a:pt x="0" y="114300"/>
                  </a:lnTo>
                  <a:lnTo>
                    <a:pt x="59531" y="85725"/>
                  </a:lnTo>
                  <a:lnTo>
                    <a:pt x="73819" y="35719"/>
                  </a:lnTo>
                  <a:lnTo>
                    <a:pt x="92869" y="4762"/>
                  </a:lnTo>
                  <a:lnTo>
                    <a:pt x="138113" y="4762"/>
                  </a:lnTo>
                  <a:lnTo>
                    <a:pt x="164306" y="0"/>
                  </a:lnTo>
                  <a:lnTo>
                    <a:pt x="195263" y="59531"/>
                  </a:lnTo>
                  <a:lnTo>
                    <a:pt x="188119" y="109537"/>
                  </a:lnTo>
                  <a:lnTo>
                    <a:pt x="238125" y="145256"/>
                  </a:lnTo>
                  <a:lnTo>
                    <a:pt x="254794" y="209550"/>
                  </a:lnTo>
                  <a:lnTo>
                    <a:pt x="221457" y="192882"/>
                  </a:lnTo>
                  <a:lnTo>
                    <a:pt x="195263" y="23574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5" name="Freeform: Shape 212"/>
            <p:cNvSpPr/>
            <p:nvPr/>
          </p:nvSpPr>
          <p:spPr bwMode="auto">
            <a:xfrm rot="2301587">
              <a:off x="5150268" y="3785229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6" name="Freeform: Shape 213"/>
            <p:cNvSpPr/>
            <p:nvPr/>
          </p:nvSpPr>
          <p:spPr bwMode="auto">
            <a:xfrm rot="2301587">
              <a:off x="5130585" y="3833221"/>
              <a:ext cx="38574" cy="71164"/>
            </a:xfrm>
            <a:custGeom>
              <a:avLst/>
              <a:gdLst>
                <a:gd name="connsiteX0" fmla="*/ 0 w 45244"/>
                <a:gd name="connsiteY0" fmla="*/ 0 h 78581"/>
                <a:gd name="connsiteX1" fmla="*/ 14288 w 45244"/>
                <a:gd name="connsiteY1" fmla="*/ 78581 h 78581"/>
                <a:gd name="connsiteX2" fmla="*/ 45244 w 45244"/>
                <a:gd name="connsiteY2" fmla="*/ 50006 h 78581"/>
                <a:gd name="connsiteX3" fmla="*/ 0 w 45244"/>
                <a:gd name="connsiteY3" fmla="*/ 0 h 78581"/>
                <a:gd name="connsiteX0" fmla="*/ 0 w 45244"/>
                <a:gd name="connsiteY0" fmla="*/ 0 h 78581"/>
                <a:gd name="connsiteX1" fmla="*/ 14288 w 45244"/>
                <a:gd name="connsiteY1" fmla="*/ 78581 h 78581"/>
                <a:gd name="connsiteX2" fmla="*/ 45244 w 45244"/>
                <a:gd name="connsiteY2" fmla="*/ 50006 h 78581"/>
                <a:gd name="connsiteX3" fmla="*/ 26194 w 45244"/>
                <a:gd name="connsiteY3" fmla="*/ 38100 h 78581"/>
                <a:gd name="connsiteX4" fmla="*/ 0 w 45244"/>
                <a:gd name="connsiteY4" fmla="*/ 0 h 78581"/>
                <a:gd name="connsiteX0" fmla="*/ 0 w 45244"/>
                <a:gd name="connsiteY0" fmla="*/ 0 h 78581"/>
                <a:gd name="connsiteX1" fmla="*/ 14288 w 45244"/>
                <a:gd name="connsiteY1" fmla="*/ 78581 h 78581"/>
                <a:gd name="connsiteX2" fmla="*/ 45244 w 45244"/>
                <a:gd name="connsiteY2" fmla="*/ 50006 h 78581"/>
                <a:gd name="connsiteX3" fmla="*/ 33338 w 45244"/>
                <a:gd name="connsiteY3" fmla="*/ 2381 h 78581"/>
                <a:gd name="connsiteX4" fmla="*/ 0 w 45244"/>
                <a:gd name="connsiteY4" fmla="*/ 0 h 78581"/>
                <a:gd name="connsiteX0" fmla="*/ 0 w 45244"/>
                <a:gd name="connsiteY0" fmla="*/ 0 h 50006"/>
                <a:gd name="connsiteX1" fmla="*/ 6670 w 45244"/>
                <a:gd name="connsiteY1" fmla="*/ 42097 h 50006"/>
                <a:gd name="connsiteX2" fmla="*/ 45244 w 45244"/>
                <a:gd name="connsiteY2" fmla="*/ 50006 h 50006"/>
                <a:gd name="connsiteX3" fmla="*/ 33338 w 45244"/>
                <a:gd name="connsiteY3" fmla="*/ 2381 h 50006"/>
                <a:gd name="connsiteX4" fmla="*/ 0 w 45244"/>
                <a:gd name="connsiteY4" fmla="*/ 0 h 50006"/>
                <a:gd name="connsiteX0" fmla="*/ 0 w 45244"/>
                <a:gd name="connsiteY0" fmla="*/ 21115 h 71121"/>
                <a:gd name="connsiteX1" fmla="*/ 6670 w 45244"/>
                <a:gd name="connsiteY1" fmla="*/ 63212 h 71121"/>
                <a:gd name="connsiteX2" fmla="*/ 45244 w 45244"/>
                <a:gd name="connsiteY2" fmla="*/ 71121 h 71121"/>
                <a:gd name="connsiteX3" fmla="*/ 20816 w 45244"/>
                <a:gd name="connsiteY3" fmla="*/ 0 h 71121"/>
                <a:gd name="connsiteX4" fmla="*/ 0 w 45244"/>
                <a:gd name="connsiteY4" fmla="*/ 21115 h 71121"/>
                <a:gd name="connsiteX0" fmla="*/ 878 w 38574"/>
                <a:gd name="connsiteY0" fmla="*/ 0 h 71164"/>
                <a:gd name="connsiteX1" fmla="*/ 0 w 38574"/>
                <a:gd name="connsiteY1" fmla="*/ 63255 h 71164"/>
                <a:gd name="connsiteX2" fmla="*/ 38574 w 38574"/>
                <a:gd name="connsiteY2" fmla="*/ 71164 h 71164"/>
                <a:gd name="connsiteX3" fmla="*/ 14146 w 38574"/>
                <a:gd name="connsiteY3" fmla="*/ 43 h 71164"/>
                <a:gd name="connsiteX4" fmla="*/ 878 w 38574"/>
                <a:gd name="connsiteY4" fmla="*/ 0 h 7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74" h="71164">
                  <a:moveTo>
                    <a:pt x="878" y="0"/>
                  </a:moveTo>
                  <a:cubicBezTo>
                    <a:pt x="585" y="21085"/>
                    <a:pt x="293" y="42170"/>
                    <a:pt x="0" y="63255"/>
                  </a:cubicBezTo>
                  <a:lnTo>
                    <a:pt x="38574" y="71164"/>
                  </a:lnTo>
                  <a:lnTo>
                    <a:pt x="14146" y="43"/>
                  </a:lnTo>
                  <a:lnTo>
                    <a:pt x="878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7" name="Freeform: Shape 214"/>
            <p:cNvSpPr/>
            <p:nvPr/>
          </p:nvSpPr>
          <p:spPr bwMode="auto">
            <a:xfrm>
              <a:off x="5160169" y="3695700"/>
              <a:ext cx="171450" cy="152400"/>
            </a:xfrm>
            <a:custGeom>
              <a:avLst/>
              <a:gdLst>
                <a:gd name="connsiteX0" fmla="*/ 0 w 171450"/>
                <a:gd name="connsiteY0" fmla="*/ 40481 h 152400"/>
                <a:gd name="connsiteX1" fmla="*/ 2381 w 171450"/>
                <a:gd name="connsiteY1" fmla="*/ 90488 h 152400"/>
                <a:gd name="connsiteX2" fmla="*/ 19050 w 171450"/>
                <a:gd name="connsiteY2" fmla="*/ 88106 h 152400"/>
                <a:gd name="connsiteX3" fmla="*/ 21431 w 171450"/>
                <a:gd name="connsiteY3" fmla="*/ 104775 h 152400"/>
                <a:gd name="connsiteX4" fmla="*/ 2381 w 171450"/>
                <a:gd name="connsiteY4" fmla="*/ 133350 h 152400"/>
                <a:gd name="connsiteX5" fmla="*/ 7144 w 171450"/>
                <a:gd name="connsiteY5" fmla="*/ 152400 h 152400"/>
                <a:gd name="connsiteX6" fmla="*/ 7144 w 171450"/>
                <a:gd name="connsiteY6" fmla="*/ 152400 h 152400"/>
                <a:gd name="connsiteX7" fmla="*/ 133350 w 171450"/>
                <a:gd name="connsiteY7" fmla="*/ 92869 h 152400"/>
                <a:gd name="connsiteX8" fmla="*/ 142875 w 171450"/>
                <a:gd name="connsiteY8" fmla="*/ 38100 h 152400"/>
                <a:gd name="connsiteX9" fmla="*/ 171450 w 171450"/>
                <a:gd name="connsiteY9" fmla="*/ 7144 h 152400"/>
                <a:gd name="connsiteX10" fmla="*/ 157162 w 171450"/>
                <a:gd name="connsiteY10" fmla="*/ 0 h 152400"/>
                <a:gd name="connsiteX11" fmla="*/ 85725 w 171450"/>
                <a:gd name="connsiteY11" fmla="*/ 28575 h 152400"/>
                <a:gd name="connsiteX12" fmla="*/ 66675 w 171450"/>
                <a:gd name="connsiteY12" fmla="*/ 19050 h 152400"/>
                <a:gd name="connsiteX13" fmla="*/ 0 w 171450"/>
                <a:gd name="connsiteY13" fmla="*/ 40481 h 152400"/>
                <a:gd name="connsiteX0" fmla="*/ 0 w 171450"/>
                <a:gd name="connsiteY0" fmla="*/ 40481 h 152400"/>
                <a:gd name="connsiteX1" fmla="*/ 2381 w 171450"/>
                <a:gd name="connsiteY1" fmla="*/ 90488 h 152400"/>
                <a:gd name="connsiteX2" fmla="*/ 19050 w 171450"/>
                <a:gd name="connsiteY2" fmla="*/ 88106 h 152400"/>
                <a:gd name="connsiteX3" fmla="*/ 21431 w 171450"/>
                <a:gd name="connsiteY3" fmla="*/ 104775 h 152400"/>
                <a:gd name="connsiteX4" fmla="*/ 2381 w 171450"/>
                <a:gd name="connsiteY4" fmla="*/ 133350 h 152400"/>
                <a:gd name="connsiteX5" fmla="*/ 7144 w 171450"/>
                <a:gd name="connsiteY5" fmla="*/ 152400 h 152400"/>
                <a:gd name="connsiteX6" fmla="*/ 7144 w 171450"/>
                <a:gd name="connsiteY6" fmla="*/ 152400 h 152400"/>
                <a:gd name="connsiteX7" fmla="*/ 133350 w 171450"/>
                <a:gd name="connsiteY7" fmla="*/ 92869 h 152400"/>
                <a:gd name="connsiteX8" fmla="*/ 142875 w 171450"/>
                <a:gd name="connsiteY8" fmla="*/ 38100 h 152400"/>
                <a:gd name="connsiteX9" fmla="*/ 171450 w 171450"/>
                <a:gd name="connsiteY9" fmla="*/ 7144 h 152400"/>
                <a:gd name="connsiteX10" fmla="*/ 157162 w 171450"/>
                <a:gd name="connsiteY10" fmla="*/ 0 h 152400"/>
                <a:gd name="connsiteX11" fmla="*/ 85725 w 171450"/>
                <a:gd name="connsiteY11" fmla="*/ 28575 h 152400"/>
                <a:gd name="connsiteX12" fmla="*/ 66675 w 171450"/>
                <a:gd name="connsiteY12" fmla="*/ 19050 h 152400"/>
                <a:gd name="connsiteX13" fmla="*/ 30956 w 171450"/>
                <a:gd name="connsiteY13" fmla="*/ 30956 h 152400"/>
                <a:gd name="connsiteX14" fmla="*/ 0 w 171450"/>
                <a:gd name="connsiteY14" fmla="*/ 40481 h 152400"/>
                <a:gd name="connsiteX0" fmla="*/ 0 w 171450"/>
                <a:gd name="connsiteY0" fmla="*/ 40481 h 152400"/>
                <a:gd name="connsiteX1" fmla="*/ 2381 w 171450"/>
                <a:gd name="connsiteY1" fmla="*/ 90488 h 152400"/>
                <a:gd name="connsiteX2" fmla="*/ 19050 w 171450"/>
                <a:gd name="connsiteY2" fmla="*/ 88106 h 152400"/>
                <a:gd name="connsiteX3" fmla="*/ 21431 w 171450"/>
                <a:gd name="connsiteY3" fmla="*/ 104775 h 152400"/>
                <a:gd name="connsiteX4" fmla="*/ 2381 w 171450"/>
                <a:gd name="connsiteY4" fmla="*/ 133350 h 152400"/>
                <a:gd name="connsiteX5" fmla="*/ 7144 w 171450"/>
                <a:gd name="connsiteY5" fmla="*/ 152400 h 152400"/>
                <a:gd name="connsiteX6" fmla="*/ 7144 w 171450"/>
                <a:gd name="connsiteY6" fmla="*/ 152400 h 152400"/>
                <a:gd name="connsiteX7" fmla="*/ 133350 w 171450"/>
                <a:gd name="connsiteY7" fmla="*/ 92869 h 152400"/>
                <a:gd name="connsiteX8" fmla="*/ 142875 w 171450"/>
                <a:gd name="connsiteY8" fmla="*/ 38100 h 152400"/>
                <a:gd name="connsiteX9" fmla="*/ 171450 w 171450"/>
                <a:gd name="connsiteY9" fmla="*/ 7144 h 152400"/>
                <a:gd name="connsiteX10" fmla="*/ 157162 w 171450"/>
                <a:gd name="connsiteY10" fmla="*/ 0 h 152400"/>
                <a:gd name="connsiteX11" fmla="*/ 85725 w 171450"/>
                <a:gd name="connsiteY11" fmla="*/ 28575 h 152400"/>
                <a:gd name="connsiteX12" fmla="*/ 66675 w 171450"/>
                <a:gd name="connsiteY12" fmla="*/ 19050 h 152400"/>
                <a:gd name="connsiteX13" fmla="*/ 23813 w 171450"/>
                <a:gd name="connsiteY13" fmla="*/ 14288 h 152400"/>
                <a:gd name="connsiteX14" fmla="*/ 0 w 171450"/>
                <a:gd name="connsiteY14" fmla="*/ 40481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450" h="152400">
                  <a:moveTo>
                    <a:pt x="0" y="40481"/>
                  </a:moveTo>
                  <a:lnTo>
                    <a:pt x="2381" y="90488"/>
                  </a:lnTo>
                  <a:lnTo>
                    <a:pt x="19050" y="88106"/>
                  </a:lnTo>
                  <a:lnTo>
                    <a:pt x="21431" y="104775"/>
                  </a:lnTo>
                  <a:lnTo>
                    <a:pt x="2381" y="133350"/>
                  </a:lnTo>
                  <a:lnTo>
                    <a:pt x="7144" y="152400"/>
                  </a:lnTo>
                  <a:lnTo>
                    <a:pt x="7144" y="152400"/>
                  </a:lnTo>
                  <a:lnTo>
                    <a:pt x="133350" y="92869"/>
                  </a:lnTo>
                  <a:lnTo>
                    <a:pt x="142875" y="38100"/>
                  </a:lnTo>
                  <a:lnTo>
                    <a:pt x="171450" y="7144"/>
                  </a:lnTo>
                  <a:lnTo>
                    <a:pt x="157162" y="0"/>
                  </a:lnTo>
                  <a:lnTo>
                    <a:pt x="85725" y="28575"/>
                  </a:lnTo>
                  <a:lnTo>
                    <a:pt x="66675" y="19050"/>
                  </a:lnTo>
                  <a:lnTo>
                    <a:pt x="23813" y="14288"/>
                  </a:lnTo>
                  <a:lnTo>
                    <a:pt x="0" y="4048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8" name="Freeform: Shape 215"/>
            <p:cNvSpPr/>
            <p:nvPr/>
          </p:nvSpPr>
          <p:spPr bwMode="auto">
            <a:xfrm>
              <a:off x="5138738" y="3817143"/>
              <a:ext cx="109537" cy="128588"/>
            </a:xfrm>
            <a:custGeom>
              <a:avLst/>
              <a:gdLst>
                <a:gd name="connsiteX0" fmla="*/ 109537 w 109537"/>
                <a:gd name="connsiteY0" fmla="*/ 14287 h 100012"/>
                <a:gd name="connsiteX1" fmla="*/ 50006 w 109537"/>
                <a:gd name="connsiteY1" fmla="*/ 35719 h 100012"/>
                <a:gd name="connsiteX2" fmla="*/ 76200 w 109537"/>
                <a:gd name="connsiteY2" fmla="*/ 57150 h 100012"/>
                <a:gd name="connsiteX3" fmla="*/ 57150 w 109537"/>
                <a:gd name="connsiteY3" fmla="*/ 78581 h 100012"/>
                <a:gd name="connsiteX4" fmla="*/ 40481 w 109537"/>
                <a:gd name="connsiteY4" fmla="*/ 85725 h 100012"/>
                <a:gd name="connsiteX5" fmla="*/ 23812 w 109537"/>
                <a:gd name="connsiteY5" fmla="*/ 100012 h 100012"/>
                <a:gd name="connsiteX6" fmla="*/ 0 w 109537"/>
                <a:gd name="connsiteY6" fmla="*/ 88106 h 100012"/>
                <a:gd name="connsiteX7" fmla="*/ 19050 w 109537"/>
                <a:gd name="connsiteY7" fmla="*/ 0 h 100012"/>
                <a:gd name="connsiteX8" fmla="*/ 109537 w 109537"/>
                <a:gd name="connsiteY8" fmla="*/ 14287 h 100012"/>
                <a:gd name="connsiteX0" fmla="*/ 109537 w 109537"/>
                <a:gd name="connsiteY0" fmla="*/ 14287 h 100012"/>
                <a:gd name="connsiteX1" fmla="*/ 50006 w 109537"/>
                <a:gd name="connsiteY1" fmla="*/ 35719 h 100012"/>
                <a:gd name="connsiteX2" fmla="*/ 76200 w 109537"/>
                <a:gd name="connsiteY2" fmla="*/ 57150 h 100012"/>
                <a:gd name="connsiteX3" fmla="*/ 57150 w 109537"/>
                <a:gd name="connsiteY3" fmla="*/ 78581 h 100012"/>
                <a:gd name="connsiteX4" fmla="*/ 40481 w 109537"/>
                <a:gd name="connsiteY4" fmla="*/ 85725 h 100012"/>
                <a:gd name="connsiteX5" fmla="*/ 23812 w 109537"/>
                <a:gd name="connsiteY5" fmla="*/ 100012 h 100012"/>
                <a:gd name="connsiteX6" fmla="*/ 0 w 109537"/>
                <a:gd name="connsiteY6" fmla="*/ 88106 h 100012"/>
                <a:gd name="connsiteX7" fmla="*/ 19050 w 109537"/>
                <a:gd name="connsiteY7" fmla="*/ 0 h 100012"/>
                <a:gd name="connsiteX8" fmla="*/ 76200 w 109537"/>
                <a:gd name="connsiteY8" fmla="*/ 11906 h 100012"/>
                <a:gd name="connsiteX9" fmla="*/ 109537 w 109537"/>
                <a:gd name="connsiteY9" fmla="*/ 14287 h 100012"/>
                <a:gd name="connsiteX0" fmla="*/ 109537 w 109537"/>
                <a:gd name="connsiteY0" fmla="*/ 42863 h 128588"/>
                <a:gd name="connsiteX1" fmla="*/ 50006 w 109537"/>
                <a:gd name="connsiteY1" fmla="*/ 64295 h 128588"/>
                <a:gd name="connsiteX2" fmla="*/ 76200 w 109537"/>
                <a:gd name="connsiteY2" fmla="*/ 85726 h 128588"/>
                <a:gd name="connsiteX3" fmla="*/ 57150 w 109537"/>
                <a:gd name="connsiteY3" fmla="*/ 107157 h 128588"/>
                <a:gd name="connsiteX4" fmla="*/ 40481 w 109537"/>
                <a:gd name="connsiteY4" fmla="*/ 114301 h 128588"/>
                <a:gd name="connsiteX5" fmla="*/ 23812 w 109537"/>
                <a:gd name="connsiteY5" fmla="*/ 128588 h 128588"/>
                <a:gd name="connsiteX6" fmla="*/ 0 w 109537"/>
                <a:gd name="connsiteY6" fmla="*/ 116682 h 128588"/>
                <a:gd name="connsiteX7" fmla="*/ 19050 w 109537"/>
                <a:gd name="connsiteY7" fmla="*/ 28576 h 128588"/>
                <a:gd name="connsiteX8" fmla="*/ 92869 w 109537"/>
                <a:gd name="connsiteY8" fmla="*/ 0 h 128588"/>
                <a:gd name="connsiteX9" fmla="*/ 109537 w 109537"/>
                <a:gd name="connsiteY9" fmla="*/ 42863 h 12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9537" h="128588">
                  <a:moveTo>
                    <a:pt x="109537" y="42863"/>
                  </a:moveTo>
                  <a:lnTo>
                    <a:pt x="50006" y="64295"/>
                  </a:lnTo>
                  <a:lnTo>
                    <a:pt x="76200" y="85726"/>
                  </a:lnTo>
                  <a:lnTo>
                    <a:pt x="57150" y="107157"/>
                  </a:lnTo>
                  <a:lnTo>
                    <a:pt x="40481" y="114301"/>
                  </a:lnTo>
                  <a:lnTo>
                    <a:pt x="23812" y="128588"/>
                  </a:lnTo>
                  <a:lnTo>
                    <a:pt x="0" y="116682"/>
                  </a:lnTo>
                  <a:lnTo>
                    <a:pt x="19050" y="28576"/>
                  </a:lnTo>
                  <a:lnTo>
                    <a:pt x="92869" y="0"/>
                  </a:lnTo>
                  <a:lnTo>
                    <a:pt x="109537" y="428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9" name="Freeform: Shape 216"/>
            <p:cNvSpPr/>
            <p:nvPr/>
          </p:nvSpPr>
          <p:spPr bwMode="auto">
            <a:xfrm>
              <a:off x="4512469" y="4352925"/>
              <a:ext cx="173831" cy="271463"/>
            </a:xfrm>
            <a:custGeom>
              <a:avLst/>
              <a:gdLst>
                <a:gd name="connsiteX0" fmla="*/ 133350 w 173831"/>
                <a:gd name="connsiteY0" fmla="*/ 0 h 259557"/>
                <a:gd name="connsiteX1" fmla="*/ 97631 w 173831"/>
                <a:gd name="connsiteY1" fmla="*/ 92869 h 259557"/>
                <a:gd name="connsiteX2" fmla="*/ 61912 w 173831"/>
                <a:gd name="connsiteY2" fmla="*/ 142875 h 259557"/>
                <a:gd name="connsiteX3" fmla="*/ 28575 w 173831"/>
                <a:gd name="connsiteY3" fmla="*/ 126207 h 259557"/>
                <a:gd name="connsiteX4" fmla="*/ 7144 w 173831"/>
                <a:gd name="connsiteY4" fmla="*/ 152400 h 259557"/>
                <a:gd name="connsiteX5" fmla="*/ 0 w 173831"/>
                <a:gd name="connsiteY5" fmla="*/ 192882 h 259557"/>
                <a:gd name="connsiteX6" fmla="*/ 23812 w 173831"/>
                <a:gd name="connsiteY6" fmla="*/ 221457 h 259557"/>
                <a:gd name="connsiteX7" fmla="*/ 35719 w 173831"/>
                <a:gd name="connsiteY7" fmla="*/ 254794 h 259557"/>
                <a:gd name="connsiteX8" fmla="*/ 102394 w 173831"/>
                <a:gd name="connsiteY8" fmla="*/ 259557 h 259557"/>
                <a:gd name="connsiteX9" fmla="*/ 107156 w 173831"/>
                <a:gd name="connsiteY9" fmla="*/ 247650 h 259557"/>
                <a:gd name="connsiteX10" fmla="*/ 171450 w 173831"/>
                <a:gd name="connsiteY10" fmla="*/ 259557 h 259557"/>
                <a:gd name="connsiteX11" fmla="*/ 173831 w 173831"/>
                <a:gd name="connsiteY11" fmla="*/ 240507 h 259557"/>
                <a:gd name="connsiteX12" fmla="*/ 142875 w 173831"/>
                <a:gd name="connsiteY12" fmla="*/ 173832 h 259557"/>
                <a:gd name="connsiteX13" fmla="*/ 159544 w 173831"/>
                <a:gd name="connsiteY13" fmla="*/ 111919 h 259557"/>
                <a:gd name="connsiteX14" fmla="*/ 147637 w 173831"/>
                <a:gd name="connsiteY14" fmla="*/ 85725 h 259557"/>
                <a:gd name="connsiteX15" fmla="*/ 130969 w 173831"/>
                <a:gd name="connsiteY15" fmla="*/ 71438 h 259557"/>
                <a:gd name="connsiteX16" fmla="*/ 145256 w 173831"/>
                <a:gd name="connsiteY16" fmla="*/ 61913 h 259557"/>
                <a:gd name="connsiteX17" fmla="*/ 133350 w 173831"/>
                <a:gd name="connsiteY17" fmla="*/ 0 h 259557"/>
                <a:gd name="connsiteX0" fmla="*/ 133350 w 173831"/>
                <a:gd name="connsiteY0" fmla="*/ 0 h 259557"/>
                <a:gd name="connsiteX1" fmla="*/ 97631 w 173831"/>
                <a:gd name="connsiteY1" fmla="*/ 92869 h 259557"/>
                <a:gd name="connsiteX2" fmla="*/ 61912 w 173831"/>
                <a:gd name="connsiteY2" fmla="*/ 142875 h 259557"/>
                <a:gd name="connsiteX3" fmla="*/ 28575 w 173831"/>
                <a:gd name="connsiteY3" fmla="*/ 126207 h 259557"/>
                <a:gd name="connsiteX4" fmla="*/ 7144 w 173831"/>
                <a:gd name="connsiteY4" fmla="*/ 152400 h 259557"/>
                <a:gd name="connsiteX5" fmla="*/ 0 w 173831"/>
                <a:gd name="connsiteY5" fmla="*/ 192882 h 259557"/>
                <a:gd name="connsiteX6" fmla="*/ 23812 w 173831"/>
                <a:gd name="connsiteY6" fmla="*/ 221457 h 259557"/>
                <a:gd name="connsiteX7" fmla="*/ 35719 w 173831"/>
                <a:gd name="connsiteY7" fmla="*/ 254794 h 259557"/>
                <a:gd name="connsiteX8" fmla="*/ 102394 w 173831"/>
                <a:gd name="connsiteY8" fmla="*/ 259557 h 259557"/>
                <a:gd name="connsiteX9" fmla="*/ 107156 w 173831"/>
                <a:gd name="connsiteY9" fmla="*/ 247650 h 259557"/>
                <a:gd name="connsiteX10" fmla="*/ 171450 w 173831"/>
                <a:gd name="connsiteY10" fmla="*/ 259557 h 259557"/>
                <a:gd name="connsiteX11" fmla="*/ 173831 w 173831"/>
                <a:gd name="connsiteY11" fmla="*/ 240507 h 259557"/>
                <a:gd name="connsiteX12" fmla="*/ 142875 w 173831"/>
                <a:gd name="connsiteY12" fmla="*/ 173832 h 259557"/>
                <a:gd name="connsiteX13" fmla="*/ 159544 w 173831"/>
                <a:gd name="connsiteY13" fmla="*/ 111919 h 259557"/>
                <a:gd name="connsiteX14" fmla="*/ 147637 w 173831"/>
                <a:gd name="connsiteY14" fmla="*/ 85725 h 259557"/>
                <a:gd name="connsiteX15" fmla="*/ 130969 w 173831"/>
                <a:gd name="connsiteY15" fmla="*/ 71438 h 259557"/>
                <a:gd name="connsiteX16" fmla="*/ 145256 w 173831"/>
                <a:gd name="connsiteY16" fmla="*/ 61913 h 259557"/>
                <a:gd name="connsiteX17" fmla="*/ 138112 w 173831"/>
                <a:gd name="connsiteY17" fmla="*/ 33338 h 259557"/>
                <a:gd name="connsiteX18" fmla="*/ 133350 w 173831"/>
                <a:gd name="connsiteY18" fmla="*/ 0 h 259557"/>
                <a:gd name="connsiteX0" fmla="*/ 133350 w 173831"/>
                <a:gd name="connsiteY0" fmla="*/ 11906 h 271463"/>
                <a:gd name="connsiteX1" fmla="*/ 97631 w 173831"/>
                <a:gd name="connsiteY1" fmla="*/ 104775 h 271463"/>
                <a:gd name="connsiteX2" fmla="*/ 61912 w 173831"/>
                <a:gd name="connsiteY2" fmla="*/ 154781 h 271463"/>
                <a:gd name="connsiteX3" fmla="*/ 28575 w 173831"/>
                <a:gd name="connsiteY3" fmla="*/ 138113 h 271463"/>
                <a:gd name="connsiteX4" fmla="*/ 7144 w 173831"/>
                <a:gd name="connsiteY4" fmla="*/ 164306 h 271463"/>
                <a:gd name="connsiteX5" fmla="*/ 0 w 173831"/>
                <a:gd name="connsiteY5" fmla="*/ 204788 h 271463"/>
                <a:gd name="connsiteX6" fmla="*/ 23812 w 173831"/>
                <a:gd name="connsiteY6" fmla="*/ 233363 h 271463"/>
                <a:gd name="connsiteX7" fmla="*/ 35719 w 173831"/>
                <a:gd name="connsiteY7" fmla="*/ 266700 h 271463"/>
                <a:gd name="connsiteX8" fmla="*/ 102394 w 173831"/>
                <a:gd name="connsiteY8" fmla="*/ 271463 h 271463"/>
                <a:gd name="connsiteX9" fmla="*/ 107156 w 173831"/>
                <a:gd name="connsiteY9" fmla="*/ 259556 h 271463"/>
                <a:gd name="connsiteX10" fmla="*/ 171450 w 173831"/>
                <a:gd name="connsiteY10" fmla="*/ 271463 h 271463"/>
                <a:gd name="connsiteX11" fmla="*/ 173831 w 173831"/>
                <a:gd name="connsiteY11" fmla="*/ 252413 h 271463"/>
                <a:gd name="connsiteX12" fmla="*/ 142875 w 173831"/>
                <a:gd name="connsiteY12" fmla="*/ 185738 h 271463"/>
                <a:gd name="connsiteX13" fmla="*/ 159544 w 173831"/>
                <a:gd name="connsiteY13" fmla="*/ 123825 h 271463"/>
                <a:gd name="connsiteX14" fmla="*/ 147637 w 173831"/>
                <a:gd name="connsiteY14" fmla="*/ 97631 h 271463"/>
                <a:gd name="connsiteX15" fmla="*/ 130969 w 173831"/>
                <a:gd name="connsiteY15" fmla="*/ 83344 h 271463"/>
                <a:gd name="connsiteX16" fmla="*/ 145256 w 173831"/>
                <a:gd name="connsiteY16" fmla="*/ 73819 h 271463"/>
                <a:gd name="connsiteX17" fmla="*/ 157162 w 173831"/>
                <a:gd name="connsiteY17" fmla="*/ 0 h 271463"/>
                <a:gd name="connsiteX18" fmla="*/ 133350 w 173831"/>
                <a:gd name="connsiteY18" fmla="*/ 11906 h 271463"/>
                <a:gd name="connsiteX0" fmla="*/ 133350 w 173831"/>
                <a:gd name="connsiteY0" fmla="*/ 11906 h 271463"/>
                <a:gd name="connsiteX1" fmla="*/ 97631 w 173831"/>
                <a:gd name="connsiteY1" fmla="*/ 104775 h 271463"/>
                <a:gd name="connsiteX2" fmla="*/ 61912 w 173831"/>
                <a:gd name="connsiteY2" fmla="*/ 154781 h 271463"/>
                <a:gd name="connsiteX3" fmla="*/ 28575 w 173831"/>
                <a:gd name="connsiteY3" fmla="*/ 138113 h 271463"/>
                <a:gd name="connsiteX4" fmla="*/ 7144 w 173831"/>
                <a:gd name="connsiteY4" fmla="*/ 164306 h 271463"/>
                <a:gd name="connsiteX5" fmla="*/ 0 w 173831"/>
                <a:gd name="connsiteY5" fmla="*/ 204788 h 271463"/>
                <a:gd name="connsiteX6" fmla="*/ 23812 w 173831"/>
                <a:gd name="connsiteY6" fmla="*/ 233363 h 271463"/>
                <a:gd name="connsiteX7" fmla="*/ 35719 w 173831"/>
                <a:gd name="connsiteY7" fmla="*/ 266700 h 271463"/>
                <a:gd name="connsiteX8" fmla="*/ 102394 w 173831"/>
                <a:gd name="connsiteY8" fmla="*/ 271463 h 271463"/>
                <a:gd name="connsiteX9" fmla="*/ 107156 w 173831"/>
                <a:gd name="connsiteY9" fmla="*/ 259556 h 271463"/>
                <a:gd name="connsiteX10" fmla="*/ 171450 w 173831"/>
                <a:gd name="connsiteY10" fmla="*/ 271463 h 271463"/>
                <a:gd name="connsiteX11" fmla="*/ 173831 w 173831"/>
                <a:gd name="connsiteY11" fmla="*/ 252413 h 271463"/>
                <a:gd name="connsiteX12" fmla="*/ 142875 w 173831"/>
                <a:gd name="connsiteY12" fmla="*/ 185738 h 271463"/>
                <a:gd name="connsiteX13" fmla="*/ 159544 w 173831"/>
                <a:gd name="connsiteY13" fmla="*/ 123825 h 271463"/>
                <a:gd name="connsiteX14" fmla="*/ 147637 w 173831"/>
                <a:gd name="connsiteY14" fmla="*/ 97631 h 271463"/>
                <a:gd name="connsiteX15" fmla="*/ 130969 w 173831"/>
                <a:gd name="connsiteY15" fmla="*/ 83344 h 271463"/>
                <a:gd name="connsiteX16" fmla="*/ 145256 w 173831"/>
                <a:gd name="connsiteY16" fmla="*/ 73819 h 271463"/>
                <a:gd name="connsiteX17" fmla="*/ 147637 w 173831"/>
                <a:gd name="connsiteY17" fmla="*/ 52388 h 271463"/>
                <a:gd name="connsiteX18" fmla="*/ 157162 w 173831"/>
                <a:gd name="connsiteY18" fmla="*/ 0 h 271463"/>
                <a:gd name="connsiteX19" fmla="*/ 133350 w 173831"/>
                <a:gd name="connsiteY19" fmla="*/ 11906 h 271463"/>
                <a:gd name="connsiteX0" fmla="*/ 133350 w 173831"/>
                <a:gd name="connsiteY0" fmla="*/ 11906 h 271463"/>
                <a:gd name="connsiteX1" fmla="*/ 97631 w 173831"/>
                <a:gd name="connsiteY1" fmla="*/ 104775 h 271463"/>
                <a:gd name="connsiteX2" fmla="*/ 61912 w 173831"/>
                <a:gd name="connsiteY2" fmla="*/ 154781 h 271463"/>
                <a:gd name="connsiteX3" fmla="*/ 28575 w 173831"/>
                <a:gd name="connsiteY3" fmla="*/ 138113 h 271463"/>
                <a:gd name="connsiteX4" fmla="*/ 7144 w 173831"/>
                <a:gd name="connsiteY4" fmla="*/ 164306 h 271463"/>
                <a:gd name="connsiteX5" fmla="*/ 0 w 173831"/>
                <a:gd name="connsiteY5" fmla="*/ 204788 h 271463"/>
                <a:gd name="connsiteX6" fmla="*/ 23812 w 173831"/>
                <a:gd name="connsiteY6" fmla="*/ 233363 h 271463"/>
                <a:gd name="connsiteX7" fmla="*/ 35719 w 173831"/>
                <a:gd name="connsiteY7" fmla="*/ 266700 h 271463"/>
                <a:gd name="connsiteX8" fmla="*/ 102394 w 173831"/>
                <a:gd name="connsiteY8" fmla="*/ 271463 h 271463"/>
                <a:gd name="connsiteX9" fmla="*/ 107156 w 173831"/>
                <a:gd name="connsiteY9" fmla="*/ 259556 h 271463"/>
                <a:gd name="connsiteX10" fmla="*/ 171450 w 173831"/>
                <a:gd name="connsiteY10" fmla="*/ 271463 h 271463"/>
                <a:gd name="connsiteX11" fmla="*/ 173831 w 173831"/>
                <a:gd name="connsiteY11" fmla="*/ 252413 h 271463"/>
                <a:gd name="connsiteX12" fmla="*/ 142875 w 173831"/>
                <a:gd name="connsiteY12" fmla="*/ 185738 h 271463"/>
                <a:gd name="connsiteX13" fmla="*/ 159544 w 173831"/>
                <a:gd name="connsiteY13" fmla="*/ 123825 h 271463"/>
                <a:gd name="connsiteX14" fmla="*/ 147637 w 173831"/>
                <a:gd name="connsiteY14" fmla="*/ 97631 h 271463"/>
                <a:gd name="connsiteX15" fmla="*/ 130969 w 173831"/>
                <a:gd name="connsiteY15" fmla="*/ 83344 h 271463"/>
                <a:gd name="connsiteX16" fmla="*/ 145256 w 173831"/>
                <a:gd name="connsiteY16" fmla="*/ 73819 h 271463"/>
                <a:gd name="connsiteX17" fmla="*/ 159543 w 173831"/>
                <a:gd name="connsiteY17" fmla="*/ 52388 h 271463"/>
                <a:gd name="connsiteX18" fmla="*/ 157162 w 173831"/>
                <a:gd name="connsiteY18" fmla="*/ 0 h 271463"/>
                <a:gd name="connsiteX19" fmla="*/ 133350 w 173831"/>
                <a:gd name="connsiteY19" fmla="*/ 11906 h 271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3831" h="271463">
                  <a:moveTo>
                    <a:pt x="133350" y="11906"/>
                  </a:moveTo>
                  <a:lnTo>
                    <a:pt x="97631" y="104775"/>
                  </a:lnTo>
                  <a:lnTo>
                    <a:pt x="61912" y="154781"/>
                  </a:lnTo>
                  <a:lnTo>
                    <a:pt x="28575" y="138113"/>
                  </a:lnTo>
                  <a:lnTo>
                    <a:pt x="7144" y="164306"/>
                  </a:lnTo>
                  <a:lnTo>
                    <a:pt x="0" y="204788"/>
                  </a:lnTo>
                  <a:lnTo>
                    <a:pt x="23812" y="233363"/>
                  </a:lnTo>
                  <a:lnTo>
                    <a:pt x="35719" y="266700"/>
                  </a:lnTo>
                  <a:lnTo>
                    <a:pt x="102394" y="271463"/>
                  </a:lnTo>
                  <a:lnTo>
                    <a:pt x="107156" y="259556"/>
                  </a:lnTo>
                  <a:lnTo>
                    <a:pt x="171450" y="271463"/>
                  </a:lnTo>
                  <a:lnTo>
                    <a:pt x="173831" y="252413"/>
                  </a:lnTo>
                  <a:lnTo>
                    <a:pt x="142875" y="185738"/>
                  </a:lnTo>
                  <a:lnTo>
                    <a:pt x="159544" y="123825"/>
                  </a:lnTo>
                  <a:lnTo>
                    <a:pt x="147637" y="97631"/>
                  </a:lnTo>
                  <a:lnTo>
                    <a:pt x="130969" y="83344"/>
                  </a:lnTo>
                  <a:lnTo>
                    <a:pt x="145256" y="73819"/>
                  </a:lnTo>
                  <a:lnTo>
                    <a:pt x="159543" y="52388"/>
                  </a:lnTo>
                  <a:lnTo>
                    <a:pt x="157162" y="0"/>
                  </a:lnTo>
                  <a:lnTo>
                    <a:pt x="133350" y="1190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0" name="Freeform: Shape 217"/>
            <p:cNvSpPr/>
            <p:nvPr/>
          </p:nvSpPr>
          <p:spPr bwMode="auto">
            <a:xfrm rot="2301587">
              <a:off x="4528865" y="4618682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1" name="Freeform: Shape 218"/>
            <p:cNvSpPr/>
            <p:nvPr/>
          </p:nvSpPr>
          <p:spPr bwMode="auto">
            <a:xfrm>
              <a:off x="4512469" y="4624388"/>
              <a:ext cx="147637" cy="145256"/>
            </a:xfrm>
            <a:custGeom>
              <a:avLst/>
              <a:gdLst>
                <a:gd name="connsiteX0" fmla="*/ 14287 w 147637"/>
                <a:gd name="connsiteY0" fmla="*/ 26193 h 145256"/>
                <a:gd name="connsiteX1" fmla="*/ 0 w 147637"/>
                <a:gd name="connsiteY1" fmla="*/ 78581 h 145256"/>
                <a:gd name="connsiteX2" fmla="*/ 23812 w 147637"/>
                <a:gd name="connsiteY2" fmla="*/ 111918 h 145256"/>
                <a:gd name="connsiteX3" fmla="*/ 54769 w 147637"/>
                <a:gd name="connsiteY3" fmla="*/ 145256 h 145256"/>
                <a:gd name="connsiteX4" fmla="*/ 83344 w 147637"/>
                <a:gd name="connsiteY4" fmla="*/ 140493 h 145256"/>
                <a:gd name="connsiteX5" fmla="*/ 76200 w 147637"/>
                <a:gd name="connsiteY5" fmla="*/ 123825 h 145256"/>
                <a:gd name="connsiteX6" fmla="*/ 90487 w 147637"/>
                <a:gd name="connsiteY6" fmla="*/ 102393 h 145256"/>
                <a:gd name="connsiteX7" fmla="*/ 116681 w 147637"/>
                <a:gd name="connsiteY7" fmla="*/ 109537 h 145256"/>
                <a:gd name="connsiteX8" fmla="*/ 147637 w 147637"/>
                <a:gd name="connsiteY8" fmla="*/ 109537 h 145256"/>
                <a:gd name="connsiteX9" fmla="*/ 145256 w 147637"/>
                <a:gd name="connsiteY9" fmla="*/ 78581 h 145256"/>
                <a:gd name="connsiteX10" fmla="*/ 133350 w 147637"/>
                <a:gd name="connsiteY10" fmla="*/ 47625 h 145256"/>
                <a:gd name="connsiteX11" fmla="*/ 142875 w 147637"/>
                <a:gd name="connsiteY11" fmla="*/ 14287 h 145256"/>
                <a:gd name="connsiteX12" fmla="*/ 104775 w 147637"/>
                <a:gd name="connsiteY12" fmla="*/ 23812 h 145256"/>
                <a:gd name="connsiteX13" fmla="*/ 104775 w 147637"/>
                <a:gd name="connsiteY13" fmla="*/ 0 h 145256"/>
                <a:gd name="connsiteX14" fmla="*/ 64294 w 147637"/>
                <a:gd name="connsiteY14" fmla="*/ 4762 h 145256"/>
                <a:gd name="connsiteX15" fmla="*/ 14287 w 147637"/>
                <a:gd name="connsiteY15" fmla="*/ 26193 h 145256"/>
                <a:gd name="connsiteX0" fmla="*/ 14287 w 147637"/>
                <a:gd name="connsiteY0" fmla="*/ 26193 h 145256"/>
                <a:gd name="connsiteX1" fmla="*/ 0 w 147637"/>
                <a:gd name="connsiteY1" fmla="*/ 78581 h 145256"/>
                <a:gd name="connsiteX2" fmla="*/ 23812 w 147637"/>
                <a:gd name="connsiteY2" fmla="*/ 111918 h 145256"/>
                <a:gd name="connsiteX3" fmla="*/ 54769 w 147637"/>
                <a:gd name="connsiteY3" fmla="*/ 145256 h 145256"/>
                <a:gd name="connsiteX4" fmla="*/ 83344 w 147637"/>
                <a:gd name="connsiteY4" fmla="*/ 140493 h 145256"/>
                <a:gd name="connsiteX5" fmla="*/ 76200 w 147637"/>
                <a:gd name="connsiteY5" fmla="*/ 123825 h 145256"/>
                <a:gd name="connsiteX6" fmla="*/ 90487 w 147637"/>
                <a:gd name="connsiteY6" fmla="*/ 102393 h 145256"/>
                <a:gd name="connsiteX7" fmla="*/ 116681 w 147637"/>
                <a:gd name="connsiteY7" fmla="*/ 109537 h 145256"/>
                <a:gd name="connsiteX8" fmla="*/ 147637 w 147637"/>
                <a:gd name="connsiteY8" fmla="*/ 109537 h 145256"/>
                <a:gd name="connsiteX9" fmla="*/ 145256 w 147637"/>
                <a:gd name="connsiteY9" fmla="*/ 78581 h 145256"/>
                <a:gd name="connsiteX10" fmla="*/ 133350 w 147637"/>
                <a:gd name="connsiteY10" fmla="*/ 47625 h 145256"/>
                <a:gd name="connsiteX11" fmla="*/ 142875 w 147637"/>
                <a:gd name="connsiteY11" fmla="*/ 14287 h 145256"/>
                <a:gd name="connsiteX12" fmla="*/ 104775 w 147637"/>
                <a:gd name="connsiteY12" fmla="*/ 23812 h 145256"/>
                <a:gd name="connsiteX13" fmla="*/ 104775 w 147637"/>
                <a:gd name="connsiteY13" fmla="*/ 0 h 145256"/>
                <a:gd name="connsiteX14" fmla="*/ 64294 w 147637"/>
                <a:gd name="connsiteY14" fmla="*/ 4762 h 145256"/>
                <a:gd name="connsiteX15" fmla="*/ 45244 w 147637"/>
                <a:gd name="connsiteY15" fmla="*/ 14287 h 145256"/>
                <a:gd name="connsiteX16" fmla="*/ 14287 w 147637"/>
                <a:gd name="connsiteY16" fmla="*/ 26193 h 145256"/>
                <a:gd name="connsiteX0" fmla="*/ 14287 w 147637"/>
                <a:gd name="connsiteY0" fmla="*/ 26193 h 145256"/>
                <a:gd name="connsiteX1" fmla="*/ 0 w 147637"/>
                <a:gd name="connsiteY1" fmla="*/ 78581 h 145256"/>
                <a:gd name="connsiteX2" fmla="*/ 23812 w 147637"/>
                <a:gd name="connsiteY2" fmla="*/ 111918 h 145256"/>
                <a:gd name="connsiteX3" fmla="*/ 54769 w 147637"/>
                <a:gd name="connsiteY3" fmla="*/ 145256 h 145256"/>
                <a:gd name="connsiteX4" fmla="*/ 83344 w 147637"/>
                <a:gd name="connsiteY4" fmla="*/ 140493 h 145256"/>
                <a:gd name="connsiteX5" fmla="*/ 76200 w 147637"/>
                <a:gd name="connsiteY5" fmla="*/ 123825 h 145256"/>
                <a:gd name="connsiteX6" fmla="*/ 90487 w 147637"/>
                <a:gd name="connsiteY6" fmla="*/ 102393 h 145256"/>
                <a:gd name="connsiteX7" fmla="*/ 116681 w 147637"/>
                <a:gd name="connsiteY7" fmla="*/ 109537 h 145256"/>
                <a:gd name="connsiteX8" fmla="*/ 147637 w 147637"/>
                <a:gd name="connsiteY8" fmla="*/ 109537 h 145256"/>
                <a:gd name="connsiteX9" fmla="*/ 145256 w 147637"/>
                <a:gd name="connsiteY9" fmla="*/ 78581 h 145256"/>
                <a:gd name="connsiteX10" fmla="*/ 133350 w 147637"/>
                <a:gd name="connsiteY10" fmla="*/ 47625 h 145256"/>
                <a:gd name="connsiteX11" fmla="*/ 142875 w 147637"/>
                <a:gd name="connsiteY11" fmla="*/ 14287 h 145256"/>
                <a:gd name="connsiteX12" fmla="*/ 104775 w 147637"/>
                <a:gd name="connsiteY12" fmla="*/ 23812 h 145256"/>
                <a:gd name="connsiteX13" fmla="*/ 104775 w 147637"/>
                <a:gd name="connsiteY13" fmla="*/ 0 h 145256"/>
                <a:gd name="connsiteX14" fmla="*/ 64294 w 147637"/>
                <a:gd name="connsiteY14" fmla="*/ 4762 h 145256"/>
                <a:gd name="connsiteX15" fmla="*/ 45244 w 147637"/>
                <a:gd name="connsiteY15" fmla="*/ 38100 h 145256"/>
                <a:gd name="connsiteX16" fmla="*/ 14287 w 147637"/>
                <a:gd name="connsiteY16" fmla="*/ 26193 h 145256"/>
                <a:gd name="connsiteX0" fmla="*/ 14287 w 147637"/>
                <a:gd name="connsiteY0" fmla="*/ 26193 h 145256"/>
                <a:gd name="connsiteX1" fmla="*/ 0 w 147637"/>
                <a:gd name="connsiteY1" fmla="*/ 78581 h 145256"/>
                <a:gd name="connsiteX2" fmla="*/ 23812 w 147637"/>
                <a:gd name="connsiteY2" fmla="*/ 111918 h 145256"/>
                <a:gd name="connsiteX3" fmla="*/ 54769 w 147637"/>
                <a:gd name="connsiteY3" fmla="*/ 145256 h 145256"/>
                <a:gd name="connsiteX4" fmla="*/ 83344 w 147637"/>
                <a:gd name="connsiteY4" fmla="*/ 140493 h 145256"/>
                <a:gd name="connsiteX5" fmla="*/ 76200 w 147637"/>
                <a:gd name="connsiteY5" fmla="*/ 123825 h 145256"/>
                <a:gd name="connsiteX6" fmla="*/ 90487 w 147637"/>
                <a:gd name="connsiteY6" fmla="*/ 102393 h 145256"/>
                <a:gd name="connsiteX7" fmla="*/ 116681 w 147637"/>
                <a:gd name="connsiteY7" fmla="*/ 109537 h 145256"/>
                <a:gd name="connsiteX8" fmla="*/ 147637 w 147637"/>
                <a:gd name="connsiteY8" fmla="*/ 109537 h 145256"/>
                <a:gd name="connsiteX9" fmla="*/ 145256 w 147637"/>
                <a:gd name="connsiteY9" fmla="*/ 78581 h 145256"/>
                <a:gd name="connsiteX10" fmla="*/ 133350 w 147637"/>
                <a:gd name="connsiteY10" fmla="*/ 47625 h 145256"/>
                <a:gd name="connsiteX11" fmla="*/ 142875 w 147637"/>
                <a:gd name="connsiteY11" fmla="*/ 14287 h 145256"/>
                <a:gd name="connsiteX12" fmla="*/ 104775 w 147637"/>
                <a:gd name="connsiteY12" fmla="*/ 23812 h 145256"/>
                <a:gd name="connsiteX13" fmla="*/ 104775 w 147637"/>
                <a:gd name="connsiteY13" fmla="*/ 0 h 145256"/>
                <a:gd name="connsiteX14" fmla="*/ 64294 w 147637"/>
                <a:gd name="connsiteY14" fmla="*/ 4762 h 145256"/>
                <a:gd name="connsiteX15" fmla="*/ 45244 w 147637"/>
                <a:gd name="connsiteY15" fmla="*/ 30956 h 145256"/>
                <a:gd name="connsiteX16" fmla="*/ 14287 w 147637"/>
                <a:gd name="connsiteY16" fmla="*/ 26193 h 145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7637" h="145256">
                  <a:moveTo>
                    <a:pt x="14287" y="26193"/>
                  </a:moveTo>
                  <a:lnTo>
                    <a:pt x="0" y="78581"/>
                  </a:lnTo>
                  <a:lnTo>
                    <a:pt x="23812" y="111918"/>
                  </a:lnTo>
                  <a:lnTo>
                    <a:pt x="54769" y="145256"/>
                  </a:lnTo>
                  <a:lnTo>
                    <a:pt x="83344" y="140493"/>
                  </a:lnTo>
                  <a:lnTo>
                    <a:pt x="76200" y="123825"/>
                  </a:lnTo>
                  <a:lnTo>
                    <a:pt x="90487" y="102393"/>
                  </a:lnTo>
                  <a:lnTo>
                    <a:pt x="116681" y="109537"/>
                  </a:lnTo>
                  <a:lnTo>
                    <a:pt x="147637" y="109537"/>
                  </a:lnTo>
                  <a:lnTo>
                    <a:pt x="145256" y="78581"/>
                  </a:lnTo>
                  <a:lnTo>
                    <a:pt x="133350" y="47625"/>
                  </a:lnTo>
                  <a:lnTo>
                    <a:pt x="142875" y="14287"/>
                  </a:lnTo>
                  <a:lnTo>
                    <a:pt x="104775" y="23812"/>
                  </a:lnTo>
                  <a:lnTo>
                    <a:pt x="104775" y="0"/>
                  </a:lnTo>
                  <a:lnTo>
                    <a:pt x="64294" y="4762"/>
                  </a:lnTo>
                  <a:lnTo>
                    <a:pt x="45244" y="30956"/>
                  </a:lnTo>
                  <a:lnTo>
                    <a:pt x="14287" y="2619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2" name="Freeform: Shape 219"/>
            <p:cNvSpPr/>
            <p:nvPr/>
          </p:nvSpPr>
          <p:spPr bwMode="auto">
            <a:xfrm rot="2301587">
              <a:off x="5021855" y="4692288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3" name="Freeform: Shape 220"/>
            <p:cNvSpPr/>
            <p:nvPr/>
          </p:nvSpPr>
          <p:spPr bwMode="auto">
            <a:xfrm rot="2301587">
              <a:off x="5017093" y="4740397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4" name="Freeform: Shape 221"/>
            <p:cNvSpPr/>
            <p:nvPr/>
          </p:nvSpPr>
          <p:spPr bwMode="auto">
            <a:xfrm>
              <a:off x="5017294" y="4564856"/>
              <a:ext cx="142875" cy="166688"/>
            </a:xfrm>
            <a:custGeom>
              <a:avLst/>
              <a:gdLst>
                <a:gd name="connsiteX0" fmla="*/ 42862 w 142875"/>
                <a:gd name="connsiteY0" fmla="*/ 4763 h 166688"/>
                <a:gd name="connsiteX1" fmla="*/ 38100 w 142875"/>
                <a:gd name="connsiteY1" fmla="*/ 57150 h 166688"/>
                <a:gd name="connsiteX2" fmla="*/ 23812 w 142875"/>
                <a:gd name="connsiteY2" fmla="*/ 83344 h 166688"/>
                <a:gd name="connsiteX3" fmla="*/ 7144 w 142875"/>
                <a:gd name="connsiteY3" fmla="*/ 104775 h 166688"/>
                <a:gd name="connsiteX4" fmla="*/ 0 w 142875"/>
                <a:gd name="connsiteY4" fmla="*/ 147638 h 166688"/>
                <a:gd name="connsiteX5" fmla="*/ 42862 w 142875"/>
                <a:gd name="connsiteY5" fmla="*/ 140494 h 166688"/>
                <a:gd name="connsiteX6" fmla="*/ 61912 w 142875"/>
                <a:gd name="connsiteY6" fmla="*/ 150019 h 166688"/>
                <a:gd name="connsiteX7" fmla="*/ 88106 w 142875"/>
                <a:gd name="connsiteY7" fmla="*/ 166688 h 166688"/>
                <a:gd name="connsiteX8" fmla="*/ 116681 w 142875"/>
                <a:gd name="connsiteY8" fmla="*/ 135732 h 166688"/>
                <a:gd name="connsiteX9" fmla="*/ 123825 w 142875"/>
                <a:gd name="connsiteY9" fmla="*/ 114300 h 166688"/>
                <a:gd name="connsiteX10" fmla="*/ 142875 w 142875"/>
                <a:gd name="connsiteY10" fmla="*/ 64294 h 166688"/>
                <a:gd name="connsiteX11" fmla="*/ 135731 w 142875"/>
                <a:gd name="connsiteY11" fmla="*/ 33338 h 166688"/>
                <a:gd name="connsiteX12" fmla="*/ 114300 w 142875"/>
                <a:gd name="connsiteY12" fmla="*/ 0 h 166688"/>
                <a:gd name="connsiteX13" fmla="*/ 42862 w 142875"/>
                <a:gd name="connsiteY13" fmla="*/ 4763 h 166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2875" h="166688">
                  <a:moveTo>
                    <a:pt x="42862" y="4763"/>
                  </a:moveTo>
                  <a:lnTo>
                    <a:pt x="38100" y="57150"/>
                  </a:lnTo>
                  <a:lnTo>
                    <a:pt x="23812" y="83344"/>
                  </a:lnTo>
                  <a:lnTo>
                    <a:pt x="7144" y="104775"/>
                  </a:lnTo>
                  <a:lnTo>
                    <a:pt x="0" y="147638"/>
                  </a:lnTo>
                  <a:lnTo>
                    <a:pt x="42862" y="140494"/>
                  </a:lnTo>
                  <a:lnTo>
                    <a:pt x="61912" y="150019"/>
                  </a:lnTo>
                  <a:lnTo>
                    <a:pt x="88106" y="166688"/>
                  </a:lnTo>
                  <a:lnTo>
                    <a:pt x="116681" y="135732"/>
                  </a:lnTo>
                  <a:lnTo>
                    <a:pt x="123825" y="114300"/>
                  </a:lnTo>
                  <a:lnTo>
                    <a:pt x="142875" y="64294"/>
                  </a:lnTo>
                  <a:lnTo>
                    <a:pt x="135731" y="33338"/>
                  </a:lnTo>
                  <a:lnTo>
                    <a:pt x="114300" y="0"/>
                  </a:lnTo>
                  <a:lnTo>
                    <a:pt x="42862" y="47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5" name="Freeform: Shape 222"/>
            <p:cNvSpPr/>
            <p:nvPr/>
          </p:nvSpPr>
          <p:spPr bwMode="auto">
            <a:xfrm>
              <a:off x="5029200" y="4700588"/>
              <a:ext cx="245269" cy="257175"/>
            </a:xfrm>
            <a:custGeom>
              <a:avLst/>
              <a:gdLst>
                <a:gd name="connsiteX0" fmla="*/ 235744 w 245269"/>
                <a:gd name="connsiteY0" fmla="*/ 71437 h 257175"/>
                <a:gd name="connsiteX1" fmla="*/ 197644 w 245269"/>
                <a:gd name="connsiteY1" fmla="*/ 35718 h 257175"/>
                <a:gd name="connsiteX2" fmla="*/ 114300 w 245269"/>
                <a:gd name="connsiteY2" fmla="*/ 0 h 257175"/>
                <a:gd name="connsiteX3" fmla="*/ 78581 w 245269"/>
                <a:gd name="connsiteY3" fmla="*/ 35718 h 257175"/>
                <a:gd name="connsiteX4" fmla="*/ 30956 w 245269"/>
                <a:gd name="connsiteY4" fmla="*/ 9525 h 257175"/>
                <a:gd name="connsiteX5" fmla="*/ 26194 w 245269"/>
                <a:gd name="connsiteY5" fmla="*/ 45243 h 257175"/>
                <a:gd name="connsiteX6" fmla="*/ 21431 w 245269"/>
                <a:gd name="connsiteY6" fmla="*/ 97631 h 257175"/>
                <a:gd name="connsiteX7" fmla="*/ 0 w 245269"/>
                <a:gd name="connsiteY7" fmla="*/ 85725 h 257175"/>
                <a:gd name="connsiteX8" fmla="*/ 26194 w 245269"/>
                <a:gd name="connsiteY8" fmla="*/ 173831 h 257175"/>
                <a:gd name="connsiteX9" fmla="*/ 14288 w 245269"/>
                <a:gd name="connsiteY9" fmla="*/ 185737 h 257175"/>
                <a:gd name="connsiteX10" fmla="*/ 28575 w 245269"/>
                <a:gd name="connsiteY10" fmla="*/ 207168 h 257175"/>
                <a:gd name="connsiteX11" fmla="*/ 61913 w 245269"/>
                <a:gd name="connsiteY11" fmla="*/ 207168 h 257175"/>
                <a:gd name="connsiteX12" fmla="*/ 78581 w 245269"/>
                <a:gd name="connsiteY12" fmla="*/ 223837 h 257175"/>
                <a:gd name="connsiteX13" fmla="*/ 109538 w 245269"/>
                <a:gd name="connsiteY13" fmla="*/ 211931 h 257175"/>
                <a:gd name="connsiteX14" fmla="*/ 123825 w 245269"/>
                <a:gd name="connsiteY14" fmla="*/ 257175 h 257175"/>
                <a:gd name="connsiteX15" fmla="*/ 245269 w 245269"/>
                <a:gd name="connsiteY15" fmla="*/ 240506 h 257175"/>
                <a:gd name="connsiteX16" fmla="*/ 235744 w 245269"/>
                <a:gd name="connsiteY16" fmla="*/ 71437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5269" h="257175">
                  <a:moveTo>
                    <a:pt x="235744" y="71437"/>
                  </a:moveTo>
                  <a:lnTo>
                    <a:pt x="197644" y="35718"/>
                  </a:lnTo>
                  <a:lnTo>
                    <a:pt x="114300" y="0"/>
                  </a:lnTo>
                  <a:lnTo>
                    <a:pt x="78581" y="35718"/>
                  </a:lnTo>
                  <a:lnTo>
                    <a:pt x="30956" y="9525"/>
                  </a:lnTo>
                  <a:lnTo>
                    <a:pt x="26194" y="45243"/>
                  </a:lnTo>
                  <a:lnTo>
                    <a:pt x="21431" y="97631"/>
                  </a:lnTo>
                  <a:lnTo>
                    <a:pt x="0" y="85725"/>
                  </a:lnTo>
                  <a:lnTo>
                    <a:pt x="26194" y="173831"/>
                  </a:lnTo>
                  <a:lnTo>
                    <a:pt x="14288" y="185737"/>
                  </a:lnTo>
                  <a:lnTo>
                    <a:pt x="28575" y="207168"/>
                  </a:lnTo>
                  <a:lnTo>
                    <a:pt x="61913" y="207168"/>
                  </a:lnTo>
                  <a:lnTo>
                    <a:pt x="78581" y="223837"/>
                  </a:lnTo>
                  <a:lnTo>
                    <a:pt x="109538" y="211931"/>
                  </a:lnTo>
                  <a:lnTo>
                    <a:pt x="123825" y="257175"/>
                  </a:lnTo>
                  <a:lnTo>
                    <a:pt x="245269" y="240506"/>
                  </a:lnTo>
                  <a:lnTo>
                    <a:pt x="235744" y="7143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6" name="Freeform: Shape 223"/>
            <p:cNvSpPr/>
            <p:nvPr/>
          </p:nvSpPr>
          <p:spPr bwMode="auto">
            <a:xfrm>
              <a:off x="4696060" y="5231074"/>
              <a:ext cx="392906" cy="352425"/>
            </a:xfrm>
            <a:custGeom>
              <a:avLst/>
              <a:gdLst>
                <a:gd name="connsiteX0" fmla="*/ 0 w 388143"/>
                <a:gd name="connsiteY0" fmla="*/ 188119 h 352425"/>
                <a:gd name="connsiteX1" fmla="*/ 38100 w 388143"/>
                <a:gd name="connsiteY1" fmla="*/ 285750 h 352425"/>
                <a:gd name="connsiteX2" fmla="*/ 28575 w 388143"/>
                <a:gd name="connsiteY2" fmla="*/ 314325 h 352425"/>
                <a:gd name="connsiteX3" fmla="*/ 59531 w 388143"/>
                <a:gd name="connsiteY3" fmla="*/ 352425 h 352425"/>
                <a:gd name="connsiteX4" fmla="*/ 109537 w 388143"/>
                <a:gd name="connsiteY4" fmla="*/ 347662 h 352425"/>
                <a:gd name="connsiteX5" fmla="*/ 183356 w 388143"/>
                <a:gd name="connsiteY5" fmla="*/ 340519 h 352425"/>
                <a:gd name="connsiteX6" fmla="*/ 264318 w 388143"/>
                <a:gd name="connsiteY6" fmla="*/ 323850 h 352425"/>
                <a:gd name="connsiteX7" fmla="*/ 352425 w 388143"/>
                <a:gd name="connsiteY7" fmla="*/ 233362 h 352425"/>
                <a:gd name="connsiteX8" fmla="*/ 388143 w 388143"/>
                <a:gd name="connsiteY8" fmla="*/ 128587 h 352425"/>
                <a:gd name="connsiteX9" fmla="*/ 361950 w 388143"/>
                <a:gd name="connsiteY9" fmla="*/ 123825 h 352425"/>
                <a:gd name="connsiteX10" fmla="*/ 354806 w 388143"/>
                <a:gd name="connsiteY10" fmla="*/ 7144 h 352425"/>
                <a:gd name="connsiteX11" fmla="*/ 292893 w 388143"/>
                <a:gd name="connsiteY11" fmla="*/ 0 h 352425"/>
                <a:gd name="connsiteX12" fmla="*/ 180975 w 388143"/>
                <a:gd name="connsiteY12" fmla="*/ 109537 h 352425"/>
                <a:gd name="connsiteX13" fmla="*/ 152400 w 388143"/>
                <a:gd name="connsiteY13" fmla="*/ 107156 h 352425"/>
                <a:gd name="connsiteX14" fmla="*/ 104775 w 388143"/>
                <a:gd name="connsiteY14" fmla="*/ 140494 h 352425"/>
                <a:gd name="connsiteX15" fmla="*/ 88106 w 388143"/>
                <a:gd name="connsiteY15" fmla="*/ 128587 h 352425"/>
                <a:gd name="connsiteX16" fmla="*/ 80962 w 388143"/>
                <a:gd name="connsiteY16" fmla="*/ 104775 h 352425"/>
                <a:gd name="connsiteX17" fmla="*/ 66675 w 388143"/>
                <a:gd name="connsiteY17" fmla="*/ 188119 h 352425"/>
                <a:gd name="connsiteX18" fmla="*/ 0 w 388143"/>
                <a:gd name="connsiteY18" fmla="*/ 188119 h 352425"/>
                <a:gd name="connsiteX0" fmla="*/ 0 w 388143"/>
                <a:gd name="connsiteY0" fmla="*/ 188119 h 352425"/>
                <a:gd name="connsiteX1" fmla="*/ 38100 w 388143"/>
                <a:gd name="connsiteY1" fmla="*/ 285750 h 352425"/>
                <a:gd name="connsiteX2" fmla="*/ 28575 w 388143"/>
                <a:gd name="connsiteY2" fmla="*/ 314325 h 352425"/>
                <a:gd name="connsiteX3" fmla="*/ 59531 w 388143"/>
                <a:gd name="connsiteY3" fmla="*/ 352425 h 352425"/>
                <a:gd name="connsiteX4" fmla="*/ 109537 w 388143"/>
                <a:gd name="connsiteY4" fmla="*/ 347662 h 352425"/>
                <a:gd name="connsiteX5" fmla="*/ 183356 w 388143"/>
                <a:gd name="connsiteY5" fmla="*/ 340519 h 352425"/>
                <a:gd name="connsiteX6" fmla="*/ 264318 w 388143"/>
                <a:gd name="connsiteY6" fmla="*/ 323850 h 352425"/>
                <a:gd name="connsiteX7" fmla="*/ 352425 w 388143"/>
                <a:gd name="connsiteY7" fmla="*/ 233362 h 352425"/>
                <a:gd name="connsiteX8" fmla="*/ 388143 w 388143"/>
                <a:gd name="connsiteY8" fmla="*/ 128587 h 352425"/>
                <a:gd name="connsiteX9" fmla="*/ 361950 w 388143"/>
                <a:gd name="connsiteY9" fmla="*/ 123825 h 352425"/>
                <a:gd name="connsiteX10" fmla="*/ 354806 w 388143"/>
                <a:gd name="connsiteY10" fmla="*/ 7144 h 352425"/>
                <a:gd name="connsiteX11" fmla="*/ 292893 w 388143"/>
                <a:gd name="connsiteY11" fmla="*/ 0 h 352425"/>
                <a:gd name="connsiteX12" fmla="*/ 180975 w 388143"/>
                <a:gd name="connsiteY12" fmla="*/ 109537 h 352425"/>
                <a:gd name="connsiteX13" fmla="*/ 152400 w 388143"/>
                <a:gd name="connsiteY13" fmla="*/ 107156 h 352425"/>
                <a:gd name="connsiteX14" fmla="*/ 104775 w 388143"/>
                <a:gd name="connsiteY14" fmla="*/ 140494 h 352425"/>
                <a:gd name="connsiteX15" fmla="*/ 88106 w 388143"/>
                <a:gd name="connsiteY15" fmla="*/ 128587 h 352425"/>
                <a:gd name="connsiteX16" fmla="*/ 80962 w 388143"/>
                <a:gd name="connsiteY16" fmla="*/ 104775 h 352425"/>
                <a:gd name="connsiteX17" fmla="*/ 66675 w 388143"/>
                <a:gd name="connsiteY17" fmla="*/ 188119 h 352425"/>
                <a:gd name="connsiteX18" fmla="*/ 38100 w 388143"/>
                <a:gd name="connsiteY18" fmla="*/ 185737 h 352425"/>
                <a:gd name="connsiteX19" fmla="*/ 0 w 388143"/>
                <a:gd name="connsiteY19" fmla="*/ 188119 h 352425"/>
                <a:gd name="connsiteX0" fmla="*/ 0 w 388143"/>
                <a:gd name="connsiteY0" fmla="*/ 188119 h 352425"/>
                <a:gd name="connsiteX1" fmla="*/ 38100 w 388143"/>
                <a:gd name="connsiteY1" fmla="*/ 285750 h 352425"/>
                <a:gd name="connsiteX2" fmla="*/ 28575 w 388143"/>
                <a:gd name="connsiteY2" fmla="*/ 314325 h 352425"/>
                <a:gd name="connsiteX3" fmla="*/ 59531 w 388143"/>
                <a:gd name="connsiteY3" fmla="*/ 352425 h 352425"/>
                <a:gd name="connsiteX4" fmla="*/ 109537 w 388143"/>
                <a:gd name="connsiteY4" fmla="*/ 347662 h 352425"/>
                <a:gd name="connsiteX5" fmla="*/ 183356 w 388143"/>
                <a:gd name="connsiteY5" fmla="*/ 340519 h 352425"/>
                <a:gd name="connsiteX6" fmla="*/ 264318 w 388143"/>
                <a:gd name="connsiteY6" fmla="*/ 323850 h 352425"/>
                <a:gd name="connsiteX7" fmla="*/ 352425 w 388143"/>
                <a:gd name="connsiteY7" fmla="*/ 233362 h 352425"/>
                <a:gd name="connsiteX8" fmla="*/ 388143 w 388143"/>
                <a:gd name="connsiteY8" fmla="*/ 128587 h 352425"/>
                <a:gd name="connsiteX9" fmla="*/ 361950 w 388143"/>
                <a:gd name="connsiteY9" fmla="*/ 123825 h 352425"/>
                <a:gd name="connsiteX10" fmla="*/ 354806 w 388143"/>
                <a:gd name="connsiteY10" fmla="*/ 7144 h 352425"/>
                <a:gd name="connsiteX11" fmla="*/ 292893 w 388143"/>
                <a:gd name="connsiteY11" fmla="*/ 0 h 352425"/>
                <a:gd name="connsiteX12" fmla="*/ 180975 w 388143"/>
                <a:gd name="connsiteY12" fmla="*/ 109537 h 352425"/>
                <a:gd name="connsiteX13" fmla="*/ 152400 w 388143"/>
                <a:gd name="connsiteY13" fmla="*/ 107156 h 352425"/>
                <a:gd name="connsiteX14" fmla="*/ 104775 w 388143"/>
                <a:gd name="connsiteY14" fmla="*/ 140494 h 352425"/>
                <a:gd name="connsiteX15" fmla="*/ 88106 w 388143"/>
                <a:gd name="connsiteY15" fmla="*/ 128587 h 352425"/>
                <a:gd name="connsiteX16" fmla="*/ 80962 w 388143"/>
                <a:gd name="connsiteY16" fmla="*/ 104775 h 352425"/>
                <a:gd name="connsiteX17" fmla="*/ 66675 w 388143"/>
                <a:gd name="connsiteY17" fmla="*/ 188119 h 352425"/>
                <a:gd name="connsiteX18" fmla="*/ 52387 w 388143"/>
                <a:gd name="connsiteY18" fmla="*/ 204787 h 352425"/>
                <a:gd name="connsiteX19" fmla="*/ 0 w 388143"/>
                <a:gd name="connsiteY19" fmla="*/ 188119 h 352425"/>
                <a:gd name="connsiteX0" fmla="*/ 0 w 388143"/>
                <a:gd name="connsiteY0" fmla="*/ 188119 h 352425"/>
                <a:gd name="connsiteX1" fmla="*/ 16668 w 388143"/>
                <a:gd name="connsiteY1" fmla="*/ 197644 h 352425"/>
                <a:gd name="connsiteX2" fmla="*/ 38100 w 388143"/>
                <a:gd name="connsiteY2" fmla="*/ 285750 h 352425"/>
                <a:gd name="connsiteX3" fmla="*/ 28575 w 388143"/>
                <a:gd name="connsiteY3" fmla="*/ 314325 h 352425"/>
                <a:gd name="connsiteX4" fmla="*/ 59531 w 388143"/>
                <a:gd name="connsiteY4" fmla="*/ 352425 h 352425"/>
                <a:gd name="connsiteX5" fmla="*/ 109537 w 388143"/>
                <a:gd name="connsiteY5" fmla="*/ 347662 h 352425"/>
                <a:gd name="connsiteX6" fmla="*/ 183356 w 388143"/>
                <a:gd name="connsiteY6" fmla="*/ 340519 h 352425"/>
                <a:gd name="connsiteX7" fmla="*/ 264318 w 388143"/>
                <a:gd name="connsiteY7" fmla="*/ 323850 h 352425"/>
                <a:gd name="connsiteX8" fmla="*/ 352425 w 388143"/>
                <a:gd name="connsiteY8" fmla="*/ 233362 h 352425"/>
                <a:gd name="connsiteX9" fmla="*/ 388143 w 388143"/>
                <a:gd name="connsiteY9" fmla="*/ 128587 h 352425"/>
                <a:gd name="connsiteX10" fmla="*/ 361950 w 388143"/>
                <a:gd name="connsiteY10" fmla="*/ 123825 h 352425"/>
                <a:gd name="connsiteX11" fmla="*/ 354806 w 388143"/>
                <a:gd name="connsiteY11" fmla="*/ 7144 h 352425"/>
                <a:gd name="connsiteX12" fmla="*/ 292893 w 388143"/>
                <a:gd name="connsiteY12" fmla="*/ 0 h 352425"/>
                <a:gd name="connsiteX13" fmla="*/ 180975 w 388143"/>
                <a:gd name="connsiteY13" fmla="*/ 109537 h 352425"/>
                <a:gd name="connsiteX14" fmla="*/ 152400 w 388143"/>
                <a:gd name="connsiteY14" fmla="*/ 107156 h 352425"/>
                <a:gd name="connsiteX15" fmla="*/ 104775 w 388143"/>
                <a:gd name="connsiteY15" fmla="*/ 140494 h 352425"/>
                <a:gd name="connsiteX16" fmla="*/ 88106 w 388143"/>
                <a:gd name="connsiteY16" fmla="*/ 128587 h 352425"/>
                <a:gd name="connsiteX17" fmla="*/ 80962 w 388143"/>
                <a:gd name="connsiteY17" fmla="*/ 104775 h 352425"/>
                <a:gd name="connsiteX18" fmla="*/ 66675 w 388143"/>
                <a:gd name="connsiteY18" fmla="*/ 188119 h 352425"/>
                <a:gd name="connsiteX19" fmla="*/ 52387 w 388143"/>
                <a:gd name="connsiteY19" fmla="*/ 204787 h 352425"/>
                <a:gd name="connsiteX20" fmla="*/ 0 w 388143"/>
                <a:gd name="connsiteY20" fmla="*/ 188119 h 352425"/>
                <a:gd name="connsiteX0" fmla="*/ 0 w 402431"/>
                <a:gd name="connsiteY0" fmla="*/ 192882 h 352425"/>
                <a:gd name="connsiteX1" fmla="*/ 30956 w 402431"/>
                <a:gd name="connsiteY1" fmla="*/ 197644 h 352425"/>
                <a:gd name="connsiteX2" fmla="*/ 52388 w 402431"/>
                <a:gd name="connsiteY2" fmla="*/ 285750 h 352425"/>
                <a:gd name="connsiteX3" fmla="*/ 42863 w 402431"/>
                <a:gd name="connsiteY3" fmla="*/ 314325 h 352425"/>
                <a:gd name="connsiteX4" fmla="*/ 73819 w 402431"/>
                <a:gd name="connsiteY4" fmla="*/ 352425 h 352425"/>
                <a:gd name="connsiteX5" fmla="*/ 123825 w 402431"/>
                <a:gd name="connsiteY5" fmla="*/ 347662 h 352425"/>
                <a:gd name="connsiteX6" fmla="*/ 197644 w 402431"/>
                <a:gd name="connsiteY6" fmla="*/ 340519 h 352425"/>
                <a:gd name="connsiteX7" fmla="*/ 278606 w 402431"/>
                <a:gd name="connsiteY7" fmla="*/ 323850 h 352425"/>
                <a:gd name="connsiteX8" fmla="*/ 366713 w 402431"/>
                <a:gd name="connsiteY8" fmla="*/ 233362 h 352425"/>
                <a:gd name="connsiteX9" fmla="*/ 402431 w 402431"/>
                <a:gd name="connsiteY9" fmla="*/ 128587 h 352425"/>
                <a:gd name="connsiteX10" fmla="*/ 376238 w 402431"/>
                <a:gd name="connsiteY10" fmla="*/ 123825 h 352425"/>
                <a:gd name="connsiteX11" fmla="*/ 369094 w 402431"/>
                <a:gd name="connsiteY11" fmla="*/ 7144 h 352425"/>
                <a:gd name="connsiteX12" fmla="*/ 307181 w 402431"/>
                <a:gd name="connsiteY12" fmla="*/ 0 h 352425"/>
                <a:gd name="connsiteX13" fmla="*/ 195263 w 402431"/>
                <a:gd name="connsiteY13" fmla="*/ 109537 h 352425"/>
                <a:gd name="connsiteX14" fmla="*/ 166688 w 402431"/>
                <a:gd name="connsiteY14" fmla="*/ 107156 h 352425"/>
                <a:gd name="connsiteX15" fmla="*/ 119063 w 402431"/>
                <a:gd name="connsiteY15" fmla="*/ 140494 h 352425"/>
                <a:gd name="connsiteX16" fmla="*/ 102394 w 402431"/>
                <a:gd name="connsiteY16" fmla="*/ 128587 h 352425"/>
                <a:gd name="connsiteX17" fmla="*/ 95250 w 402431"/>
                <a:gd name="connsiteY17" fmla="*/ 104775 h 352425"/>
                <a:gd name="connsiteX18" fmla="*/ 80963 w 402431"/>
                <a:gd name="connsiteY18" fmla="*/ 188119 h 352425"/>
                <a:gd name="connsiteX19" fmla="*/ 66675 w 402431"/>
                <a:gd name="connsiteY19" fmla="*/ 204787 h 352425"/>
                <a:gd name="connsiteX20" fmla="*/ 0 w 402431"/>
                <a:gd name="connsiteY20" fmla="*/ 192882 h 352425"/>
                <a:gd name="connsiteX0" fmla="*/ 0 w 373856"/>
                <a:gd name="connsiteY0" fmla="*/ 176213 h 352425"/>
                <a:gd name="connsiteX1" fmla="*/ 2381 w 373856"/>
                <a:gd name="connsiteY1" fmla="*/ 197644 h 352425"/>
                <a:gd name="connsiteX2" fmla="*/ 23813 w 373856"/>
                <a:gd name="connsiteY2" fmla="*/ 285750 h 352425"/>
                <a:gd name="connsiteX3" fmla="*/ 14288 w 373856"/>
                <a:gd name="connsiteY3" fmla="*/ 314325 h 352425"/>
                <a:gd name="connsiteX4" fmla="*/ 45244 w 373856"/>
                <a:gd name="connsiteY4" fmla="*/ 352425 h 352425"/>
                <a:gd name="connsiteX5" fmla="*/ 95250 w 373856"/>
                <a:gd name="connsiteY5" fmla="*/ 347662 h 352425"/>
                <a:gd name="connsiteX6" fmla="*/ 169069 w 373856"/>
                <a:gd name="connsiteY6" fmla="*/ 340519 h 352425"/>
                <a:gd name="connsiteX7" fmla="*/ 250031 w 373856"/>
                <a:gd name="connsiteY7" fmla="*/ 323850 h 352425"/>
                <a:gd name="connsiteX8" fmla="*/ 338138 w 373856"/>
                <a:gd name="connsiteY8" fmla="*/ 233362 h 352425"/>
                <a:gd name="connsiteX9" fmla="*/ 373856 w 373856"/>
                <a:gd name="connsiteY9" fmla="*/ 128587 h 352425"/>
                <a:gd name="connsiteX10" fmla="*/ 347663 w 373856"/>
                <a:gd name="connsiteY10" fmla="*/ 123825 h 352425"/>
                <a:gd name="connsiteX11" fmla="*/ 340519 w 373856"/>
                <a:gd name="connsiteY11" fmla="*/ 7144 h 352425"/>
                <a:gd name="connsiteX12" fmla="*/ 278606 w 373856"/>
                <a:gd name="connsiteY12" fmla="*/ 0 h 352425"/>
                <a:gd name="connsiteX13" fmla="*/ 166688 w 373856"/>
                <a:gd name="connsiteY13" fmla="*/ 109537 h 352425"/>
                <a:gd name="connsiteX14" fmla="*/ 138113 w 373856"/>
                <a:gd name="connsiteY14" fmla="*/ 107156 h 352425"/>
                <a:gd name="connsiteX15" fmla="*/ 90488 w 373856"/>
                <a:gd name="connsiteY15" fmla="*/ 140494 h 352425"/>
                <a:gd name="connsiteX16" fmla="*/ 73819 w 373856"/>
                <a:gd name="connsiteY16" fmla="*/ 128587 h 352425"/>
                <a:gd name="connsiteX17" fmla="*/ 66675 w 373856"/>
                <a:gd name="connsiteY17" fmla="*/ 104775 h 352425"/>
                <a:gd name="connsiteX18" fmla="*/ 52388 w 373856"/>
                <a:gd name="connsiteY18" fmla="*/ 188119 h 352425"/>
                <a:gd name="connsiteX19" fmla="*/ 38100 w 373856"/>
                <a:gd name="connsiteY19" fmla="*/ 204787 h 352425"/>
                <a:gd name="connsiteX20" fmla="*/ 0 w 373856"/>
                <a:gd name="connsiteY20" fmla="*/ 176213 h 352425"/>
                <a:gd name="connsiteX0" fmla="*/ 19050 w 392906"/>
                <a:gd name="connsiteY0" fmla="*/ 176213 h 352425"/>
                <a:gd name="connsiteX1" fmla="*/ 0 w 392906"/>
                <a:gd name="connsiteY1" fmla="*/ 188119 h 352425"/>
                <a:gd name="connsiteX2" fmla="*/ 42863 w 392906"/>
                <a:gd name="connsiteY2" fmla="*/ 285750 h 352425"/>
                <a:gd name="connsiteX3" fmla="*/ 33338 w 392906"/>
                <a:gd name="connsiteY3" fmla="*/ 314325 h 352425"/>
                <a:gd name="connsiteX4" fmla="*/ 64294 w 392906"/>
                <a:gd name="connsiteY4" fmla="*/ 352425 h 352425"/>
                <a:gd name="connsiteX5" fmla="*/ 114300 w 392906"/>
                <a:gd name="connsiteY5" fmla="*/ 347662 h 352425"/>
                <a:gd name="connsiteX6" fmla="*/ 188119 w 392906"/>
                <a:gd name="connsiteY6" fmla="*/ 340519 h 352425"/>
                <a:gd name="connsiteX7" fmla="*/ 269081 w 392906"/>
                <a:gd name="connsiteY7" fmla="*/ 323850 h 352425"/>
                <a:gd name="connsiteX8" fmla="*/ 357188 w 392906"/>
                <a:gd name="connsiteY8" fmla="*/ 233362 h 352425"/>
                <a:gd name="connsiteX9" fmla="*/ 392906 w 392906"/>
                <a:gd name="connsiteY9" fmla="*/ 128587 h 352425"/>
                <a:gd name="connsiteX10" fmla="*/ 366713 w 392906"/>
                <a:gd name="connsiteY10" fmla="*/ 123825 h 352425"/>
                <a:gd name="connsiteX11" fmla="*/ 359569 w 392906"/>
                <a:gd name="connsiteY11" fmla="*/ 7144 h 352425"/>
                <a:gd name="connsiteX12" fmla="*/ 297656 w 392906"/>
                <a:gd name="connsiteY12" fmla="*/ 0 h 352425"/>
                <a:gd name="connsiteX13" fmla="*/ 185738 w 392906"/>
                <a:gd name="connsiteY13" fmla="*/ 109537 h 352425"/>
                <a:gd name="connsiteX14" fmla="*/ 157163 w 392906"/>
                <a:gd name="connsiteY14" fmla="*/ 107156 h 352425"/>
                <a:gd name="connsiteX15" fmla="*/ 109538 w 392906"/>
                <a:gd name="connsiteY15" fmla="*/ 140494 h 352425"/>
                <a:gd name="connsiteX16" fmla="*/ 92869 w 392906"/>
                <a:gd name="connsiteY16" fmla="*/ 128587 h 352425"/>
                <a:gd name="connsiteX17" fmla="*/ 85725 w 392906"/>
                <a:gd name="connsiteY17" fmla="*/ 104775 h 352425"/>
                <a:gd name="connsiteX18" fmla="*/ 71438 w 392906"/>
                <a:gd name="connsiteY18" fmla="*/ 188119 h 352425"/>
                <a:gd name="connsiteX19" fmla="*/ 57150 w 392906"/>
                <a:gd name="connsiteY19" fmla="*/ 204787 h 352425"/>
                <a:gd name="connsiteX20" fmla="*/ 19050 w 392906"/>
                <a:gd name="connsiteY20" fmla="*/ 176213 h 352425"/>
                <a:gd name="connsiteX0" fmla="*/ 19050 w 392906"/>
                <a:gd name="connsiteY0" fmla="*/ 176213 h 352425"/>
                <a:gd name="connsiteX1" fmla="*/ 0 w 392906"/>
                <a:gd name="connsiteY1" fmla="*/ 188119 h 352425"/>
                <a:gd name="connsiteX2" fmla="*/ 42863 w 392906"/>
                <a:gd name="connsiteY2" fmla="*/ 285750 h 352425"/>
                <a:gd name="connsiteX3" fmla="*/ 33338 w 392906"/>
                <a:gd name="connsiteY3" fmla="*/ 314325 h 352425"/>
                <a:gd name="connsiteX4" fmla="*/ 64294 w 392906"/>
                <a:gd name="connsiteY4" fmla="*/ 352425 h 352425"/>
                <a:gd name="connsiteX5" fmla="*/ 114300 w 392906"/>
                <a:gd name="connsiteY5" fmla="*/ 347662 h 352425"/>
                <a:gd name="connsiteX6" fmla="*/ 188119 w 392906"/>
                <a:gd name="connsiteY6" fmla="*/ 340519 h 352425"/>
                <a:gd name="connsiteX7" fmla="*/ 269081 w 392906"/>
                <a:gd name="connsiteY7" fmla="*/ 323850 h 352425"/>
                <a:gd name="connsiteX8" fmla="*/ 357188 w 392906"/>
                <a:gd name="connsiteY8" fmla="*/ 233362 h 352425"/>
                <a:gd name="connsiteX9" fmla="*/ 392906 w 392906"/>
                <a:gd name="connsiteY9" fmla="*/ 128587 h 352425"/>
                <a:gd name="connsiteX10" fmla="*/ 366713 w 392906"/>
                <a:gd name="connsiteY10" fmla="*/ 123825 h 352425"/>
                <a:gd name="connsiteX11" fmla="*/ 359569 w 392906"/>
                <a:gd name="connsiteY11" fmla="*/ 7144 h 352425"/>
                <a:gd name="connsiteX12" fmla="*/ 297656 w 392906"/>
                <a:gd name="connsiteY12" fmla="*/ 0 h 352425"/>
                <a:gd name="connsiteX13" fmla="*/ 185738 w 392906"/>
                <a:gd name="connsiteY13" fmla="*/ 109537 h 352425"/>
                <a:gd name="connsiteX14" fmla="*/ 157163 w 392906"/>
                <a:gd name="connsiteY14" fmla="*/ 107156 h 352425"/>
                <a:gd name="connsiteX15" fmla="*/ 109538 w 392906"/>
                <a:gd name="connsiteY15" fmla="*/ 140494 h 352425"/>
                <a:gd name="connsiteX16" fmla="*/ 92869 w 392906"/>
                <a:gd name="connsiteY16" fmla="*/ 128587 h 352425"/>
                <a:gd name="connsiteX17" fmla="*/ 85725 w 392906"/>
                <a:gd name="connsiteY17" fmla="*/ 104775 h 352425"/>
                <a:gd name="connsiteX18" fmla="*/ 71438 w 392906"/>
                <a:gd name="connsiteY18" fmla="*/ 188119 h 352425"/>
                <a:gd name="connsiteX19" fmla="*/ 47625 w 392906"/>
                <a:gd name="connsiteY19" fmla="*/ 183355 h 352425"/>
                <a:gd name="connsiteX20" fmla="*/ 19050 w 392906"/>
                <a:gd name="connsiteY20" fmla="*/ 176213 h 352425"/>
                <a:gd name="connsiteX0" fmla="*/ 19050 w 392906"/>
                <a:gd name="connsiteY0" fmla="*/ 176213 h 352425"/>
                <a:gd name="connsiteX1" fmla="*/ 0 w 392906"/>
                <a:gd name="connsiteY1" fmla="*/ 188119 h 352425"/>
                <a:gd name="connsiteX2" fmla="*/ 42863 w 392906"/>
                <a:gd name="connsiteY2" fmla="*/ 285750 h 352425"/>
                <a:gd name="connsiteX3" fmla="*/ 33338 w 392906"/>
                <a:gd name="connsiteY3" fmla="*/ 314325 h 352425"/>
                <a:gd name="connsiteX4" fmla="*/ 64294 w 392906"/>
                <a:gd name="connsiteY4" fmla="*/ 352425 h 352425"/>
                <a:gd name="connsiteX5" fmla="*/ 114300 w 392906"/>
                <a:gd name="connsiteY5" fmla="*/ 347662 h 352425"/>
                <a:gd name="connsiteX6" fmla="*/ 188119 w 392906"/>
                <a:gd name="connsiteY6" fmla="*/ 340519 h 352425"/>
                <a:gd name="connsiteX7" fmla="*/ 269081 w 392906"/>
                <a:gd name="connsiteY7" fmla="*/ 323850 h 352425"/>
                <a:gd name="connsiteX8" fmla="*/ 357188 w 392906"/>
                <a:gd name="connsiteY8" fmla="*/ 233362 h 352425"/>
                <a:gd name="connsiteX9" fmla="*/ 392906 w 392906"/>
                <a:gd name="connsiteY9" fmla="*/ 128587 h 352425"/>
                <a:gd name="connsiteX10" fmla="*/ 366713 w 392906"/>
                <a:gd name="connsiteY10" fmla="*/ 123825 h 352425"/>
                <a:gd name="connsiteX11" fmla="*/ 359569 w 392906"/>
                <a:gd name="connsiteY11" fmla="*/ 7144 h 352425"/>
                <a:gd name="connsiteX12" fmla="*/ 297656 w 392906"/>
                <a:gd name="connsiteY12" fmla="*/ 0 h 352425"/>
                <a:gd name="connsiteX13" fmla="*/ 185738 w 392906"/>
                <a:gd name="connsiteY13" fmla="*/ 109537 h 352425"/>
                <a:gd name="connsiteX14" fmla="*/ 157163 w 392906"/>
                <a:gd name="connsiteY14" fmla="*/ 107156 h 352425"/>
                <a:gd name="connsiteX15" fmla="*/ 109538 w 392906"/>
                <a:gd name="connsiteY15" fmla="*/ 140494 h 352425"/>
                <a:gd name="connsiteX16" fmla="*/ 92869 w 392906"/>
                <a:gd name="connsiteY16" fmla="*/ 128587 h 352425"/>
                <a:gd name="connsiteX17" fmla="*/ 85725 w 392906"/>
                <a:gd name="connsiteY17" fmla="*/ 104775 h 352425"/>
                <a:gd name="connsiteX18" fmla="*/ 71438 w 392906"/>
                <a:gd name="connsiteY18" fmla="*/ 188119 h 352425"/>
                <a:gd name="connsiteX19" fmla="*/ 47625 w 392906"/>
                <a:gd name="connsiteY19" fmla="*/ 183355 h 352425"/>
                <a:gd name="connsiteX20" fmla="*/ 19050 w 392906"/>
                <a:gd name="connsiteY20" fmla="*/ 176213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92906" h="352425">
                  <a:moveTo>
                    <a:pt x="19050" y="176213"/>
                  </a:moveTo>
                  <a:lnTo>
                    <a:pt x="0" y="188119"/>
                  </a:lnTo>
                  <a:lnTo>
                    <a:pt x="42863" y="285750"/>
                  </a:lnTo>
                  <a:lnTo>
                    <a:pt x="33338" y="314325"/>
                  </a:lnTo>
                  <a:lnTo>
                    <a:pt x="64294" y="352425"/>
                  </a:lnTo>
                  <a:lnTo>
                    <a:pt x="114300" y="347662"/>
                  </a:lnTo>
                  <a:lnTo>
                    <a:pt x="188119" y="340519"/>
                  </a:lnTo>
                  <a:lnTo>
                    <a:pt x="269081" y="323850"/>
                  </a:lnTo>
                  <a:lnTo>
                    <a:pt x="357188" y="233362"/>
                  </a:lnTo>
                  <a:lnTo>
                    <a:pt x="392906" y="128587"/>
                  </a:lnTo>
                  <a:lnTo>
                    <a:pt x="366713" y="123825"/>
                  </a:lnTo>
                  <a:lnTo>
                    <a:pt x="359569" y="7144"/>
                  </a:lnTo>
                  <a:lnTo>
                    <a:pt x="297656" y="0"/>
                  </a:lnTo>
                  <a:lnTo>
                    <a:pt x="185738" y="109537"/>
                  </a:lnTo>
                  <a:lnTo>
                    <a:pt x="157163" y="107156"/>
                  </a:lnTo>
                  <a:lnTo>
                    <a:pt x="109538" y="140494"/>
                  </a:lnTo>
                  <a:lnTo>
                    <a:pt x="92869" y="128587"/>
                  </a:lnTo>
                  <a:lnTo>
                    <a:pt x="85725" y="104775"/>
                  </a:lnTo>
                  <a:lnTo>
                    <a:pt x="71438" y="188119"/>
                  </a:lnTo>
                  <a:lnTo>
                    <a:pt x="47625" y="183355"/>
                  </a:lnTo>
                  <a:lnTo>
                    <a:pt x="19050" y="17621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7" name="Freeform: Shape 224"/>
            <p:cNvSpPr/>
            <p:nvPr/>
          </p:nvSpPr>
          <p:spPr bwMode="auto">
            <a:xfrm rot="2301587">
              <a:off x="5043715" y="5340943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8" name="Freeform 374"/>
            <p:cNvSpPr>
              <a:spLocks/>
            </p:cNvSpPr>
            <p:nvPr/>
          </p:nvSpPr>
          <p:spPr bwMode="auto">
            <a:xfrm>
              <a:off x="5012187" y="4936801"/>
              <a:ext cx="268288" cy="422275"/>
            </a:xfrm>
            <a:custGeom>
              <a:avLst/>
              <a:gdLst>
                <a:gd name="T0" fmla="*/ 2147483646 w 34"/>
                <a:gd name="T1" fmla="*/ 2147483646 h 54"/>
                <a:gd name="T2" fmla="*/ 2147483646 w 34"/>
                <a:gd name="T3" fmla="*/ 2147483646 h 54"/>
                <a:gd name="T4" fmla="*/ 2147483646 w 34"/>
                <a:gd name="T5" fmla="*/ 2147483646 h 54"/>
                <a:gd name="T6" fmla="*/ 2147483646 w 34"/>
                <a:gd name="T7" fmla="*/ 2147483646 h 54"/>
                <a:gd name="T8" fmla="*/ 2147483646 w 34"/>
                <a:gd name="T9" fmla="*/ 2147483646 h 54"/>
                <a:gd name="T10" fmla="*/ 2147483646 w 34"/>
                <a:gd name="T11" fmla="*/ 2147483646 h 54"/>
                <a:gd name="T12" fmla="*/ 2147483646 w 34"/>
                <a:gd name="T13" fmla="*/ 2147483646 h 54"/>
                <a:gd name="T14" fmla="*/ 2147483646 w 34"/>
                <a:gd name="T15" fmla="*/ 2147483646 h 54"/>
                <a:gd name="T16" fmla="*/ 2147483646 w 34"/>
                <a:gd name="T17" fmla="*/ 2147483646 h 54"/>
                <a:gd name="T18" fmla="*/ 2147483646 w 34"/>
                <a:gd name="T19" fmla="*/ 2147483646 h 54"/>
                <a:gd name="T20" fmla="*/ 2147483646 w 34"/>
                <a:gd name="T21" fmla="*/ 2147483646 h 54"/>
                <a:gd name="T22" fmla="*/ 2147483646 w 34"/>
                <a:gd name="T23" fmla="*/ 2147483646 h 54"/>
                <a:gd name="T24" fmla="*/ 0 w 34"/>
                <a:gd name="T25" fmla="*/ 2147483646 h 54"/>
                <a:gd name="T26" fmla="*/ 0 w 34"/>
                <a:gd name="T27" fmla="*/ 2147483646 h 54"/>
                <a:gd name="T28" fmla="*/ 2147483646 w 34"/>
                <a:gd name="T29" fmla="*/ 2147483646 h 54"/>
                <a:gd name="T30" fmla="*/ 2147483646 w 34"/>
                <a:gd name="T31" fmla="*/ 2147483646 h 54"/>
                <a:gd name="T32" fmla="*/ 2147483646 w 34"/>
                <a:gd name="T33" fmla="*/ 2147483646 h 54"/>
                <a:gd name="T34" fmla="*/ 2147483646 w 34"/>
                <a:gd name="T35" fmla="*/ 2147483646 h 54"/>
                <a:gd name="T36" fmla="*/ 2147483646 w 34"/>
                <a:gd name="T37" fmla="*/ 2147483646 h 54"/>
                <a:gd name="T38" fmla="*/ 2147483646 w 34"/>
                <a:gd name="T39" fmla="*/ 2147483646 h 54"/>
                <a:gd name="T40" fmla="*/ 2147483646 w 34"/>
                <a:gd name="T41" fmla="*/ 2147483646 h 54"/>
                <a:gd name="T42" fmla="*/ 2147483646 w 34"/>
                <a:gd name="T43" fmla="*/ 2147483646 h 54"/>
                <a:gd name="T44" fmla="*/ 2147483646 w 34"/>
                <a:gd name="T45" fmla="*/ 2147483646 h 54"/>
                <a:gd name="T46" fmla="*/ 2147483646 w 34"/>
                <a:gd name="T47" fmla="*/ 2147483646 h 54"/>
                <a:gd name="T48" fmla="*/ 2147483646 w 34"/>
                <a:gd name="T49" fmla="*/ 2147483646 h 54"/>
                <a:gd name="T50" fmla="*/ 2147483646 w 34"/>
                <a:gd name="T51" fmla="*/ 2147483646 h 54"/>
                <a:gd name="T52" fmla="*/ 2147483646 w 34"/>
                <a:gd name="T53" fmla="*/ 2147483646 h 54"/>
                <a:gd name="T54" fmla="*/ 2147483646 w 34"/>
                <a:gd name="T55" fmla="*/ 2147483646 h 54"/>
                <a:gd name="T56" fmla="*/ 2147483646 w 34"/>
                <a:gd name="T57" fmla="*/ 2147483646 h 54"/>
                <a:gd name="T58" fmla="*/ 2147483646 w 34"/>
                <a:gd name="T59" fmla="*/ 2147483646 h 54"/>
                <a:gd name="T60" fmla="*/ 2147483646 w 34"/>
                <a:gd name="T61" fmla="*/ 2147483646 h 54"/>
                <a:gd name="T62" fmla="*/ 2147483646 w 34"/>
                <a:gd name="T63" fmla="*/ 2147483646 h 54"/>
                <a:gd name="T64" fmla="*/ 2147483646 w 34"/>
                <a:gd name="T65" fmla="*/ 2147483646 h 54"/>
                <a:gd name="T66" fmla="*/ 2147483646 w 34"/>
                <a:gd name="T67" fmla="*/ 2147483646 h 54"/>
                <a:gd name="T68" fmla="*/ 2147483646 w 34"/>
                <a:gd name="T69" fmla="*/ 0 h 54"/>
                <a:gd name="T70" fmla="*/ 2147483646 w 34"/>
                <a:gd name="T71" fmla="*/ 0 h 54"/>
                <a:gd name="T72" fmla="*/ 2147483646 w 34"/>
                <a:gd name="T73" fmla="*/ 2147483646 h 54"/>
                <a:gd name="T74" fmla="*/ 2147483646 w 34"/>
                <a:gd name="T75" fmla="*/ 2147483646 h 5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" h="54">
                  <a:moveTo>
                    <a:pt x="22" y="2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1"/>
                    <a:pt x="9" y="51"/>
                    <a:pt x="9" y="51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1"/>
                    <a:pt x="30" y="1"/>
                    <a:pt x="30" y="1"/>
                  </a:cubicBezTo>
                  <a:lnTo>
                    <a:pt x="22" y="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9" name="Freeform: Shape 226"/>
            <p:cNvSpPr/>
            <p:nvPr/>
          </p:nvSpPr>
          <p:spPr bwMode="auto">
            <a:xfrm>
              <a:off x="4891088" y="5064919"/>
              <a:ext cx="192881" cy="185737"/>
            </a:xfrm>
            <a:custGeom>
              <a:avLst/>
              <a:gdLst>
                <a:gd name="connsiteX0" fmla="*/ 0 w 192881"/>
                <a:gd name="connsiteY0" fmla="*/ 61912 h 185737"/>
                <a:gd name="connsiteX1" fmla="*/ 47625 w 192881"/>
                <a:gd name="connsiteY1" fmla="*/ 128587 h 185737"/>
                <a:gd name="connsiteX2" fmla="*/ 66675 w 192881"/>
                <a:gd name="connsiteY2" fmla="*/ 130969 h 185737"/>
                <a:gd name="connsiteX3" fmla="*/ 69056 w 192881"/>
                <a:gd name="connsiteY3" fmla="*/ 159544 h 185737"/>
                <a:gd name="connsiteX4" fmla="*/ 161925 w 192881"/>
                <a:gd name="connsiteY4" fmla="*/ 185737 h 185737"/>
                <a:gd name="connsiteX5" fmla="*/ 171450 w 192881"/>
                <a:gd name="connsiteY5" fmla="*/ 171450 h 185737"/>
                <a:gd name="connsiteX6" fmla="*/ 183356 w 192881"/>
                <a:gd name="connsiteY6" fmla="*/ 121444 h 185737"/>
                <a:gd name="connsiteX7" fmla="*/ 192881 w 192881"/>
                <a:gd name="connsiteY7" fmla="*/ 85725 h 185737"/>
                <a:gd name="connsiteX8" fmla="*/ 185737 w 192881"/>
                <a:gd name="connsiteY8" fmla="*/ 19050 h 185737"/>
                <a:gd name="connsiteX9" fmla="*/ 133350 w 192881"/>
                <a:gd name="connsiteY9" fmla="*/ 0 h 185737"/>
                <a:gd name="connsiteX10" fmla="*/ 95250 w 192881"/>
                <a:gd name="connsiteY10" fmla="*/ 14287 h 185737"/>
                <a:gd name="connsiteX11" fmla="*/ 97631 w 192881"/>
                <a:gd name="connsiteY11" fmla="*/ 30956 h 185737"/>
                <a:gd name="connsiteX12" fmla="*/ 69056 w 192881"/>
                <a:gd name="connsiteY12" fmla="*/ 57150 h 185737"/>
                <a:gd name="connsiteX13" fmla="*/ 0 w 192881"/>
                <a:gd name="connsiteY13" fmla="*/ 61912 h 185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881" h="185737">
                  <a:moveTo>
                    <a:pt x="0" y="61912"/>
                  </a:moveTo>
                  <a:lnTo>
                    <a:pt x="47625" y="128587"/>
                  </a:lnTo>
                  <a:lnTo>
                    <a:pt x="66675" y="130969"/>
                  </a:lnTo>
                  <a:lnTo>
                    <a:pt x="69056" y="159544"/>
                  </a:lnTo>
                  <a:lnTo>
                    <a:pt x="161925" y="185737"/>
                  </a:lnTo>
                  <a:lnTo>
                    <a:pt x="171450" y="171450"/>
                  </a:lnTo>
                  <a:lnTo>
                    <a:pt x="183356" y="121444"/>
                  </a:lnTo>
                  <a:lnTo>
                    <a:pt x="192881" y="85725"/>
                  </a:lnTo>
                  <a:lnTo>
                    <a:pt x="185737" y="19050"/>
                  </a:lnTo>
                  <a:lnTo>
                    <a:pt x="133350" y="0"/>
                  </a:lnTo>
                  <a:lnTo>
                    <a:pt x="95250" y="14287"/>
                  </a:lnTo>
                  <a:lnTo>
                    <a:pt x="97631" y="30956"/>
                  </a:lnTo>
                  <a:lnTo>
                    <a:pt x="69056" y="57150"/>
                  </a:lnTo>
                  <a:lnTo>
                    <a:pt x="0" y="619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0" name="Freeform: Shape 227"/>
            <p:cNvSpPr/>
            <p:nvPr/>
          </p:nvSpPr>
          <p:spPr bwMode="auto">
            <a:xfrm>
              <a:off x="4824413" y="4876800"/>
              <a:ext cx="292893" cy="250031"/>
            </a:xfrm>
            <a:custGeom>
              <a:avLst/>
              <a:gdLst>
                <a:gd name="connsiteX0" fmla="*/ 4762 w 292893"/>
                <a:gd name="connsiteY0" fmla="*/ 119063 h 250031"/>
                <a:gd name="connsiteX1" fmla="*/ 0 w 292893"/>
                <a:gd name="connsiteY1" fmla="*/ 209550 h 250031"/>
                <a:gd name="connsiteX2" fmla="*/ 26193 w 292893"/>
                <a:gd name="connsiteY2" fmla="*/ 242888 h 250031"/>
                <a:gd name="connsiteX3" fmla="*/ 76200 w 292893"/>
                <a:gd name="connsiteY3" fmla="*/ 250031 h 250031"/>
                <a:gd name="connsiteX4" fmla="*/ 138112 w 292893"/>
                <a:gd name="connsiteY4" fmla="*/ 245269 h 250031"/>
                <a:gd name="connsiteX5" fmla="*/ 164306 w 292893"/>
                <a:gd name="connsiteY5" fmla="*/ 216694 h 250031"/>
                <a:gd name="connsiteX6" fmla="*/ 157162 w 292893"/>
                <a:gd name="connsiteY6" fmla="*/ 200025 h 250031"/>
                <a:gd name="connsiteX7" fmla="*/ 200025 w 292893"/>
                <a:gd name="connsiteY7" fmla="*/ 185738 h 250031"/>
                <a:gd name="connsiteX8" fmla="*/ 211931 w 292893"/>
                <a:gd name="connsiteY8" fmla="*/ 169069 h 250031"/>
                <a:gd name="connsiteX9" fmla="*/ 252412 w 292893"/>
                <a:gd name="connsiteY9" fmla="*/ 147638 h 250031"/>
                <a:gd name="connsiteX10" fmla="*/ 273843 w 292893"/>
                <a:gd name="connsiteY10" fmla="*/ 147638 h 250031"/>
                <a:gd name="connsiteX11" fmla="*/ 292893 w 292893"/>
                <a:gd name="connsiteY11" fmla="*/ 92869 h 250031"/>
                <a:gd name="connsiteX12" fmla="*/ 273843 w 292893"/>
                <a:gd name="connsiteY12" fmla="*/ 33338 h 250031"/>
                <a:gd name="connsiteX13" fmla="*/ 230981 w 292893"/>
                <a:gd name="connsiteY13" fmla="*/ 21431 h 250031"/>
                <a:gd name="connsiteX14" fmla="*/ 214312 w 292893"/>
                <a:gd name="connsiteY14" fmla="*/ 0 h 250031"/>
                <a:gd name="connsiteX15" fmla="*/ 192881 w 292893"/>
                <a:gd name="connsiteY15" fmla="*/ 11906 h 250031"/>
                <a:gd name="connsiteX16" fmla="*/ 183356 w 292893"/>
                <a:gd name="connsiteY16" fmla="*/ 40481 h 250031"/>
                <a:gd name="connsiteX17" fmla="*/ 176212 w 292893"/>
                <a:gd name="connsiteY17" fmla="*/ 83344 h 250031"/>
                <a:gd name="connsiteX18" fmla="*/ 197643 w 292893"/>
                <a:gd name="connsiteY18" fmla="*/ 119063 h 250031"/>
                <a:gd name="connsiteX19" fmla="*/ 197643 w 292893"/>
                <a:gd name="connsiteY19" fmla="*/ 135731 h 250031"/>
                <a:gd name="connsiteX20" fmla="*/ 166687 w 292893"/>
                <a:gd name="connsiteY20" fmla="*/ 116681 h 250031"/>
                <a:gd name="connsiteX21" fmla="*/ 95250 w 292893"/>
                <a:gd name="connsiteY21" fmla="*/ 85725 h 250031"/>
                <a:gd name="connsiteX22" fmla="*/ 52387 w 292893"/>
                <a:gd name="connsiteY22" fmla="*/ 85725 h 250031"/>
                <a:gd name="connsiteX23" fmla="*/ 57150 w 292893"/>
                <a:gd name="connsiteY23" fmla="*/ 119063 h 250031"/>
                <a:gd name="connsiteX24" fmla="*/ 4762 w 292893"/>
                <a:gd name="connsiteY24" fmla="*/ 119063 h 25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2893" h="250031">
                  <a:moveTo>
                    <a:pt x="4762" y="119063"/>
                  </a:moveTo>
                  <a:lnTo>
                    <a:pt x="0" y="209550"/>
                  </a:lnTo>
                  <a:lnTo>
                    <a:pt x="26193" y="242888"/>
                  </a:lnTo>
                  <a:lnTo>
                    <a:pt x="76200" y="250031"/>
                  </a:lnTo>
                  <a:lnTo>
                    <a:pt x="138112" y="245269"/>
                  </a:lnTo>
                  <a:lnTo>
                    <a:pt x="164306" y="216694"/>
                  </a:lnTo>
                  <a:lnTo>
                    <a:pt x="157162" y="200025"/>
                  </a:lnTo>
                  <a:lnTo>
                    <a:pt x="200025" y="185738"/>
                  </a:lnTo>
                  <a:lnTo>
                    <a:pt x="211931" y="169069"/>
                  </a:lnTo>
                  <a:lnTo>
                    <a:pt x="252412" y="147638"/>
                  </a:lnTo>
                  <a:lnTo>
                    <a:pt x="273843" y="147638"/>
                  </a:lnTo>
                  <a:lnTo>
                    <a:pt x="292893" y="92869"/>
                  </a:lnTo>
                  <a:lnTo>
                    <a:pt x="273843" y="33338"/>
                  </a:lnTo>
                  <a:lnTo>
                    <a:pt x="230981" y="21431"/>
                  </a:lnTo>
                  <a:lnTo>
                    <a:pt x="214312" y="0"/>
                  </a:lnTo>
                  <a:lnTo>
                    <a:pt x="192881" y="11906"/>
                  </a:lnTo>
                  <a:lnTo>
                    <a:pt x="183356" y="40481"/>
                  </a:lnTo>
                  <a:lnTo>
                    <a:pt x="176212" y="83344"/>
                  </a:lnTo>
                  <a:lnTo>
                    <a:pt x="197643" y="119063"/>
                  </a:lnTo>
                  <a:lnTo>
                    <a:pt x="197643" y="135731"/>
                  </a:lnTo>
                  <a:lnTo>
                    <a:pt x="166687" y="116681"/>
                  </a:lnTo>
                  <a:lnTo>
                    <a:pt x="95250" y="85725"/>
                  </a:lnTo>
                  <a:lnTo>
                    <a:pt x="52387" y="85725"/>
                  </a:lnTo>
                  <a:lnTo>
                    <a:pt x="57150" y="119063"/>
                  </a:lnTo>
                  <a:lnTo>
                    <a:pt x="4762" y="1190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1" name="Freeform: Shape 228"/>
            <p:cNvSpPr/>
            <p:nvPr/>
          </p:nvSpPr>
          <p:spPr bwMode="auto">
            <a:xfrm>
              <a:off x="4586288" y="4548188"/>
              <a:ext cx="466725" cy="466725"/>
            </a:xfrm>
            <a:custGeom>
              <a:avLst/>
              <a:gdLst>
                <a:gd name="connsiteX0" fmla="*/ 440531 w 466725"/>
                <a:gd name="connsiteY0" fmla="*/ 123825 h 466725"/>
                <a:gd name="connsiteX1" fmla="*/ 466725 w 466725"/>
                <a:gd name="connsiteY1" fmla="*/ 69056 h 466725"/>
                <a:gd name="connsiteX2" fmla="*/ 466725 w 466725"/>
                <a:gd name="connsiteY2" fmla="*/ 23812 h 466725"/>
                <a:gd name="connsiteX3" fmla="*/ 442912 w 466725"/>
                <a:gd name="connsiteY3" fmla="*/ 19050 h 466725"/>
                <a:gd name="connsiteX4" fmla="*/ 400050 w 466725"/>
                <a:gd name="connsiteY4" fmla="*/ 14287 h 466725"/>
                <a:gd name="connsiteX5" fmla="*/ 383381 w 466725"/>
                <a:gd name="connsiteY5" fmla="*/ 4762 h 466725"/>
                <a:gd name="connsiteX6" fmla="*/ 335756 w 466725"/>
                <a:gd name="connsiteY6" fmla="*/ 4762 h 466725"/>
                <a:gd name="connsiteX7" fmla="*/ 273843 w 466725"/>
                <a:gd name="connsiteY7" fmla="*/ 14287 h 466725"/>
                <a:gd name="connsiteX8" fmla="*/ 252412 w 466725"/>
                <a:gd name="connsiteY8" fmla="*/ 23812 h 466725"/>
                <a:gd name="connsiteX9" fmla="*/ 178593 w 466725"/>
                <a:gd name="connsiteY9" fmla="*/ 0 h 466725"/>
                <a:gd name="connsiteX10" fmla="*/ 154781 w 466725"/>
                <a:gd name="connsiteY10" fmla="*/ 19050 h 466725"/>
                <a:gd name="connsiteX11" fmla="*/ 164306 w 466725"/>
                <a:gd name="connsiteY11" fmla="*/ 50006 h 466725"/>
                <a:gd name="connsiteX12" fmla="*/ 157162 w 466725"/>
                <a:gd name="connsiteY12" fmla="*/ 116681 h 466725"/>
                <a:gd name="connsiteX13" fmla="*/ 100012 w 466725"/>
                <a:gd name="connsiteY13" fmla="*/ 192881 h 466725"/>
                <a:gd name="connsiteX14" fmla="*/ 57150 w 466725"/>
                <a:gd name="connsiteY14" fmla="*/ 261937 h 466725"/>
                <a:gd name="connsiteX15" fmla="*/ 14287 w 466725"/>
                <a:gd name="connsiteY15" fmla="*/ 254793 h 466725"/>
                <a:gd name="connsiteX16" fmla="*/ 7143 w 466725"/>
                <a:gd name="connsiteY16" fmla="*/ 271462 h 466725"/>
                <a:gd name="connsiteX17" fmla="*/ 0 w 466725"/>
                <a:gd name="connsiteY17" fmla="*/ 300037 h 466725"/>
                <a:gd name="connsiteX18" fmla="*/ 30956 w 466725"/>
                <a:gd name="connsiteY18" fmla="*/ 280987 h 466725"/>
                <a:gd name="connsiteX19" fmla="*/ 95250 w 466725"/>
                <a:gd name="connsiteY19" fmla="*/ 278606 h 466725"/>
                <a:gd name="connsiteX20" fmla="*/ 138112 w 466725"/>
                <a:gd name="connsiteY20" fmla="*/ 316706 h 466725"/>
                <a:gd name="connsiteX21" fmla="*/ 161925 w 466725"/>
                <a:gd name="connsiteY21" fmla="*/ 328612 h 466725"/>
                <a:gd name="connsiteX22" fmla="*/ 183356 w 466725"/>
                <a:gd name="connsiteY22" fmla="*/ 307181 h 466725"/>
                <a:gd name="connsiteX23" fmla="*/ 223837 w 466725"/>
                <a:gd name="connsiteY23" fmla="*/ 309562 h 466725"/>
                <a:gd name="connsiteX24" fmla="*/ 250031 w 466725"/>
                <a:gd name="connsiteY24" fmla="*/ 402431 h 466725"/>
                <a:gd name="connsiteX25" fmla="*/ 290512 w 466725"/>
                <a:gd name="connsiteY25" fmla="*/ 414337 h 466725"/>
                <a:gd name="connsiteX26" fmla="*/ 342900 w 466725"/>
                <a:gd name="connsiteY26" fmla="*/ 414337 h 466725"/>
                <a:gd name="connsiteX27" fmla="*/ 440531 w 466725"/>
                <a:gd name="connsiteY27" fmla="*/ 466725 h 466725"/>
                <a:gd name="connsiteX28" fmla="*/ 421481 w 466725"/>
                <a:gd name="connsiteY28" fmla="*/ 416718 h 466725"/>
                <a:gd name="connsiteX29" fmla="*/ 416718 w 466725"/>
                <a:gd name="connsiteY29" fmla="*/ 354806 h 466725"/>
                <a:gd name="connsiteX30" fmla="*/ 440531 w 466725"/>
                <a:gd name="connsiteY30" fmla="*/ 328612 h 466725"/>
                <a:gd name="connsiteX31" fmla="*/ 466725 w 466725"/>
                <a:gd name="connsiteY31" fmla="*/ 323850 h 466725"/>
                <a:gd name="connsiteX32" fmla="*/ 440531 w 466725"/>
                <a:gd name="connsiteY32" fmla="*/ 245268 h 466725"/>
                <a:gd name="connsiteX33" fmla="*/ 440531 w 466725"/>
                <a:gd name="connsiteY33" fmla="*/ 123825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66725" h="466725">
                  <a:moveTo>
                    <a:pt x="440531" y="123825"/>
                  </a:moveTo>
                  <a:lnTo>
                    <a:pt x="466725" y="69056"/>
                  </a:lnTo>
                  <a:lnTo>
                    <a:pt x="466725" y="23812"/>
                  </a:lnTo>
                  <a:lnTo>
                    <a:pt x="442912" y="19050"/>
                  </a:lnTo>
                  <a:lnTo>
                    <a:pt x="400050" y="14287"/>
                  </a:lnTo>
                  <a:lnTo>
                    <a:pt x="383381" y="4762"/>
                  </a:lnTo>
                  <a:lnTo>
                    <a:pt x="335756" y="4762"/>
                  </a:lnTo>
                  <a:lnTo>
                    <a:pt x="273843" y="14287"/>
                  </a:lnTo>
                  <a:lnTo>
                    <a:pt x="252412" y="23812"/>
                  </a:lnTo>
                  <a:lnTo>
                    <a:pt x="178593" y="0"/>
                  </a:lnTo>
                  <a:lnTo>
                    <a:pt x="154781" y="19050"/>
                  </a:lnTo>
                  <a:lnTo>
                    <a:pt x="164306" y="50006"/>
                  </a:lnTo>
                  <a:lnTo>
                    <a:pt x="157162" y="116681"/>
                  </a:lnTo>
                  <a:lnTo>
                    <a:pt x="100012" y="192881"/>
                  </a:lnTo>
                  <a:lnTo>
                    <a:pt x="57150" y="261937"/>
                  </a:lnTo>
                  <a:lnTo>
                    <a:pt x="14287" y="254793"/>
                  </a:lnTo>
                  <a:lnTo>
                    <a:pt x="7143" y="271462"/>
                  </a:lnTo>
                  <a:lnTo>
                    <a:pt x="0" y="300037"/>
                  </a:lnTo>
                  <a:lnTo>
                    <a:pt x="30956" y="280987"/>
                  </a:lnTo>
                  <a:lnTo>
                    <a:pt x="95250" y="278606"/>
                  </a:lnTo>
                  <a:lnTo>
                    <a:pt x="138112" y="316706"/>
                  </a:lnTo>
                  <a:lnTo>
                    <a:pt x="161925" y="328612"/>
                  </a:lnTo>
                  <a:lnTo>
                    <a:pt x="183356" y="307181"/>
                  </a:lnTo>
                  <a:lnTo>
                    <a:pt x="223837" y="309562"/>
                  </a:lnTo>
                  <a:lnTo>
                    <a:pt x="250031" y="402431"/>
                  </a:lnTo>
                  <a:lnTo>
                    <a:pt x="290512" y="414337"/>
                  </a:lnTo>
                  <a:lnTo>
                    <a:pt x="342900" y="414337"/>
                  </a:lnTo>
                  <a:lnTo>
                    <a:pt x="440531" y="466725"/>
                  </a:lnTo>
                  <a:lnTo>
                    <a:pt x="421481" y="416718"/>
                  </a:lnTo>
                  <a:lnTo>
                    <a:pt x="416718" y="354806"/>
                  </a:lnTo>
                  <a:lnTo>
                    <a:pt x="440531" y="328612"/>
                  </a:lnTo>
                  <a:lnTo>
                    <a:pt x="466725" y="323850"/>
                  </a:lnTo>
                  <a:lnTo>
                    <a:pt x="440531" y="245268"/>
                  </a:lnTo>
                  <a:lnTo>
                    <a:pt x="440531" y="12382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2" name="Freeform: Shape 229"/>
            <p:cNvSpPr/>
            <p:nvPr/>
          </p:nvSpPr>
          <p:spPr bwMode="auto">
            <a:xfrm>
              <a:off x="4943475" y="5417344"/>
              <a:ext cx="66675" cy="59531"/>
            </a:xfrm>
            <a:custGeom>
              <a:avLst/>
              <a:gdLst>
                <a:gd name="connsiteX0" fmla="*/ 42863 w 42863"/>
                <a:gd name="connsiteY0" fmla="*/ 0 h 59531"/>
                <a:gd name="connsiteX1" fmla="*/ 0 w 42863"/>
                <a:gd name="connsiteY1" fmla="*/ 33337 h 59531"/>
                <a:gd name="connsiteX2" fmla="*/ 33338 w 42863"/>
                <a:gd name="connsiteY2" fmla="*/ 59531 h 59531"/>
                <a:gd name="connsiteX3" fmla="*/ 42863 w 42863"/>
                <a:gd name="connsiteY3" fmla="*/ 0 h 59531"/>
                <a:gd name="connsiteX0" fmla="*/ 42863 w 42863"/>
                <a:gd name="connsiteY0" fmla="*/ 0 h 59531"/>
                <a:gd name="connsiteX1" fmla="*/ 0 w 42863"/>
                <a:gd name="connsiteY1" fmla="*/ 33337 h 59531"/>
                <a:gd name="connsiteX2" fmla="*/ 33338 w 42863"/>
                <a:gd name="connsiteY2" fmla="*/ 59531 h 59531"/>
                <a:gd name="connsiteX3" fmla="*/ 35719 w 42863"/>
                <a:gd name="connsiteY3" fmla="*/ 28575 h 59531"/>
                <a:gd name="connsiteX4" fmla="*/ 42863 w 42863"/>
                <a:gd name="connsiteY4" fmla="*/ 0 h 59531"/>
                <a:gd name="connsiteX0" fmla="*/ 42863 w 66675"/>
                <a:gd name="connsiteY0" fmla="*/ 0 h 59531"/>
                <a:gd name="connsiteX1" fmla="*/ 0 w 66675"/>
                <a:gd name="connsiteY1" fmla="*/ 33337 h 59531"/>
                <a:gd name="connsiteX2" fmla="*/ 33338 w 66675"/>
                <a:gd name="connsiteY2" fmla="*/ 59531 h 59531"/>
                <a:gd name="connsiteX3" fmla="*/ 66675 w 66675"/>
                <a:gd name="connsiteY3" fmla="*/ 28575 h 59531"/>
                <a:gd name="connsiteX4" fmla="*/ 42863 w 66675"/>
                <a:gd name="connsiteY4" fmla="*/ 0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" h="59531">
                  <a:moveTo>
                    <a:pt x="42863" y="0"/>
                  </a:moveTo>
                  <a:lnTo>
                    <a:pt x="0" y="33337"/>
                  </a:lnTo>
                  <a:lnTo>
                    <a:pt x="33338" y="59531"/>
                  </a:lnTo>
                  <a:lnTo>
                    <a:pt x="66675" y="28575"/>
                  </a:lnTo>
                  <a:lnTo>
                    <a:pt x="4286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223" name="Freeform: Shape 230"/>
            <p:cNvSpPr/>
            <p:nvPr/>
          </p:nvSpPr>
          <p:spPr bwMode="auto">
            <a:xfrm>
              <a:off x="5126831" y="3855244"/>
              <a:ext cx="531020" cy="445294"/>
            </a:xfrm>
            <a:custGeom>
              <a:avLst/>
              <a:gdLst>
                <a:gd name="connsiteX0" fmla="*/ 0 w 533400"/>
                <a:gd name="connsiteY0" fmla="*/ 121444 h 445294"/>
                <a:gd name="connsiteX1" fmla="*/ 54769 w 533400"/>
                <a:gd name="connsiteY1" fmla="*/ 157162 h 445294"/>
                <a:gd name="connsiteX2" fmla="*/ 95250 w 533400"/>
                <a:gd name="connsiteY2" fmla="*/ 221456 h 445294"/>
                <a:gd name="connsiteX3" fmla="*/ 147638 w 533400"/>
                <a:gd name="connsiteY3" fmla="*/ 292894 h 445294"/>
                <a:gd name="connsiteX4" fmla="*/ 138113 w 533400"/>
                <a:gd name="connsiteY4" fmla="*/ 302419 h 445294"/>
                <a:gd name="connsiteX5" fmla="*/ 171450 w 533400"/>
                <a:gd name="connsiteY5" fmla="*/ 350044 h 445294"/>
                <a:gd name="connsiteX6" fmla="*/ 209550 w 533400"/>
                <a:gd name="connsiteY6" fmla="*/ 407194 h 445294"/>
                <a:gd name="connsiteX7" fmla="*/ 221456 w 533400"/>
                <a:gd name="connsiteY7" fmla="*/ 445294 h 445294"/>
                <a:gd name="connsiteX8" fmla="*/ 228600 w 533400"/>
                <a:gd name="connsiteY8" fmla="*/ 400050 h 445294"/>
                <a:gd name="connsiteX9" fmla="*/ 259556 w 533400"/>
                <a:gd name="connsiteY9" fmla="*/ 395287 h 445294"/>
                <a:gd name="connsiteX10" fmla="*/ 307181 w 533400"/>
                <a:gd name="connsiteY10" fmla="*/ 402431 h 445294"/>
                <a:gd name="connsiteX11" fmla="*/ 328613 w 533400"/>
                <a:gd name="connsiteY11" fmla="*/ 409575 h 445294"/>
                <a:gd name="connsiteX12" fmla="*/ 352425 w 533400"/>
                <a:gd name="connsiteY12" fmla="*/ 381000 h 445294"/>
                <a:gd name="connsiteX13" fmla="*/ 385763 w 533400"/>
                <a:gd name="connsiteY13" fmla="*/ 371475 h 445294"/>
                <a:gd name="connsiteX14" fmla="*/ 469106 w 533400"/>
                <a:gd name="connsiteY14" fmla="*/ 350044 h 445294"/>
                <a:gd name="connsiteX15" fmla="*/ 521494 w 533400"/>
                <a:gd name="connsiteY15" fmla="*/ 338137 h 445294"/>
                <a:gd name="connsiteX16" fmla="*/ 533400 w 533400"/>
                <a:gd name="connsiteY16" fmla="*/ 290512 h 445294"/>
                <a:gd name="connsiteX17" fmla="*/ 526256 w 533400"/>
                <a:gd name="connsiteY17" fmla="*/ 261937 h 445294"/>
                <a:gd name="connsiteX18" fmla="*/ 466725 w 533400"/>
                <a:gd name="connsiteY18" fmla="*/ 264319 h 445294"/>
                <a:gd name="connsiteX19" fmla="*/ 466725 w 533400"/>
                <a:gd name="connsiteY19" fmla="*/ 264319 h 445294"/>
                <a:gd name="connsiteX20" fmla="*/ 428625 w 533400"/>
                <a:gd name="connsiteY20" fmla="*/ 216694 h 445294"/>
                <a:gd name="connsiteX21" fmla="*/ 409575 w 533400"/>
                <a:gd name="connsiteY21" fmla="*/ 202406 h 445294"/>
                <a:gd name="connsiteX22" fmla="*/ 404813 w 533400"/>
                <a:gd name="connsiteY22" fmla="*/ 185737 h 445294"/>
                <a:gd name="connsiteX23" fmla="*/ 364331 w 533400"/>
                <a:gd name="connsiteY23" fmla="*/ 107156 h 445294"/>
                <a:gd name="connsiteX24" fmla="*/ 345281 w 533400"/>
                <a:gd name="connsiteY24" fmla="*/ 114300 h 445294"/>
                <a:gd name="connsiteX25" fmla="*/ 326231 w 533400"/>
                <a:gd name="connsiteY25" fmla="*/ 92869 h 445294"/>
                <a:gd name="connsiteX26" fmla="*/ 304800 w 533400"/>
                <a:gd name="connsiteY26" fmla="*/ 88106 h 445294"/>
                <a:gd name="connsiteX27" fmla="*/ 250031 w 533400"/>
                <a:gd name="connsiteY27" fmla="*/ 80962 h 445294"/>
                <a:gd name="connsiteX28" fmla="*/ 197644 w 533400"/>
                <a:gd name="connsiteY28" fmla="*/ 30956 h 445294"/>
                <a:gd name="connsiteX29" fmla="*/ 121444 w 533400"/>
                <a:gd name="connsiteY29" fmla="*/ 0 h 445294"/>
                <a:gd name="connsiteX30" fmla="*/ 61913 w 533400"/>
                <a:gd name="connsiteY30" fmla="*/ 28575 h 445294"/>
                <a:gd name="connsiteX31" fmla="*/ 90488 w 533400"/>
                <a:gd name="connsiteY31" fmla="*/ 52387 h 445294"/>
                <a:gd name="connsiteX32" fmla="*/ 64294 w 533400"/>
                <a:gd name="connsiteY32" fmla="*/ 71437 h 445294"/>
                <a:gd name="connsiteX33" fmla="*/ 0 w 533400"/>
                <a:gd name="connsiteY33" fmla="*/ 121444 h 445294"/>
                <a:gd name="connsiteX0" fmla="*/ 0 w 533400"/>
                <a:gd name="connsiteY0" fmla="*/ 121444 h 445294"/>
                <a:gd name="connsiteX1" fmla="*/ 54769 w 533400"/>
                <a:gd name="connsiteY1" fmla="*/ 157162 h 445294"/>
                <a:gd name="connsiteX2" fmla="*/ 95250 w 533400"/>
                <a:gd name="connsiteY2" fmla="*/ 221456 h 445294"/>
                <a:gd name="connsiteX3" fmla="*/ 147638 w 533400"/>
                <a:gd name="connsiteY3" fmla="*/ 292894 h 445294"/>
                <a:gd name="connsiteX4" fmla="*/ 138113 w 533400"/>
                <a:gd name="connsiteY4" fmla="*/ 302419 h 445294"/>
                <a:gd name="connsiteX5" fmla="*/ 171450 w 533400"/>
                <a:gd name="connsiteY5" fmla="*/ 350044 h 445294"/>
                <a:gd name="connsiteX6" fmla="*/ 209550 w 533400"/>
                <a:gd name="connsiteY6" fmla="*/ 407194 h 445294"/>
                <a:gd name="connsiteX7" fmla="*/ 221456 w 533400"/>
                <a:gd name="connsiteY7" fmla="*/ 445294 h 445294"/>
                <a:gd name="connsiteX8" fmla="*/ 228600 w 533400"/>
                <a:gd name="connsiteY8" fmla="*/ 400050 h 445294"/>
                <a:gd name="connsiteX9" fmla="*/ 259556 w 533400"/>
                <a:gd name="connsiteY9" fmla="*/ 395287 h 445294"/>
                <a:gd name="connsiteX10" fmla="*/ 307181 w 533400"/>
                <a:gd name="connsiteY10" fmla="*/ 402431 h 445294"/>
                <a:gd name="connsiteX11" fmla="*/ 328613 w 533400"/>
                <a:gd name="connsiteY11" fmla="*/ 409575 h 445294"/>
                <a:gd name="connsiteX12" fmla="*/ 352425 w 533400"/>
                <a:gd name="connsiteY12" fmla="*/ 381000 h 445294"/>
                <a:gd name="connsiteX13" fmla="*/ 385763 w 533400"/>
                <a:gd name="connsiteY13" fmla="*/ 371475 h 445294"/>
                <a:gd name="connsiteX14" fmla="*/ 469106 w 533400"/>
                <a:gd name="connsiteY14" fmla="*/ 350044 h 445294"/>
                <a:gd name="connsiteX15" fmla="*/ 521494 w 533400"/>
                <a:gd name="connsiteY15" fmla="*/ 338137 h 445294"/>
                <a:gd name="connsiteX16" fmla="*/ 533400 w 533400"/>
                <a:gd name="connsiteY16" fmla="*/ 290512 h 445294"/>
                <a:gd name="connsiteX17" fmla="*/ 526256 w 533400"/>
                <a:gd name="connsiteY17" fmla="*/ 261937 h 445294"/>
                <a:gd name="connsiteX18" fmla="*/ 466725 w 533400"/>
                <a:gd name="connsiteY18" fmla="*/ 264319 h 445294"/>
                <a:gd name="connsiteX19" fmla="*/ 466725 w 533400"/>
                <a:gd name="connsiteY19" fmla="*/ 264319 h 445294"/>
                <a:gd name="connsiteX20" fmla="*/ 428625 w 533400"/>
                <a:gd name="connsiteY20" fmla="*/ 216694 h 445294"/>
                <a:gd name="connsiteX21" fmla="*/ 409575 w 533400"/>
                <a:gd name="connsiteY21" fmla="*/ 202406 h 445294"/>
                <a:gd name="connsiteX22" fmla="*/ 404813 w 533400"/>
                <a:gd name="connsiteY22" fmla="*/ 185737 h 445294"/>
                <a:gd name="connsiteX23" fmla="*/ 364331 w 533400"/>
                <a:gd name="connsiteY23" fmla="*/ 107156 h 445294"/>
                <a:gd name="connsiteX24" fmla="*/ 345281 w 533400"/>
                <a:gd name="connsiteY24" fmla="*/ 114300 h 445294"/>
                <a:gd name="connsiteX25" fmla="*/ 326231 w 533400"/>
                <a:gd name="connsiteY25" fmla="*/ 92869 h 445294"/>
                <a:gd name="connsiteX26" fmla="*/ 304800 w 533400"/>
                <a:gd name="connsiteY26" fmla="*/ 88106 h 445294"/>
                <a:gd name="connsiteX27" fmla="*/ 250031 w 533400"/>
                <a:gd name="connsiteY27" fmla="*/ 80962 h 445294"/>
                <a:gd name="connsiteX28" fmla="*/ 197644 w 533400"/>
                <a:gd name="connsiteY28" fmla="*/ 30956 h 445294"/>
                <a:gd name="connsiteX29" fmla="*/ 121444 w 533400"/>
                <a:gd name="connsiteY29" fmla="*/ 0 h 445294"/>
                <a:gd name="connsiteX30" fmla="*/ 61913 w 533400"/>
                <a:gd name="connsiteY30" fmla="*/ 28575 h 445294"/>
                <a:gd name="connsiteX31" fmla="*/ 90488 w 533400"/>
                <a:gd name="connsiteY31" fmla="*/ 52387 h 445294"/>
                <a:gd name="connsiteX32" fmla="*/ 64294 w 533400"/>
                <a:gd name="connsiteY32" fmla="*/ 71437 h 445294"/>
                <a:gd name="connsiteX33" fmla="*/ 33338 w 533400"/>
                <a:gd name="connsiteY33" fmla="*/ 92869 h 445294"/>
                <a:gd name="connsiteX34" fmla="*/ 0 w 533400"/>
                <a:gd name="connsiteY34" fmla="*/ 121444 h 445294"/>
                <a:gd name="connsiteX0" fmla="*/ 0 w 533400"/>
                <a:gd name="connsiteY0" fmla="*/ 121444 h 445294"/>
                <a:gd name="connsiteX1" fmla="*/ 54769 w 533400"/>
                <a:gd name="connsiteY1" fmla="*/ 157162 h 445294"/>
                <a:gd name="connsiteX2" fmla="*/ 95250 w 533400"/>
                <a:gd name="connsiteY2" fmla="*/ 221456 h 445294"/>
                <a:gd name="connsiteX3" fmla="*/ 147638 w 533400"/>
                <a:gd name="connsiteY3" fmla="*/ 292894 h 445294"/>
                <a:gd name="connsiteX4" fmla="*/ 138113 w 533400"/>
                <a:gd name="connsiteY4" fmla="*/ 302419 h 445294"/>
                <a:gd name="connsiteX5" fmla="*/ 171450 w 533400"/>
                <a:gd name="connsiteY5" fmla="*/ 350044 h 445294"/>
                <a:gd name="connsiteX6" fmla="*/ 209550 w 533400"/>
                <a:gd name="connsiteY6" fmla="*/ 407194 h 445294"/>
                <a:gd name="connsiteX7" fmla="*/ 221456 w 533400"/>
                <a:gd name="connsiteY7" fmla="*/ 445294 h 445294"/>
                <a:gd name="connsiteX8" fmla="*/ 228600 w 533400"/>
                <a:gd name="connsiteY8" fmla="*/ 400050 h 445294"/>
                <a:gd name="connsiteX9" fmla="*/ 259556 w 533400"/>
                <a:gd name="connsiteY9" fmla="*/ 395287 h 445294"/>
                <a:gd name="connsiteX10" fmla="*/ 307181 w 533400"/>
                <a:gd name="connsiteY10" fmla="*/ 402431 h 445294"/>
                <a:gd name="connsiteX11" fmla="*/ 328613 w 533400"/>
                <a:gd name="connsiteY11" fmla="*/ 409575 h 445294"/>
                <a:gd name="connsiteX12" fmla="*/ 352425 w 533400"/>
                <a:gd name="connsiteY12" fmla="*/ 381000 h 445294"/>
                <a:gd name="connsiteX13" fmla="*/ 385763 w 533400"/>
                <a:gd name="connsiteY13" fmla="*/ 371475 h 445294"/>
                <a:gd name="connsiteX14" fmla="*/ 469106 w 533400"/>
                <a:gd name="connsiteY14" fmla="*/ 350044 h 445294"/>
                <a:gd name="connsiteX15" fmla="*/ 521494 w 533400"/>
                <a:gd name="connsiteY15" fmla="*/ 338137 h 445294"/>
                <a:gd name="connsiteX16" fmla="*/ 533400 w 533400"/>
                <a:gd name="connsiteY16" fmla="*/ 290512 h 445294"/>
                <a:gd name="connsiteX17" fmla="*/ 526256 w 533400"/>
                <a:gd name="connsiteY17" fmla="*/ 261937 h 445294"/>
                <a:gd name="connsiteX18" fmla="*/ 466725 w 533400"/>
                <a:gd name="connsiteY18" fmla="*/ 264319 h 445294"/>
                <a:gd name="connsiteX19" fmla="*/ 466725 w 533400"/>
                <a:gd name="connsiteY19" fmla="*/ 264319 h 445294"/>
                <a:gd name="connsiteX20" fmla="*/ 428625 w 533400"/>
                <a:gd name="connsiteY20" fmla="*/ 216694 h 445294"/>
                <a:gd name="connsiteX21" fmla="*/ 409575 w 533400"/>
                <a:gd name="connsiteY21" fmla="*/ 202406 h 445294"/>
                <a:gd name="connsiteX22" fmla="*/ 404813 w 533400"/>
                <a:gd name="connsiteY22" fmla="*/ 185737 h 445294"/>
                <a:gd name="connsiteX23" fmla="*/ 364331 w 533400"/>
                <a:gd name="connsiteY23" fmla="*/ 107156 h 445294"/>
                <a:gd name="connsiteX24" fmla="*/ 345281 w 533400"/>
                <a:gd name="connsiteY24" fmla="*/ 114300 h 445294"/>
                <a:gd name="connsiteX25" fmla="*/ 326231 w 533400"/>
                <a:gd name="connsiteY25" fmla="*/ 92869 h 445294"/>
                <a:gd name="connsiteX26" fmla="*/ 304800 w 533400"/>
                <a:gd name="connsiteY26" fmla="*/ 88106 h 445294"/>
                <a:gd name="connsiteX27" fmla="*/ 250031 w 533400"/>
                <a:gd name="connsiteY27" fmla="*/ 80962 h 445294"/>
                <a:gd name="connsiteX28" fmla="*/ 197644 w 533400"/>
                <a:gd name="connsiteY28" fmla="*/ 30956 h 445294"/>
                <a:gd name="connsiteX29" fmla="*/ 121444 w 533400"/>
                <a:gd name="connsiteY29" fmla="*/ 0 h 445294"/>
                <a:gd name="connsiteX30" fmla="*/ 61913 w 533400"/>
                <a:gd name="connsiteY30" fmla="*/ 28575 h 445294"/>
                <a:gd name="connsiteX31" fmla="*/ 90488 w 533400"/>
                <a:gd name="connsiteY31" fmla="*/ 52387 h 445294"/>
                <a:gd name="connsiteX32" fmla="*/ 64294 w 533400"/>
                <a:gd name="connsiteY32" fmla="*/ 71437 h 445294"/>
                <a:gd name="connsiteX33" fmla="*/ 47625 w 533400"/>
                <a:gd name="connsiteY33" fmla="*/ 97632 h 445294"/>
                <a:gd name="connsiteX34" fmla="*/ 0 w 533400"/>
                <a:gd name="connsiteY34" fmla="*/ 121444 h 445294"/>
                <a:gd name="connsiteX0" fmla="*/ 0 w 533400"/>
                <a:gd name="connsiteY0" fmla="*/ 121444 h 445294"/>
                <a:gd name="connsiteX1" fmla="*/ 26194 w 533400"/>
                <a:gd name="connsiteY1" fmla="*/ 104775 h 445294"/>
                <a:gd name="connsiteX2" fmla="*/ 54769 w 533400"/>
                <a:gd name="connsiteY2" fmla="*/ 157162 h 445294"/>
                <a:gd name="connsiteX3" fmla="*/ 95250 w 533400"/>
                <a:gd name="connsiteY3" fmla="*/ 221456 h 445294"/>
                <a:gd name="connsiteX4" fmla="*/ 147638 w 533400"/>
                <a:gd name="connsiteY4" fmla="*/ 292894 h 445294"/>
                <a:gd name="connsiteX5" fmla="*/ 138113 w 533400"/>
                <a:gd name="connsiteY5" fmla="*/ 302419 h 445294"/>
                <a:gd name="connsiteX6" fmla="*/ 171450 w 533400"/>
                <a:gd name="connsiteY6" fmla="*/ 350044 h 445294"/>
                <a:gd name="connsiteX7" fmla="*/ 209550 w 533400"/>
                <a:gd name="connsiteY7" fmla="*/ 407194 h 445294"/>
                <a:gd name="connsiteX8" fmla="*/ 221456 w 533400"/>
                <a:gd name="connsiteY8" fmla="*/ 445294 h 445294"/>
                <a:gd name="connsiteX9" fmla="*/ 228600 w 533400"/>
                <a:gd name="connsiteY9" fmla="*/ 400050 h 445294"/>
                <a:gd name="connsiteX10" fmla="*/ 259556 w 533400"/>
                <a:gd name="connsiteY10" fmla="*/ 395287 h 445294"/>
                <a:gd name="connsiteX11" fmla="*/ 307181 w 533400"/>
                <a:gd name="connsiteY11" fmla="*/ 402431 h 445294"/>
                <a:gd name="connsiteX12" fmla="*/ 328613 w 533400"/>
                <a:gd name="connsiteY12" fmla="*/ 409575 h 445294"/>
                <a:gd name="connsiteX13" fmla="*/ 352425 w 533400"/>
                <a:gd name="connsiteY13" fmla="*/ 381000 h 445294"/>
                <a:gd name="connsiteX14" fmla="*/ 385763 w 533400"/>
                <a:gd name="connsiteY14" fmla="*/ 371475 h 445294"/>
                <a:gd name="connsiteX15" fmla="*/ 469106 w 533400"/>
                <a:gd name="connsiteY15" fmla="*/ 350044 h 445294"/>
                <a:gd name="connsiteX16" fmla="*/ 521494 w 533400"/>
                <a:gd name="connsiteY16" fmla="*/ 338137 h 445294"/>
                <a:gd name="connsiteX17" fmla="*/ 533400 w 533400"/>
                <a:gd name="connsiteY17" fmla="*/ 290512 h 445294"/>
                <a:gd name="connsiteX18" fmla="*/ 526256 w 533400"/>
                <a:gd name="connsiteY18" fmla="*/ 261937 h 445294"/>
                <a:gd name="connsiteX19" fmla="*/ 466725 w 533400"/>
                <a:gd name="connsiteY19" fmla="*/ 264319 h 445294"/>
                <a:gd name="connsiteX20" fmla="*/ 466725 w 533400"/>
                <a:gd name="connsiteY20" fmla="*/ 264319 h 445294"/>
                <a:gd name="connsiteX21" fmla="*/ 428625 w 533400"/>
                <a:gd name="connsiteY21" fmla="*/ 216694 h 445294"/>
                <a:gd name="connsiteX22" fmla="*/ 409575 w 533400"/>
                <a:gd name="connsiteY22" fmla="*/ 202406 h 445294"/>
                <a:gd name="connsiteX23" fmla="*/ 404813 w 533400"/>
                <a:gd name="connsiteY23" fmla="*/ 185737 h 445294"/>
                <a:gd name="connsiteX24" fmla="*/ 364331 w 533400"/>
                <a:gd name="connsiteY24" fmla="*/ 107156 h 445294"/>
                <a:gd name="connsiteX25" fmla="*/ 345281 w 533400"/>
                <a:gd name="connsiteY25" fmla="*/ 114300 h 445294"/>
                <a:gd name="connsiteX26" fmla="*/ 326231 w 533400"/>
                <a:gd name="connsiteY26" fmla="*/ 92869 h 445294"/>
                <a:gd name="connsiteX27" fmla="*/ 304800 w 533400"/>
                <a:gd name="connsiteY27" fmla="*/ 88106 h 445294"/>
                <a:gd name="connsiteX28" fmla="*/ 250031 w 533400"/>
                <a:gd name="connsiteY28" fmla="*/ 80962 h 445294"/>
                <a:gd name="connsiteX29" fmla="*/ 197644 w 533400"/>
                <a:gd name="connsiteY29" fmla="*/ 30956 h 445294"/>
                <a:gd name="connsiteX30" fmla="*/ 121444 w 533400"/>
                <a:gd name="connsiteY30" fmla="*/ 0 h 445294"/>
                <a:gd name="connsiteX31" fmla="*/ 61913 w 533400"/>
                <a:gd name="connsiteY31" fmla="*/ 28575 h 445294"/>
                <a:gd name="connsiteX32" fmla="*/ 90488 w 533400"/>
                <a:gd name="connsiteY32" fmla="*/ 52387 h 445294"/>
                <a:gd name="connsiteX33" fmla="*/ 64294 w 533400"/>
                <a:gd name="connsiteY33" fmla="*/ 71437 h 445294"/>
                <a:gd name="connsiteX34" fmla="*/ 47625 w 533400"/>
                <a:gd name="connsiteY34" fmla="*/ 97632 h 445294"/>
                <a:gd name="connsiteX35" fmla="*/ 0 w 533400"/>
                <a:gd name="connsiteY35" fmla="*/ 121444 h 445294"/>
                <a:gd name="connsiteX0" fmla="*/ 0 w 533400"/>
                <a:gd name="connsiteY0" fmla="*/ 140494 h 445294"/>
                <a:gd name="connsiteX1" fmla="*/ 26194 w 533400"/>
                <a:gd name="connsiteY1" fmla="*/ 104775 h 445294"/>
                <a:gd name="connsiteX2" fmla="*/ 54769 w 533400"/>
                <a:gd name="connsiteY2" fmla="*/ 157162 h 445294"/>
                <a:gd name="connsiteX3" fmla="*/ 95250 w 533400"/>
                <a:gd name="connsiteY3" fmla="*/ 221456 h 445294"/>
                <a:gd name="connsiteX4" fmla="*/ 147638 w 533400"/>
                <a:gd name="connsiteY4" fmla="*/ 292894 h 445294"/>
                <a:gd name="connsiteX5" fmla="*/ 138113 w 533400"/>
                <a:gd name="connsiteY5" fmla="*/ 302419 h 445294"/>
                <a:gd name="connsiteX6" fmla="*/ 171450 w 533400"/>
                <a:gd name="connsiteY6" fmla="*/ 350044 h 445294"/>
                <a:gd name="connsiteX7" fmla="*/ 209550 w 533400"/>
                <a:gd name="connsiteY7" fmla="*/ 407194 h 445294"/>
                <a:gd name="connsiteX8" fmla="*/ 221456 w 533400"/>
                <a:gd name="connsiteY8" fmla="*/ 445294 h 445294"/>
                <a:gd name="connsiteX9" fmla="*/ 228600 w 533400"/>
                <a:gd name="connsiteY9" fmla="*/ 400050 h 445294"/>
                <a:gd name="connsiteX10" fmla="*/ 259556 w 533400"/>
                <a:gd name="connsiteY10" fmla="*/ 395287 h 445294"/>
                <a:gd name="connsiteX11" fmla="*/ 307181 w 533400"/>
                <a:gd name="connsiteY11" fmla="*/ 402431 h 445294"/>
                <a:gd name="connsiteX12" fmla="*/ 328613 w 533400"/>
                <a:gd name="connsiteY12" fmla="*/ 409575 h 445294"/>
                <a:gd name="connsiteX13" fmla="*/ 352425 w 533400"/>
                <a:gd name="connsiteY13" fmla="*/ 381000 h 445294"/>
                <a:gd name="connsiteX14" fmla="*/ 385763 w 533400"/>
                <a:gd name="connsiteY14" fmla="*/ 371475 h 445294"/>
                <a:gd name="connsiteX15" fmla="*/ 469106 w 533400"/>
                <a:gd name="connsiteY15" fmla="*/ 350044 h 445294"/>
                <a:gd name="connsiteX16" fmla="*/ 521494 w 533400"/>
                <a:gd name="connsiteY16" fmla="*/ 338137 h 445294"/>
                <a:gd name="connsiteX17" fmla="*/ 533400 w 533400"/>
                <a:gd name="connsiteY17" fmla="*/ 290512 h 445294"/>
                <a:gd name="connsiteX18" fmla="*/ 526256 w 533400"/>
                <a:gd name="connsiteY18" fmla="*/ 261937 h 445294"/>
                <a:gd name="connsiteX19" fmla="*/ 466725 w 533400"/>
                <a:gd name="connsiteY19" fmla="*/ 264319 h 445294"/>
                <a:gd name="connsiteX20" fmla="*/ 466725 w 533400"/>
                <a:gd name="connsiteY20" fmla="*/ 264319 h 445294"/>
                <a:gd name="connsiteX21" fmla="*/ 428625 w 533400"/>
                <a:gd name="connsiteY21" fmla="*/ 216694 h 445294"/>
                <a:gd name="connsiteX22" fmla="*/ 409575 w 533400"/>
                <a:gd name="connsiteY22" fmla="*/ 202406 h 445294"/>
                <a:gd name="connsiteX23" fmla="*/ 404813 w 533400"/>
                <a:gd name="connsiteY23" fmla="*/ 185737 h 445294"/>
                <a:gd name="connsiteX24" fmla="*/ 364331 w 533400"/>
                <a:gd name="connsiteY24" fmla="*/ 107156 h 445294"/>
                <a:gd name="connsiteX25" fmla="*/ 345281 w 533400"/>
                <a:gd name="connsiteY25" fmla="*/ 114300 h 445294"/>
                <a:gd name="connsiteX26" fmla="*/ 326231 w 533400"/>
                <a:gd name="connsiteY26" fmla="*/ 92869 h 445294"/>
                <a:gd name="connsiteX27" fmla="*/ 304800 w 533400"/>
                <a:gd name="connsiteY27" fmla="*/ 88106 h 445294"/>
                <a:gd name="connsiteX28" fmla="*/ 250031 w 533400"/>
                <a:gd name="connsiteY28" fmla="*/ 80962 h 445294"/>
                <a:gd name="connsiteX29" fmla="*/ 197644 w 533400"/>
                <a:gd name="connsiteY29" fmla="*/ 30956 h 445294"/>
                <a:gd name="connsiteX30" fmla="*/ 121444 w 533400"/>
                <a:gd name="connsiteY30" fmla="*/ 0 h 445294"/>
                <a:gd name="connsiteX31" fmla="*/ 61913 w 533400"/>
                <a:gd name="connsiteY31" fmla="*/ 28575 h 445294"/>
                <a:gd name="connsiteX32" fmla="*/ 90488 w 533400"/>
                <a:gd name="connsiteY32" fmla="*/ 52387 h 445294"/>
                <a:gd name="connsiteX33" fmla="*/ 64294 w 533400"/>
                <a:gd name="connsiteY33" fmla="*/ 71437 h 445294"/>
                <a:gd name="connsiteX34" fmla="*/ 47625 w 533400"/>
                <a:gd name="connsiteY34" fmla="*/ 97632 h 445294"/>
                <a:gd name="connsiteX35" fmla="*/ 0 w 533400"/>
                <a:gd name="connsiteY35" fmla="*/ 140494 h 445294"/>
                <a:gd name="connsiteX0" fmla="*/ 0 w 533400"/>
                <a:gd name="connsiteY0" fmla="*/ 140494 h 445294"/>
                <a:gd name="connsiteX1" fmla="*/ 9525 w 533400"/>
                <a:gd name="connsiteY1" fmla="*/ 76200 h 445294"/>
                <a:gd name="connsiteX2" fmla="*/ 54769 w 533400"/>
                <a:gd name="connsiteY2" fmla="*/ 157162 h 445294"/>
                <a:gd name="connsiteX3" fmla="*/ 95250 w 533400"/>
                <a:gd name="connsiteY3" fmla="*/ 221456 h 445294"/>
                <a:gd name="connsiteX4" fmla="*/ 147638 w 533400"/>
                <a:gd name="connsiteY4" fmla="*/ 292894 h 445294"/>
                <a:gd name="connsiteX5" fmla="*/ 138113 w 533400"/>
                <a:gd name="connsiteY5" fmla="*/ 302419 h 445294"/>
                <a:gd name="connsiteX6" fmla="*/ 171450 w 533400"/>
                <a:gd name="connsiteY6" fmla="*/ 350044 h 445294"/>
                <a:gd name="connsiteX7" fmla="*/ 209550 w 533400"/>
                <a:gd name="connsiteY7" fmla="*/ 407194 h 445294"/>
                <a:gd name="connsiteX8" fmla="*/ 221456 w 533400"/>
                <a:gd name="connsiteY8" fmla="*/ 445294 h 445294"/>
                <a:gd name="connsiteX9" fmla="*/ 228600 w 533400"/>
                <a:gd name="connsiteY9" fmla="*/ 400050 h 445294"/>
                <a:gd name="connsiteX10" fmla="*/ 259556 w 533400"/>
                <a:gd name="connsiteY10" fmla="*/ 395287 h 445294"/>
                <a:gd name="connsiteX11" fmla="*/ 307181 w 533400"/>
                <a:gd name="connsiteY11" fmla="*/ 402431 h 445294"/>
                <a:gd name="connsiteX12" fmla="*/ 328613 w 533400"/>
                <a:gd name="connsiteY12" fmla="*/ 409575 h 445294"/>
                <a:gd name="connsiteX13" fmla="*/ 352425 w 533400"/>
                <a:gd name="connsiteY13" fmla="*/ 381000 h 445294"/>
                <a:gd name="connsiteX14" fmla="*/ 385763 w 533400"/>
                <a:gd name="connsiteY14" fmla="*/ 371475 h 445294"/>
                <a:gd name="connsiteX15" fmla="*/ 469106 w 533400"/>
                <a:gd name="connsiteY15" fmla="*/ 350044 h 445294"/>
                <a:gd name="connsiteX16" fmla="*/ 521494 w 533400"/>
                <a:gd name="connsiteY16" fmla="*/ 338137 h 445294"/>
                <a:gd name="connsiteX17" fmla="*/ 533400 w 533400"/>
                <a:gd name="connsiteY17" fmla="*/ 290512 h 445294"/>
                <a:gd name="connsiteX18" fmla="*/ 526256 w 533400"/>
                <a:gd name="connsiteY18" fmla="*/ 261937 h 445294"/>
                <a:gd name="connsiteX19" fmla="*/ 466725 w 533400"/>
                <a:gd name="connsiteY19" fmla="*/ 264319 h 445294"/>
                <a:gd name="connsiteX20" fmla="*/ 466725 w 533400"/>
                <a:gd name="connsiteY20" fmla="*/ 264319 h 445294"/>
                <a:gd name="connsiteX21" fmla="*/ 428625 w 533400"/>
                <a:gd name="connsiteY21" fmla="*/ 216694 h 445294"/>
                <a:gd name="connsiteX22" fmla="*/ 409575 w 533400"/>
                <a:gd name="connsiteY22" fmla="*/ 202406 h 445294"/>
                <a:gd name="connsiteX23" fmla="*/ 404813 w 533400"/>
                <a:gd name="connsiteY23" fmla="*/ 185737 h 445294"/>
                <a:gd name="connsiteX24" fmla="*/ 364331 w 533400"/>
                <a:gd name="connsiteY24" fmla="*/ 107156 h 445294"/>
                <a:gd name="connsiteX25" fmla="*/ 345281 w 533400"/>
                <a:gd name="connsiteY25" fmla="*/ 114300 h 445294"/>
                <a:gd name="connsiteX26" fmla="*/ 326231 w 533400"/>
                <a:gd name="connsiteY26" fmla="*/ 92869 h 445294"/>
                <a:gd name="connsiteX27" fmla="*/ 304800 w 533400"/>
                <a:gd name="connsiteY27" fmla="*/ 88106 h 445294"/>
                <a:gd name="connsiteX28" fmla="*/ 250031 w 533400"/>
                <a:gd name="connsiteY28" fmla="*/ 80962 h 445294"/>
                <a:gd name="connsiteX29" fmla="*/ 197644 w 533400"/>
                <a:gd name="connsiteY29" fmla="*/ 30956 h 445294"/>
                <a:gd name="connsiteX30" fmla="*/ 121444 w 533400"/>
                <a:gd name="connsiteY30" fmla="*/ 0 h 445294"/>
                <a:gd name="connsiteX31" fmla="*/ 61913 w 533400"/>
                <a:gd name="connsiteY31" fmla="*/ 28575 h 445294"/>
                <a:gd name="connsiteX32" fmla="*/ 90488 w 533400"/>
                <a:gd name="connsiteY32" fmla="*/ 52387 h 445294"/>
                <a:gd name="connsiteX33" fmla="*/ 64294 w 533400"/>
                <a:gd name="connsiteY33" fmla="*/ 71437 h 445294"/>
                <a:gd name="connsiteX34" fmla="*/ 47625 w 533400"/>
                <a:gd name="connsiteY34" fmla="*/ 97632 h 445294"/>
                <a:gd name="connsiteX35" fmla="*/ 0 w 533400"/>
                <a:gd name="connsiteY35" fmla="*/ 140494 h 445294"/>
                <a:gd name="connsiteX0" fmla="*/ 45244 w 578644"/>
                <a:gd name="connsiteY0" fmla="*/ 140494 h 445294"/>
                <a:gd name="connsiteX1" fmla="*/ 0 w 578644"/>
                <a:gd name="connsiteY1" fmla="*/ 152400 h 445294"/>
                <a:gd name="connsiteX2" fmla="*/ 100013 w 578644"/>
                <a:gd name="connsiteY2" fmla="*/ 157162 h 445294"/>
                <a:gd name="connsiteX3" fmla="*/ 140494 w 578644"/>
                <a:gd name="connsiteY3" fmla="*/ 221456 h 445294"/>
                <a:gd name="connsiteX4" fmla="*/ 192882 w 578644"/>
                <a:gd name="connsiteY4" fmla="*/ 292894 h 445294"/>
                <a:gd name="connsiteX5" fmla="*/ 183357 w 578644"/>
                <a:gd name="connsiteY5" fmla="*/ 302419 h 445294"/>
                <a:gd name="connsiteX6" fmla="*/ 216694 w 578644"/>
                <a:gd name="connsiteY6" fmla="*/ 350044 h 445294"/>
                <a:gd name="connsiteX7" fmla="*/ 254794 w 578644"/>
                <a:gd name="connsiteY7" fmla="*/ 407194 h 445294"/>
                <a:gd name="connsiteX8" fmla="*/ 266700 w 578644"/>
                <a:gd name="connsiteY8" fmla="*/ 445294 h 445294"/>
                <a:gd name="connsiteX9" fmla="*/ 273844 w 578644"/>
                <a:gd name="connsiteY9" fmla="*/ 400050 h 445294"/>
                <a:gd name="connsiteX10" fmla="*/ 304800 w 578644"/>
                <a:gd name="connsiteY10" fmla="*/ 395287 h 445294"/>
                <a:gd name="connsiteX11" fmla="*/ 352425 w 578644"/>
                <a:gd name="connsiteY11" fmla="*/ 402431 h 445294"/>
                <a:gd name="connsiteX12" fmla="*/ 373857 w 578644"/>
                <a:gd name="connsiteY12" fmla="*/ 409575 h 445294"/>
                <a:gd name="connsiteX13" fmla="*/ 397669 w 578644"/>
                <a:gd name="connsiteY13" fmla="*/ 381000 h 445294"/>
                <a:gd name="connsiteX14" fmla="*/ 431007 w 578644"/>
                <a:gd name="connsiteY14" fmla="*/ 371475 h 445294"/>
                <a:gd name="connsiteX15" fmla="*/ 514350 w 578644"/>
                <a:gd name="connsiteY15" fmla="*/ 350044 h 445294"/>
                <a:gd name="connsiteX16" fmla="*/ 566738 w 578644"/>
                <a:gd name="connsiteY16" fmla="*/ 338137 h 445294"/>
                <a:gd name="connsiteX17" fmla="*/ 578644 w 578644"/>
                <a:gd name="connsiteY17" fmla="*/ 290512 h 445294"/>
                <a:gd name="connsiteX18" fmla="*/ 571500 w 578644"/>
                <a:gd name="connsiteY18" fmla="*/ 261937 h 445294"/>
                <a:gd name="connsiteX19" fmla="*/ 511969 w 578644"/>
                <a:gd name="connsiteY19" fmla="*/ 264319 h 445294"/>
                <a:gd name="connsiteX20" fmla="*/ 511969 w 578644"/>
                <a:gd name="connsiteY20" fmla="*/ 264319 h 445294"/>
                <a:gd name="connsiteX21" fmla="*/ 473869 w 578644"/>
                <a:gd name="connsiteY21" fmla="*/ 216694 h 445294"/>
                <a:gd name="connsiteX22" fmla="*/ 454819 w 578644"/>
                <a:gd name="connsiteY22" fmla="*/ 202406 h 445294"/>
                <a:gd name="connsiteX23" fmla="*/ 450057 w 578644"/>
                <a:gd name="connsiteY23" fmla="*/ 185737 h 445294"/>
                <a:gd name="connsiteX24" fmla="*/ 409575 w 578644"/>
                <a:gd name="connsiteY24" fmla="*/ 107156 h 445294"/>
                <a:gd name="connsiteX25" fmla="*/ 390525 w 578644"/>
                <a:gd name="connsiteY25" fmla="*/ 114300 h 445294"/>
                <a:gd name="connsiteX26" fmla="*/ 371475 w 578644"/>
                <a:gd name="connsiteY26" fmla="*/ 92869 h 445294"/>
                <a:gd name="connsiteX27" fmla="*/ 350044 w 578644"/>
                <a:gd name="connsiteY27" fmla="*/ 88106 h 445294"/>
                <a:gd name="connsiteX28" fmla="*/ 295275 w 578644"/>
                <a:gd name="connsiteY28" fmla="*/ 80962 h 445294"/>
                <a:gd name="connsiteX29" fmla="*/ 242888 w 578644"/>
                <a:gd name="connsiteY29" fmla="*/ 30956 h 445294"/>
                <a:gd name="connsiteX30" fmla="*/ 166688 w 578644"/>
                <a:gd name="connsiteY30" fmla="*/ 0 h 445294"/>
                <a:gd name="connsiteX31" fmla="*/ 107157 w 578644"/>
                <a:gd name="connsiteY31" fmla="*/ 28575 h 445294"/>
                <a:gd name="connsiteX32" fmla="*/ 135732 w 578644"/>
                <a:gd name="connsiteY32" fmla="*/ 52387 h 445294"/>
                <a:gd name="connsiteX33" fmla="*/ 109538 w 578644"/>
                <a:gd name="connsiteY33" fmla="*/ 71437 h 445294"/>
                <a:gd name="connsiteX34" fmla="*/ 92869 w 578644"/>
                <a:gd name="connsiteY34" fmla="*/ 97632 h 445294"/>
                <a:gd name="connsiteX35" fmla="*/ 45244 w 578644"/>
                <a:gd name="connsiteY35" fmla="*/ 140494 h 445294"/>
                <a:gd name="connsiteX0" fmla="*/ 69057 w 578644"/>
                <a:gd name="connsiteY0" fmla="*/ 76200 h 445294"/>
                <a:gd name="connsiteX1" fmla="*/ 0 w 578644"/>
                <a:gd name="connsiteY1" fmla="*/ 152400 h 445294"/>
                <a:gd name="connsiteX2" fmla="*/ 100013 w 578644"/>
                <a:gd name="connsiteY2" fmla="*/ 157162 h 445294"/>
                <a:gd name="connsiteX3" fmla="*/ 140494 w 578644"/>
                <a:gd name="connsiteY3" fmla="*/ 221456 h 445294"/>
                <a:gd name="connsiteX4" fmla="*/ 192882 w 578644"/>
                <a:gd name="connsiteY4" fmla="*/ 292894 h 445294"/>
                <a:gd name="connsiteX5" fmla="*/ 183357 w 578644"/>
                <a:gd name="connsiteY5" fmla="*/ 302419 h 445294"/>
                <a:gd name="connsiteX6" fmla="*/ 216694 w 578644"/>
                <a:gd name="connsiteY6" fmla="*/ 350044 h 445294"/>
                <a:gd name="connsiteX7" fmla="*/ 254794 w 578644"/>
                <a:gd name="connsiteY7" fmla="*/ 407194 h 445294"/>
                <a:gd name="connsiteX8" fmla="*/ 266700 w 578644"/>
                <a:gd name="connsiteY8" fmla="*/ 445294 h 445294"/>
                <a:gd name="connsiteX9" fmla="*/ 273844 w 578644"/>
                <a:gd name="connsiteY9" fmla="*/ 400050 h 445294"/>
                <a:gd name="connsiteX10" fmla="*/ 304800 w 578644"/>
                <a:gd name="connsiteY10" fmla="*/ 395287 h 445294"/>
                <a:gd name="connsiteX11" fmla="*/ 352425 w 578644"/>
                <a:gd name="connsiteY11" fmla="*/ 402431 h 445294"/>
                <a:gd name="connsiteX12" fmla="*/ 373857 w 578644"/>
                <a:gd name="connsiteY12" fmla="*/ 409575 h 445294"/>
                <a:gd name="connsiteX13" fmla="*/ 397669 w 578644"/>
                <a:gd name="connsiteY13" fmla="*/ 381000 h 445294"/>
                <a:gd name="connsiteX14" fmla="*/ 431007 w 578644"/>
                <a:gd name="connsiteY14" fmla="*/ 371475 h 445294"/>
                <a:gd name="connsiteX15" fmla="*/ 514350 w 578644"/>
                <a:gd name="connsiteY15" fmla="*/ 350044 h 445294"/>
                <a:gd name="connsiteX16" fmla="*/ 566738 w 578644"/>
                <a:gd name="connsiteY16" fmla="*/ 338137 h 445294"/>
                <a:gd name="connsiteX17" fmla="*/ 578644 w 578644"/>
                <a:gd name="connsiteY17" fmla="*/ 290512 h 445294"/>
                <a:gd name="connsiteX18" fmla="*/ 571500 w 578644"/>
                <a:gd name="connsiteY18" fmla="*/ 261937 h 445294"/>
                <a:gd name="connsiteX19" fmla="*/ 511969 w 578644"/>
                <a:gd name="connsiteY19" fmla="*/ 264319 h 445294"/>
                <a:gd name="connsiteX20" fmla="*/ 511969 w 578644"/>
                <a:gd name="connsiteY20" fmla="*/ 264319 h 445294"/>
                <a:gd name="connsiteX21" fmla="*/ 473869 w 578644"/>
                <a:gd name="connsiteY21" fmla="*/ 216694 h 445294"/>
                <a:gd name="connsiteX22" fmla="*/ 454819 w 578644"/>
                <a:gd name="connsiteY22" fmla="*/ 202406 h 445294"/>
                <a:gd name="connsiteX23" fmla="*/ 450057 w 578644"/>
                <a:gd name="connsiteY23" fmla="*/ 185737 h 445294"/>
                <a:gd name="connsiteX24" fmla="*/ 409575 w 578644"/>
                <a:gd name="connsiteY24" fmla="*/ 107156 h 445294"/>
                <a:gd name="connsiteX25" fmla="*/ 390525 w 578644"/>
                <a:gd name="connsiteY25" fmla="*/ 114300 h 445294"/>
                <a:gd name="connsiteX26" fmla="*/ 371475 w 578644"/>
                <a:gd name="connsiteY26" fmla="*/ 92869 h 445294"/>
                <a:gd name="connsiteX27" fmla="*/ 350044 w 578644"/>
                <a:gd name="connsiteY27" fmla="*/ 88106 h 445294"/>
                <a:gd name="connsiteX28" fmla="*/ 295275 w 578644"/>
                <a:gd name="connsiteY28" fmla="*/ 80962 h 445294"/>
                <a:gd name="connsiteX29" fmla="*/ 242888 w 578644"/>
                <a:gd name="connsiteY29" fmla="*/ 30956 h 445294"/>
                <a:gd name="connsiteX30" fmla="*/ 166688 w 578644"/>
                <a:gd name="connsiteY30" fmla="*/ 0 h 445294"/>
                <a:gd name="connsiteX31" fmla="*/ 107157 w 578644"/>
                <a:gd name="connsiteY31" fmla="*/ 28575 h 445294"/>
                <a:gd name="connsiteX32" fmla="*/ 135732 w 578644"/>
                <a:gd name="connsiteY32" fmla="*/ 52387 h 445294"/>
                <a:gd name="connsiteX33" fmla="*/ 109538 w 578644"/>
                <a:gd name="connsiteY33" fmla="*/ 71437 h 445294"/>
                <a:gd name="connsiteX34" fmla="*/ 92869 w 578644"/>
                <a:gd name="connsiteY34" fmla="*/ 97632 h 445294"/>
                <a:gd name="connsiteX35" fmla="*/ 69057 w 578644"/>
                <a:gd name="connsiteY35" fmla="*/ 76200 h 445294"/>
                <a:gd name="connsiteX0" fmla="*/ 23814 w 533401"/>
                <a:gd name="connsiteY0" fmla="*/ 76200 h 445294"/>
                <a:gd name="connsiteX1" fmla="*/ 0 w 533401"/>
                <a:gd name="connsiteY1" fmla="*/ 111918 h 445294"/>
                <a:gd name="connsiteX2" fmla="*/ 54770 w 533401"/>
                <a:gd name="connsiteY2" fmla="*/ 157162 h 445294"/>
                <a:gd name="connsiteX3" fmla="*/ 95251 w 533401"/>
                <a:gd name="connsiteY3" fmla="*/ 221456 h 445294"/>
                <a:gd name="connsiteX4" fmla="*/ 147639 w 533401"/>
                <a:gd name="connsiteY4" fmla="*/ 292894 h 445294"/>
                <a:gd name="connsiteX5" fmla="*/ 138114 w 533401"/>
                <a:gd name="connsiteY5" fmla="*/ 302419 h 445294"/>
                <a:gd name="connsiteX6" fmla="*/ 171451 w 533401"/>
                <a:gd name="connsiteY6" fmla="*/ 350044 h 445294"/>
                <a:gd name="connsiteX7" fmla="*/ 209551 w 533401"/>
                <a:gd name="connsiteY7" fmla="*/ 407194 h 445294"/>
                <a:gd name="connsiteX8" fmla="*/ 221457 w 533401"/>
                <a:gd name="connsiteY8" fmla="*/ 445294 h 445294"/>
                <a:gd name="connsiteX9" fmla="*/ 228601 w 533401"/>
                <a:gd name="connsiteY9" fmla="*/ 400050 h 445294"/>
                <a:gd name="connsiteX10" fmla="*/ 259557 w 533401"/>
                <a:gd name="connsiteY10" fmla="*/ 395287 h 445294"/>
                <a:gd name="connsiteX11" fmla="*/ 307182 w 533401"/>
                <a:gd name="connsiteY11" fmla="*/ 402431 h 445294"/>
                <a:gd name="connsiteX12" fmla="*/ 328614 w 533401"/>
                <a:gd name="connsiteY12" fmla="*/ 409575 h 445294"/>
                <a:gd name="connsiteX13" fmla="*/ 352426 w 533401"/>
                <a:gd name="connsiteY13" fmla="*/ 381000 h 445294"/>
                <a:gd name="connsiteX14" fmla="*/ 385764 w 533401"/>
                <a:gd name="connsiteY14" fmla="*/ 371475 h 445294"/>
                <a:gd name="connsiteX15" fmla="*/ 469107 w 533401"/>
                <a:gd name="connsiteY15" fmla="*/ 350044 h 445294"/>
                <a:gd name="connsiteX16" fmla="*/ 521495 w 533401"/>
                <a:gd name="connsiteY16" fmla="*/ 338137 h 445294"/>
                <a:gd name="connsiteX17" fmla="*/ 533401 w 533401"/>
                <a:gd name="connsiteY17" fmla="*/ 290512 h 445294"/>
                <a:gd name="connsiteX18" fmla="*/ 526257 w 533401"/>
                <a:gd name="connsiteY18" fmla="*/ 261937 h 445294"/>
                <a:gd name="connsiteX19" fmla="*/ 466726 w 533401"/>
                <a:gd name="connsiteY19" fmla="*/ 264319 h 445294"/>
                <a:gd name="connsiteX20" fmla="*/ 466726 w 533401"/>
                <a:gd name="connsiteY20" fmla="*/ 264319 h 445294"/>
                <a:gd name="connsiteX21" fmla="*/ 428626 w 533401"/>
                <a:gd name="connsiteY21" fmla="*/ 216694 h 445294"/>
                <a:gd name="connsiteX22" fmla="*/ 409576 w 533401"/>
                <a:gd name="connsiteY22" fmla="*/ 202406 h 445294"/>
                <a:gd name="connsiteX23" fmla="*/ 404814 w 533401"/>
                <a:gd name="connsiteY23" fmla="*/ 185737 h 445294"/>
                <a:gd name="connsiteX24" fmla="*/ 364332 w 533401"/>
                <a:gd name="connsiteY24" fmla="*/ 107156 h 445294"/>
                <a:gd name="connsiteX25" fmla="*/ 345282 w 533401"/>
                <a:gd name="connsiteY25" fmla="*/ 114300 h 445294"/>
                <a:gd name="connsiteX26" fmla="*/ 326232 w 533401"/>
                <a:gd name="connsiteY26" fmla="*/ 92869 h 445294"/>
                <a:gd name="connsiteX27" fmla="*/ 304801 w 533401"/>
                <a:gd name="connsiteY27" fmla="*/ 88106 h 445294"/>
                <a:gd name="connsiteX28" fmla="*/ 250032 w 533401"/>
                <a:gd name="connsiteY28" fmla="*/ 80962 h 445294"/>
                <a:gd name="connsiteX29" fmla="*/ 197645 w 533401"/>
                <a:gd name="connsiteY29" fmla="*/ 30956 h 445294"/>
                <a:gd name="connsiteX30" fmla="*/ 121445 w 533401"/>
                <a:gd name="connsiteY30" fmla="*/ 0 h 445294"/>
                <a:gd name="connsiteX31" fmla="*/ 61914 w 533401"/>
                <a:gd name="connsiteY31" fmla="*/ 28575 h 445294"/>
                <a:gd name="connsiteX32" fmla="*/ 90489 w 533401"/>
                <a:gd name="connsiteY32" fmla="*/ 52387 h 445294"/>
                <a:gd name="connsiteX33" fmla="*/ 64295 w 533401"/>
                <a:gd name="connsiteY33" fmla="*/ 71437 h 445294"/>
                <a:gd name="connsiteX34" fmla="*/ 47626 w 533401"/>
                <a:gd name="connsiteY34" fmla="*/ 97632 h 445294"/>
                <a:gd name="connsiteX35" fmla="*/ 23814 w 533401"/>
                <a:gd name="connsiteY35" fmla="*/ 76200 h 445294"/>
                <a:gd name="connsiteX0" fmla="*/ 21433 w 531020"/>
                <a:gd name="connsiteY0" fmla="*/ 76200 h 445294"/>
                <a:gd name="connsiteX1" fmla="*/ 0 w 531020"/>
                <a:gd name="connsiteY1" fmla="*/ 114300 h 445294"/>
                <a:gd name="connsiteX2" fmla="*/ 52389 w 531020"/>
                <a:gd name="connsiteY2" fmla="*/ 157162 h 445294"/>
                <a:gd name="connsiteX3" fmla="*/ 92870 w 531020"/>
                <a:gd name="connsiteY3" fmla="*/ 221456 h 445294"/>
                <a:gd name="connsiteX4" fmla="*/ 145258 w 531020"/>
                <a:gd name="connsiteY4" fmla="*/ 292894 h 445294"/>
                <a:gd name="connsiteX5" fmla="*/ 135733 w 531020"/>
                <a:gd name="connsiteY5" fmla="*/ 302419 h 445294"/>
                <a:gd name="connsiteX6" fmla="*/ 169070 w 531020"/>
                <a:gd name="connsiteY6" fmla="*/ 350044 h 445294"/>
                <a:gd name="connsiteX7" fmla="*/ 207170 w 531020"/>
                <a:gd name="connsiteY7" fmla="*/ 407194 h 445294"/>
                <a:gd name="connsiteX8" fmla="*/ 219076 w 531020"/>
                <a:gd name="connsiteY8" fmla="*/ 445294 h 445294"/>
                <a:gd name="connsiteX9" fmla="*/ 226220 w 531020"/>
                <a:gd name="connsiteY9" fmla="*/ 400050 h 445294"/>
                <a:gd name="connsiteX10" fmla="*/ 257176 w 531020"/>
                <a:gd name="connsiteY10" fmla="*/ 395287 h 445294"/>
                <a:gd name="connsiteX11" fmla="*/ 304801 w 531020"/>
                <a:gd name="connsiteY11" fmla="*/ 402431 h 445294"/>
                <a:gd name="connsiteX12" fmla="*/ 326233 w 531020"/>
                <a:gd name="connsiteY12" fmla="*/ 409575 h 445294"/>
                <a:gd name="connsiteX13" fmla="*/ 350045 w 531020"/>
                <a:gd name="connsiteY13" fmla="*/ 381000 h 445294"/>
                <a:gd name="connsiteX14" fmla="*/ 383383 w 531020"/>
                <a:gd name="connsiteY14" fmla="*/ 371475 h 445294"/>
                <a:gd name="connsiteX15" fmla="*/ 466726 w 531020"/>
                <a:gd name="connsiteY15" fmla="*/ 350044 h 445294"/>
                <a:gd name="connsiteX16" fmla="*/ 519114 w 531020"/>
                <a:gd name="connsiteY16" fmla="*/ 338137 h 445294"/>
                <a:gd name="connsiteX17" fmla="*/ 531020 w 531020"/>
                <a:gd name="connsiteY17" fmla="*/ 290512 h 445294"/>
                <a:gd name="connsiteX18" fmla="*/ 523876 w 531020"/>
                <a:gd name="connsiteY18" fmla="*/ 261937 h 445294"/>
                <a:gd name="connsiteX19" fmla="*/ 464345 w 531020"/>
                <a:gd name="connsiteY19" fmla="*/ 264319 h 445294"/>
                <a:gd name="connsiteX20" fmla="*/ 464345 w 531020"/>
                <a:gd name="connsiteY20" fmla="*/ 264319 h 445294"/>
                <a:gd name="connsiteX21" fmla="*/ 426245 w 531020"/>
                <a:gd name="connsiteY21" fmla="*/ 216694 h 445294"/>
                <a:gd name="connsiteX22" fmla="*/ 407195 w 531020"/>
                <a:gd name="connsiteY22" fmla="*/ 202406 h 445294"/>
                <a:gd name="connsiteX23" fmla="*/ 402433 w 531020"/>
                <a:gd name="connsiteY23" fmla="*/ 185737 h 445294"/>
                <a:gd name="connsiteX24" fmla="*/ 361951 w 531020"/>
                <a:gd name="connsiteY24" fmla="*/ 107156 h 445294"/>
                <a:gd name="connsiteX25" fmla="*/ 342901 w 531020"/>
                <a:gd name="connsiteY25" fmla="*/ 114300 h 445294"/>
                <a:gd name="connsiteX26" fmla="*/ 323851 w 531020"/>
                <a:gd name="connsiteY26" fmla="*/ 92869 h 445294"/>
                <a:gd name="connsiteX27" fmla="*/ 302420 w 531020"/>
                <a:gd name="connsiteY27" fmla="*/ 88106 h 445294"/>
                <a:gd name="connsiteX28" fmla="*/ 247651 w 531020"/>
                <a:gd name="connsiteY28" fmla="*/ 80962 h 445294"/>
                <a:gd name="connsiteX29" fmla="*/ 195264 w 531020"/>
                <a:gd name="connsiteY29" fmla="*/ 30956 h 445294"/>
                <a:gd name="connsiteX30" fmla="*/ 119064 w 531020"/>
                <a:gd name="connsiteY30" fmla="*/ 0 h 445294"/>
                <a:gd name="connsiteX31" fmla="*/ 59533 w 531020"/>
                <a:gd name="connsiteY31" fmla="*/ 28575 h 445294"/>
                <a:gd name="connsiteX32" fmla="*/ 88108 w 531020"/>
                <a:gd name="connsiteY32" fmla="*/ 52387 h 445294"/>
                <a:gd name="connsiteX33" fmla="*/ 61914 w 531020"/>
                <a:gd name="connsiteY33" fmla="*/ 71437 h 445294"/>
                <a:gd name="connsiteX34" fmla="*/ 45245 w 531020"/>
                <a:gd name="connsiteY34" fmla="*/ 97632 h 445294"/>
                <a:gd name="connsiteX35" fmla="*/ 21433 w 531020"/>
                <a:gd name="connsiteY35" fmla="*/ 76200 h 445294"/>
                <a:gd name="connsiteX0" fmla="*/ 14289 w 531020"/>
                <a:gd name="connsiteY0" fmla="*/ 69056 h 445294"/>
                <a:gd name="connsiteX1" fmla="*/ 0 w 531020"/>
                <a:gd name="connsiteY1" fmla="*/ 114300 h 445294"/>
                <a:gd name="connsiteX2" fmla="*/ 52389 w 531020"/>
                <a:gd name="connsiteY2" fmla="*/ 157162 h 445294"/>
                <a:gd name="connsiteX3" fmla="*/ 92870 w 531020"/>
                <a:gd name="connsiteY3" fmla="*/ 221456 h 445294"/>
                <a:gd name="connsiteX4" fmla="*/ 145258 w 531020"/>
                <a:gd name="connsiteY4" fmla="*/ 292894 h 445294"/>
                <a:gd name="connsiteX5" fmla="*/ 135733 w 531020"/>
                <a:gd name="connsiteY5" fmla="*/ 302419 h 445294"/>
                <a:gd name="connsiteX6" fmla="*/ 169070 w 531020"/>
                <a:gd name="connsiteY6" fmla="*/ 350044 h 445294"/>
                <a:gd name="connsiteX7" fmla="*/ 207170 w 531020"/>
                <a:gd name="connsiteY7" fmla="*/ 407194 h 445294"/>
                <a:gd name="connsiteX8" fmla="*/ 219076 w 531020"/>
                <a:gd name="connsiteY8" fmla="*/ 445294 h 445294"/>
                <a:gd name="connsiteX9" fmla="*/ 226220 w 531020"/>
                <a:gd name="connsiteY9" fmla="*/ 400050 h 445294"/>
                <a:gd name="connsiteX10" fmla="*/ 257176 w 531020"/>
                <a:gd name="connsiteY10" fmla="*/ 395287 h 445294"/>
                <a:gd name="connsiteX11" fmla="*/ 304801 w 531020"/>
                <a:gd name="connsiteY11" fmla="*/ 402431 h 445294"/>
                <a:gd name="connsiteX12" fmla="*/ 326233 w 531020"/>
                <a:gd name="connsiteY12" fmla="*/ 409575 h 445294"/>
                <a:gd name="connsiteX13" fmla="*/ 350045 w 531020"/>
                <a:gd name="connsiteY13" fmla="*/ 381000 h 445294"/>
                <a:gd name="connsiteX14" fmla="*/ 383383 w 531020"/>
                <a:gd name="connsiteY14" fmla="*/ 371475 h 445294"/>
                <a:gd name="connsiteX15" fmla="*/ 466726 w 531020"/>
                <a:gd name="connsiteY15" fmla="*/ 350044 h 445294"/>
                <a:gd name="connsiteX16" fmla="*/ 519114 w 531020"/>
                <a:gd name="connsiteY16" fmla="*/ 338137 h 445294"/>
                <a:gd name="connsiteX17" fmla="*/ 531020 w 531020"/>
                <a:gd name="connsiteY17" fmla="*/ 290512 h 445294"/>
                <a:gd name="connsiteX18" fmla="*/ 523876 w 531020"/>
                <a:gd name="connsiteY18" fmla="*/ 261937 h 445294"/>
                <a:gd name="connsiteX19" fmla="*/ 464345 w 531020"/>
                <a:gd name="connsiteY19" fmla="*/ 264319 h 445294"/>
                <a:gd name="connsiteX20" fmla="*/ 464345 w 531020"/>
                <a:gd name="connsiteY20" fmla="*/ 264319 h 445294"/>
                <a:gd name="connsiteX21" fmla="*/ 426245 w 531020"/>
                <a:gd name="connsiteY21" fmla="*/ 216694 h 445294"/>
                <a:gd name="connsiteX22" fmla="*/ 407195 w 531020"/>
                <a:gd name="connsiteY22" fmla="*/ 202406 h 445294"/>
                <a:gd name="connsiteX23" fmla="*/ 402433 w 531020"/>
                <a:gd name="connsiteY23" fmla="*/ 185737 h 445294"/>
                <a:gd name="connsiteX24" fmla="*/ 361951 w 531020"/>
                <a:gd name="connsiteY24" fmla="*/ 107156 h 445294"/>
                <a:gd name="connsiteX25" fmla="*/ 342901 w 531020"/>
                <a:gd name="connsiteY25" fmla="*/ 114300 h 445294"/>
                <a:gd name="connsiteX26" fmla="*/ 323851 w 531020"/>
                <a:gd name="connsiteY26" fmla="*/ 92869 h 445294"/>
                <a:gd name="connsiteX27" fmla="*/ 302420 w 531020"/>
                <a:gd name="connsiteY27" fmla="*/ 88106 h 445294"/>
                <a:gd name="connsiteX28" fmla="*/ 247651 w 531020"/>
                <a:gd name="connsiteY28" fmla="*/ 80962 h 445294"/>
                <a:gd name="connsiteX29" fmla="*/ 195264 w 531020"/>
                <a:gd name="connsiteY29" fmla="*/ 30956 h 445294"/>
                <a:gd name="connsiteX30" fmla="*/ 119064 w 531020"/>
                <a:gd name="connsiteY30" fmla="*/ 0 h 445294"/>
                <a:gd name="connsiteX31" fmla="*/ 59533 w 531020"/>
                <a:gd name="connsiteY31" fmla="*/ 28575 h 445294"/>
                <a:gd name="connsiteX32" fmla="*/ 88108 w 531020"/>
                <a:gd name="connsiteY32" fmla="*/ 52387 h 445294"/>
                <a:gd name="connsiteX33" fmla="*/ 61914 w 531020"/>
                <a:gd name="connsiteY33" fmla="*/ 71437 h 445294"/>
                <a:gd name="connsiteX34" fmla="*/ 45245 w 531020"/>
                <a:gd name="connsiteY34" fmla="*/ 97632 h 445294"/>
                <a:gd name="connsiteX35" fmla="*/ 14289 w 531020"/>
                <a:gd name="connsiteY35" fmla="*/ 69056 h 44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1020" h="445294">
                  <a:moveTo>
                    <a:pt x="14289" y="69056"/>
                  </a:moveTo>
                  <a:lnTo>
                    <a:pt x="0" y="114300"/>
                  </a:lnTo>
                  <a:lnTo>
                    <a:pt x="52389" y="157162"/>
                  </a:lnTo>
                  <a:lnTo>
                    <a:pt x="92870" y="221456"/>
                  </a:lnTo>
                  <a:lnTo>
                    <a:pt x="145258" y="292894"/>
                  </a:lnTo>
                  <a:lnTo>
                    <a:pt x="135733" y="302419"/>
                  </a:lnTo>
                  <a:lnTo>
                    <a:pt x="169070" y="350044"/>
                  </a:lnTo>
                  <a:lnTo>
                    <a:pt x="207170" y="407194"/>
                  </a:lnTo>
                  <a:lnTo>
                    <a:pt x="219076" y="445294"/>
                  </a:lnTo>
                  <a:lnTo>
                    <a:pt x="226220" y="400050"/>
                  </a:lnTo>
                  <a:lnTo>
                    <a:pt x="257176" y="395287"/>
                  </a:lnTo>
                  <a:lnTo>
                    <a:pt x="304801" y="402431"/>
                  </a:lnTo>
                  <a:lnTo>
                    <a:pt x="326233" y="409575"/>
                  </a:lnTo>
                  <a:lnTo>
                    <a:pt x="350045" y="381000"/>
                  </a:lnTo>
                  <a:lnTo>
                    <a:pt x="383383" y="371475"/>
                  </a:lnTo>
                  <a:lnTo>
                    <a:pt x="466726" y="350044"/>
                  </a:lnTo>
                  <a:lnTo>
                    <a:pt x="519114" y="338137"/>
                  </a:lnTo>
                  <a:lnTo>
                    <a:pt x="531020" y="290512"/>
                  </a:lnTo>
                  <a:lnTo>
                    <a:pt x="523876" y="261937"/>
                  </a:lnTo>
                  <a:lnTo>
                    <a:pt x="464345" y="264319"/>
                  </a:lnTo>
                  <a:lnTo>
                    <a:pt x="464345" y="264319"/>
                  </a:lnTo>
                  <a:lnTo>
                    <a:pt x="426245" y="216694"/>
                  </a:lnTo>
                  <a:lnTo>
                    <a:pt x="407195" y="202406"/>
                  </a:lnTo>
                  <a:lnTo>
                    <a:pt x="402433" y="185737"/>
                  </a:lnTo>
                  <a:lnTo>
                    <a:pt x="361951" y="107156"/>
                  </a:lnTo>
                  <a:lnTo>
                    <a:pt x="342901" y="114300"/>
                  </a:lnTo>
                  <a:lnTo>
                    <a:pt x="323851" y="92869"/>
                  </a:lnTo>
                  <a:lnTo>
                    <a:pt x="302420" y="88106"/>
                  </a:lnTo>
                  <a:lnTo>
                    <a:pt x="247651" y="80962"/>
                  </a:lnTo>
                  <a:lnTo>
                    <a:pt x="195264" y="30956"/>
                  </a:lnTo>
                  <a:lnTo>
                    <a:pt x="119064" y="0"/>
                  </a:lnTo>
                  <a:lnTo>
                    <a:pt x="59533" y="28575"/>
                  </a:lnTo>
                  <a:lnTo>
                    <a:pt x="88108" y="52387"/>
                  </a:lnTo>
                  <a:lnTo>
                    <a:pt x="61914" y="71437"/>
                  </a:lnTo>
                  <a:lnTo>
                    <a:pt x="45245" y="97632"/>
                  </a:lnTo>
                  <a:lnTo>
                    <a:pt x="14289" y="6905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4" name="Freeform: Shape 231"/>
            <p:cNvSpPr/>
            <p:nvPr/>
          </p:nvSpPr>
          <p:spPr bwMode="auto">
            <a:xfrm>
              <a:off x="5422107" y="3890963"/>
              <a:ext cx="54770" cy="73818"/>
            </a:xfrm>
            <a:custGeom>
              <a:avLst/>
              <a:gdLst>
                <a:gd name="connsiteX0" fmla="*/ 23813 w 47625"/>
                <a:gd name="connsiteY0" fmla="*/ 0 h 73818"/>
                <a:gd name="connsiteX1" fmla="*/ 0 w 47625"/>
                <a:gd name="connsiteY1" fmla="*/ 47625 h 73818"/>
                <a:gd name="connsiteX2" fmla="*/ 26194 w 47625"/>
                <a:gd name="connsiteY2" fmla="*/ 57150 h 73818"/>
                <a:gd name="connsiteX3" fmla="*/ 47625 w 47625"/>
                <a:gd name="connsiteY3" fmla="*/ 73818 h 73818"/>
                <a:gd name="connsiteX4" fmla="*/ 23813 w 47625"/>
                <a:gd name="connsiteY4" fmla="*/ 0 h 73818"/>
                <a:gd name="connsiteX0" fmla="*/ 23813 w 47625"/>
                <a:gd name="connsiteY0" fmla="*/ 0 h 73818"/>
                <a:gd name="connsiteX1" fmla="*/ 0 w 47625"/>
                <a:gd name="connsiteY1" fmla="*/ 47625 h 73818"/>
                <a:gd name="connsiteX2" fmla="*/ 26194 w 47625"/>
                <a:gd name="connsiteY2" fmla="*/ 57150 h 73818"/>
                <a:gd name="connsiteX3" fmla="*/ 47625 w 47625"/>
                <a:gd name="connsiteY3" fmla="*/ 73818 h 73818"/>
                <a:gd name="connsiteX4" fmla="*/ 30957 w 47625"/>
                <a:gd name="connsiteY4" fmla="*/ 28575 h 73818"/>
                <a:gd name="connsiteX5" fmla="*/ 23813 w 47625"/>
                <a:gd name="connsiteY5" fmla="*/ 0 h 73818"/>
                <a:gd name="connsiteX0" fmla="*/ 23813 w 54770"/>
                <a:gd name="connsiteY0" fmla="*/ 0 h 73818"/>
                <a:gd name="connsiteX1" fmla="*/ 0 w 54770"/>
                <a:gd name="connsiteY1" fmla="*/ 47625 h 73818"/>
                <a:gd name="connsiteX2" fmla="*/ 26194 w 54770"/>
                <a:gd name="connsiteY2" fmla="*/ 57150 h 73818"/>
                <a:gd name="connsiteX3" fmla="*/ 47625 w 54770"/>
                <a:gd name="connsiteY3" fmla="*/ 73818 h 73818"/>
                <a:gd name="connsiteX4" fmla="*/ 54770 w 54770"/>
                <a:gd name="connsiteY4" fmla="*/ 16669 h 73818"/>
                <a:gd name="connsiteX5" fmla="*/ 23813 w 54770"/>
                <a:gd name="connsiteY5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770" h="73818">
                  <a:moveTo>
                    <a:pt x="23813" y="0"/>
                  </a:moveTo>
                  <a:lnTo>
                    <a:pt x="0" y="47625"/>
                  </a:lnTo>
                  <a:lnTo>
                    <a:pt x="26194" y="57150"/>
                  </a:lnTo>
                  <a:lnTo>
                    <a:pt x="47625" y="73818"/>
                  </a:lnTo>
                  <a:lnTo>
                    <a:pt x="54770" y="16669"/>
                  </a:lnTo>
                  <a:lnTo>
                    <a:pt x="2381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5" name="Freeform: Shape 232"/>
            <p:cNvSpPr/>
            <p:nvPr/>
          </p:nvSpPr>
          <p:spPr bwMode="auto">
            <a:xfrm>
              <a:off x="5348288" y="4212431"/>
              <a:ext cx="242887" cy="164307"/>
            </a:xfrm>
            <a:custGeom>
              <a:avLst/>
              <a:gdLst>
                <a:gd name="connsiteX0" fmla="*/ 0 w 242887"/>
                <a:gd name="connsiteY0" fmla="*/ 83344 h 164307"/>
                <a:gd name="connsiteX1" fmla="*/ 11906 w 242887"/>
                <a:gd name="connsiteY1" fmla="*/ 164307 h 164307"/>
                <a:gd name="connsiteX2" fmla="*/ 228600 w 242887"/>
                <a:gd name="connsiteY2" fmla="*/ 85725 h 164307"/>
                <a:gd name="connsiteX3" fmla="*/ 242887 w 242887"/>
                <a:gd name="connsiteY3" fmla="*/ 66675 h 164307"/>
                <a:gd name="connsiteX4" fmla="*/ 219075 w 242887"/>
                <a:gd name="connsiteY4" fmla="*/ 0 h 164307"/>
                <a:gd name="connsiteX5" fmla="*/ 128587 w 242887"/>
                <a:gd name="connsiteY5" fmla="*/ 23813 h 164307"/>
                <a:gd name="connsiteX6" fmla="*/ 104775 w 242887"/>
                <a:gd name="connsiteY6" fmla="*/ 59532 h 164307"/>
                <a:gd name="connsiteX7" fmla="*/ 35718 w 242887"/>
                <a:gd name="connsiteY7" fmla="*/ 35719 h 164307"/>
                <a:gd name="connsiteX8" fmla="*/ 0 w 242887"/>
                <a:gd name="connsiteY8" fmla="*/ 83344 h 164307"/>
                <a:gd name="connsiteX0" fmla="*/ 0 w 242887"/>
                <a:gd name="connsiteY0" fmla="*/ 83344 h 164307"/>
                <a:gd name="connsiteX1" fmla="*/ 11906 w 242887"/>
                <a:gd name="connsiteY1" fmla="*/ 164307 h 164307"/>
                <a:gd name="connsiteX2" fmla="*/ 228600 w 242887"/>
                <a:gd name="connsiteY2" fmla="*/ 85725 h 164307"/>
                <a:gd name="connsiteX3" fmla="*/ 242887 w 242887"/>
                <a:gd name="connsiteY3" fmla="*/ 66675 h 164307"/>
                <a:gd name="connsiteX4" fmla="*/ 219075 w 242887"/>
                <a:gd name="connsiteY4" fmla="*/ 0 h 164307"/>
                <a:gd name="connsiteX5" fmla="*/ 128587 w 242887"/>
                <a:gd name="connsiteY5" fmla="*/ 23813 h 164307"/>
                <a:gd name="connsiteX6" fmla="*/ 104775 w 242887"/>
                <a:gd name="connsiteY6" fmla="*/ 59532 h 164307"/>
                <a:gd name="connsiteX7" fmla="*/ 35718 w 242887"/>
                <a:gd name="connsiteY7" fmla="*/ 35719 h 164307"/>
                <a:gd name="connsiteX8" fmla="*/ 14287 w 242887"/>
                <a:gd name="connsiteY8" fmla="*/ 59532 h 164307"/>
                <a:gd name="connsiteX9" fmla="*/ 0 w 242887"/>
                <a:gd name="connsiteY9" fmla="*/ 83344 h 164307"/>
                <a:gd name="connsiteX0" fmla="*/ 0 w 242887"/>
                <a:gd name="connsiteY0" fmla="*/ 83344 h 164307"/>
                <a:gd name="connsiteX1" fmla="*/ 11906 w 242887"/>
                <a:gd name="connsiteY1" fmla="*/ 164307 h 164307"/>
                <a:gd name="connsiteX2" fmla="*/ 228600 w 242887"/>
                <a:gd name="connsiteY2" fmla="*/ 85725 h 164307"/>
                <a:gd name="connsiteX3" fmla="*/ 242887 w 242887"/>
                <a:gd name="connsiteY3" fmla="*/ 66675 h 164307"/>
                <a:gd name="connsiteX4" fmla="*/ 219075 w 242887"/>
                <a:gd name="connsiteY4" fmla="*/ 0 h 164307"/>
                <a:gd name="connsiteX5" fmla="*/ 128587 w 242887"/>
                <a:gd name="connsiteY5" fmla="*/ 23813 h 164307"/>
                <a:gd name="connsiteX6" fmla="*/ 104775 w 242887"/>
                <a:gd name="connsiteY6" fmla="*/ 59532 h 164307"/>
                <a:gd name="connsiteX7" fmla="*/ 35718 w 242887"/>
                <a:gd name="connsiteY7" fmla="*/ 35719 h 164307"/>
                <a:gd name="connsiteX8" fmla="*/ 2380 w 242887"/>
                <a:gd name="connsiteY8" fmla="*/ 45245 h 164307"/>
                <a:gd name="connsiteX9" fmla="*/ 0 w 242887"/>
                <a:gd name="connsiteY9" fmla="*/ 83344 h 16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887" h="164307">
                  <a:moveTo>
                    <a:pt x="0" y="83344"/>
                  </a:moveTo>
                  <a:lnTo>
                    <a:pt x="11906" y="164307"/>
                  </a:lnTo>
                  <a:lnTo>
                    <a:pt x="228600" y="85725"/>
                  </a:lnTo>
                  <a:lnTo>
                    <a:pt x="242887" y="66675"/>
                  </a:lnTo>
                  <a:lnTo>
                    <a:pt x="219075" y="0"/>
                  </a:lnTo>
                  <a:lnTo>
                    <a:pt x="128587" y="23813"/>
                  </a:lnTo>
                  <a:lnTo>
                    <a:pt x="104775" y="59532"/>
                  </a:lnTo>
                  <a:lnTo>
                    <a:pt x="35718" y="35719"/>
                  </a:lnTo>
                  <a:lnTo>
                    <a:pt x="2380" y="45245"/>
                  </a:lnTo>
                  <a:lnTo>
                    <a:pt x="0" y="8334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6" name="Freeform: Shape 233"/>
            <p:cNvSpPr/>
            <p:nvPr/>
          </p:nvSpPr>
          <p:spPr bwMode="auto">
            <a:xfrm>
              <a:off x="5564981" y="4052888"/>
              <a:ext cx="195263" cy="226218"/>
            </a:xfrm>
            <a:custGeom>
              <a:avLst/>
              <a:gdLst>
                <a:gd name="connsiteX0" fmla="*/ 21432 w 195263"/>
                <a:gd name="connsiteY0" fmla="*/ 226218 h 226218"/>
                <a:gd name="connsiteX1" fmla="*/ 126207 w 195263"/>
                <a:gd name="connsiteY1" fmla="*/ 180975 h 226218"/>
                <a:gd name="connsiteX2" fmla="*/ 142875 w 195263"/>
                <a:gd name="connsiteY2" fmla="*/ 164306 h 226218"/>
                <a:gd name="connsiteX3" fmla="*/ 150019 w 195263"/>
                <a:gd name="connsiteY3" fmla="*/ 135731 h 226218"/>
                <a:gd name="connsiteX4" fmla="*/ 195263 w 195263"/>
                <a:gd name="connsiteY4" fmla="*/ 78581 h 226218"/>
                <a:gd name="connsiteX5" fmla="*/ 166688 w 195263"/>
                <a:gd name="connsiteY5" fmla="*/ 54768 h 226218"/>
                <a:gd name="connsiteX6" fmla="*/ 119063 w 195263"/>
                <a:gd name="connsiteY6" fmla="*/ 23812 h 226218"/>
                <a:gd name="connsiteX7" fmla="*/ 104775 w 195263"/>
                <a:gd name="connsiteY7" fmla="*/ 0 h 226218"/>
                <a:gd name="connsiteX8" fmla="*/ 92869 w 195263"/>
                <a:gd name="connsiteY8" fmla="*/ 21431 h 226218"/>
                <a:gd name="connsiteX9" fmla="*/ 90488 w 195263"/>
                <a:gd name="connsiteY9" fmla="*/ 42862 h 226218"/>
                <a:gd name="connsiteX10" fmla="*/ 92869 w 195263"/>
                <a:gd name="connsiteY10" fmla="*/ 69056 h 226218"/>
                <a:gd name="connsiteX11" fmla="*/ 90488 w 195263"/>
                <a:gd name="connsiteY11" fmla="*/ 97631 h 226218"/>
                <a:gd name="connsiteX12" fmla="*/ 78582 w 195263"/>
                <a:gd name="connsiteY12" fmla="*/ 135731 h 226218"/>
                <a:gd name="connsiteX13" fmla="*/ 0 w 195263"/>
                <a:gd name="connsiteY13" fmla="*/ 159543 h 226218"/>
                <a:gd name="connsiteX14" fmla="*/ 21432 w 195263"/>
                <a:gd name="connsiteY14" fmla="*/ 226218 h 226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263" h="226218">
                  <a:moveTo>
                    <a:pt x="21432" y="226218"/>
                  </a:moveTo>
                  <a:lnTo>
                    <a:pt x="126207" y="180975"/>
                  </a:lnTo>
                  <a:lnTo>
                    <a:pt x="142875" y="164306"/>
                  </a:lnTo>
                  <a:lnTo>
                    <a:pt x="150019" y="135731"/>
                  </a:lnTo>
                  <a:lnTo>
                    <a:pt x="195263" y="78581"/>
                  </a:lnTo>
                  <a:lnTo>
                    <a:pt x="166688" y="54768"/>
                  </a:lnTo>
                  <a:lnTo>
                    <a:pt x="119063" y="23812"/>
                  </a:lnTo>
                  <a:lnTo>
                    <a:pt x="104775" y="0"/>
                  </a:lnTo>
                  <a:lnTo>
                    <a:pt x="92869" y="21431"/>
                  </a:lnTo>
                  <a:lnTo>
                    <a:pt x="90488" y="42862"/>
                  </a:lnTo>
                  <a:lnTo>
                    <a:pt x="92869" y="69056"/>
                  </a:lnTo>
                  <a:lnTo>
                    <a:pt x="90488" y="97631"/>
                  </a:lnTo>
                  <a:lnTo>
                    <a:pt x="78582" y="135731"/>
                  </a:lnTo>
                  <a:lnTo>
                    <a:pt x="0" y="159543"/>
                  </a:lnTo>
                  <a:lnTo>
                    <a:pt x="21432" y="22621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7" name="Freeform: Shape 234"/>
            <p:cNvSpPr/>
            <p:nvPr/>
          </p:nvSpPr>
          <p:spPr bwMode="auto">
            <a:xfrm>
              <a:off x="5564981" y="4033838"/>
              <a:ext cx="107157" cy="90487"/>
            </a:xfrm>
            <a:custGeom>
              <a:avLst/>
              <a:gdLst>
                <a:gd name="connsiteX0" fmla="*/ 0 w 107157"/>
                <a:gd name="connsiteY0" fmla="*/ 45243 h 90487"/>
                <a:gd name="connsiteX1" fmla="*/ 23813 w 107157"/>
                <a:gd name="connsiteY1" fmla="*/ 90487 h 90487"/>
                <a:gd name="connsiteX2" fmla="*/ 90488 w 107157"/>
                <a:gd name="connsiteY2" fmla="*/ 80962 h 90487"/>
                <a:gd name="connsiteX3" fmla="*/ 95250 w 107157"/>
                <a:gd name="connsiteY3" fmla="*/ 57150 h 90487"/>
                <a:gd name="connsiteX4" fmla="*/ 107157 w 107157"/>
                <a:gd name="connsiteY4" fmla="*/ 0 h 90487"/>
                <a:gd name="connsiteX5" fmla="*/ 59532 w 107157"/>
                <a:gd name="connsiteY5" fmla="*/ 38100 h 90487"/>
                <a:gd name="connsiteX6" fmla="*/ 0 w 107157"/>
                <a:gd name="connsiteY6" fmla="*/ 45243 h 9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57" h="90487">
                  <a:moveTo>
                    <a:pt x="0" y="45243"/>
                  </a:moveTo>
                  <a:lnTo>
                    <a:pt x="23813" y="90487"/>
                  </a:lnTo>
                  <a:lnTo>
                    <a:pt x="90488" y="80962"/>
                  </a:lnTo>
                  <a:lnTo>
                    <a:pt x="95250" y="57150"/>
                  </a:lnTo>
                  <a:lnTo>
                    <a:pt x="107157" y="0"/>
                  </a:lnTo>
                  <a:lnTo>
                    <a:pt x="59532" y="38100"/>
                  </a:lnTo>
                  <a:lnTo>
                    <a:pt x="0" y="452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8" name="Freeform: Shape 235"/>
            <p:cNvSpPr/>
            <p:nvPr/>
          </p:nvSpPr>
          <p:spPr bwMode="auto">
            <a:xfrm rot="2301587">
              <a:off x="5527644" y="4024039"/>
              <a:ext cx="45719" cy="45719"/>
            </a:xfrm>
            <a:custGeom>
              <a:avLst/>
              <a:gdLst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0 w 61913"/>
                <a:gd name="connsiteY3" fmla="*/ 0 h 80962"/>
                <a:gd name="connsiteX0" fmla="*/ 0 w 61913"/>
                <a:gd name="connsiteY0" fmla="*/ 0 h 80962"/>
                <a:gd name="connsiteX1" fmla="*/ 16669 w 61913"/>
                <a:gd name="connsiteY1" fmla="*/ 80962 h 80962"/>
                <a:gd name="connsiteX2" fmla="*/ 61913 w 61913"/>
                <a:gd name="connsiteY2" fmla="*/ 69056 h 80962"/>
                <a:gd name="connsiteX3" fmla="*/ 23813 w 61913"/>
                <a:gd name="connsiteY3" fmla="*/ 23812 h 80962"/>
                <a:gd name="connsiteX4" fmla="*/ 0 w 61913"/>
                <a:gd name="connsiteY4" fmla="*/ 0 h 80962"/>
                <a:gd name="connsiteX0" fmla="*/ 0 w 61913"/>
                <a:gd name="connsiteY0" fmla="*/ 9526 h 90488"/>
                <a:gd name="connsiteX1" fmla="*/ 16669 w 61913"/>
                <a:gd name="connsiteY1" fmla="*/ 90488 h 90488"/>
                <a:gd name="connsiteX2" fmla="*/ 61913 w 61913"/>
                <a:gd name="connsiteY2" fmla="*/ 78582 h 90488"/>
                <a:gd name="connsiteX3" fmla="*/ 33338 w 61913"/>
                <a:gd name="connsiteY3" fmla="*/ 0 h 90488"/>
                <a:gd name="connsiteX4" fmla="*/ 0 w 61913"/>
                <a:gd name="connsiteY4" fmla="*/ 9526 h 90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913" h="90488">
                  <a:moveTo>
                    <a:pt x="0" y="9526"/>
                  </a:moveTo>
                  <a:lnTo>
                    <a:pt x="16669" y="90488"/>
                  </a:lnTo>
                  <a:lnTo>
                    <a:pt x="61913" y="78582"/>
                  </a:lnTo>
                  <a:lnTo>
                    <a:pt x="33338" y="0"/>
                  </a:lnTo>
                  <a:lnTo>
                    <a:pt x="0" y="952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9" name="Freeform: Shape 236"/>
            <p:cNvSpPr/>
            <p:nvPr/>
          </p:nvSpPr>
          <p:spPr bwMode="auto">
            <a:xfrm>
              <a:off x="5431631" y="3048000"/>
              <a:ext cx="1021557" cy="542925"/>
            </a:xfrm>
            <a:custGeom>
              <a:avLst/>
              <a:gdLst>
                <a:gd name="connsiteX0" fmla="*/ 73819 w 1021557"/>
                <a:gd name="connsiteY0" fmla="*/ 347663 h 542925"/>
                <a:gd name="connsiteX1" fmla="*/ 154782 w 1021557"/>
                <a:gd name="connsiteY1" fmla="*/ 330994 h 542925"/>
                <a:gd name="connsiteX2" fmla="*/ 154782 w 1021557"/>
                <a:gd name="connsiteY2" fmla="*/ 373856 h 542925"/>
                <a:gd name="connsiteX3" fmla="*/ 119063 w 1021557"/>
                <a:gd name="connsiteY3" fmla="*/ 385763 h 542925"/>
                <a:gd name="connsiteX4" fmla="*/ 109538 w 1021557"/>
                <a:gd name="connsiteY4" fmla="*/ 414338 h 542925"/>
                <a:gd name="connsiteX5" fmla="*/ 92869 w 1021557"/>
                <a:gd name="connsiteY5" fmla="*/ 426244 h 542925"/>
                <a:gd name="connsiteX6" fmla="*/ 126207 w 1021557"/>
                <a:gd name="connsiteY6" fmla="*/ 447675 h 542925"/>
                <a:gd name="connsiteX7" fmla="*/ 154782 w 1021557"/>
                <a:gd name="connsiteY7" fmla="*/ 471488 h 542925"/>
                <a:gd name="connsiteX8" fmla="*/ 150019 w 1021557"/>
                <a:gd name="connsiteY8" fmla="*/ 514350 h 542925"/>
                <a:gd name="connsiteX9" fmla="*/ 190500 w 1021557"/>
                <a:gd name="connsiteY9" fmla="*/ 492919 h 542925"/>
                <a:gd name="connsiteX10" fmla="*/ 226219 w 1021557"/>
                <a:gd name="connsiteY10" fmla="*/ 519113 h 542925"/>
                <a:gd name="connsiteX11" fmla="*/ 238125 w 1021557"/>
                <a:gd name="connsiteY11" fmla="*/ 416719 h 542925"/>
                <a:gd name="connsiteX12" fmla="*/ 321469 w 1021557"/>
                <a:gd name="connsiteY12" fmla="*/ 371475 h 542925"/>
                <a:gd name="connsiteX13" fmla="*/ 359569 w 1021557"/>
                <a:gd name="connsiteY13" fmla="*/ 409575 h 542925"/>
                <a:gd name="connsiteX14" fmla="*/ 376238 w 1021557"/>
                <a:gd name="connsiteY14" fmla="*/ 450056 h 542925"/>
                <a:gd name="connsiteX15" fmla="*/ 419100 w 1021557"/>
                <a:gd name="connsiteY15" fmla="*/ 442913 h 542925"/>
                <a:gd name="connsiteX16" fmla="*/ 452438 w 1021557"/>
                <a:gd name="connsiteY16" fmla="*/ 435769 h 542925"/>
                <a:gd name="connsiteX17" fmla="*/ 471488 w 1021557"/>
                <a:gd name="connsiteY17" fmla="*/ 450056 h 542925"/>
                <a:gd name="connsiteX18" fmla="*/ 488157 w 1021557"/>
                <a:gd name="connsiteY18" fmla="*/ 464344 h 542925"/>
                <a:gd name="connsiteX19" fmla="*/ 490538 w 1021557"/>
                <a:gd name="connsiteY19" fmla="*/ 490538 h 542925"/>
                <a:gd name="connsiteX20" fmla="*/ 497682 w 1021557"/>
                <a:gd name="connsiteY20" fmla="*/ 509588 h 542925"/>
                <a:gd name="connsiteX21" fmla="*/ 504825 w 1021557"/>
                <a:gd name="connsiteY21" fmla="*/ 526256 h 542925"/>
                <a:gd name="connsiteX22" fmla="*/ 526257 w 1021557"/>
                <a:gd name="connsiteY22" fmla="*/ 528638 h 542925"/>
                <a:gd name="connsiteX23" fmla="*/ 545307 w 1021557"/>
                <a:gd name="connsiteY23" fmla="*/ 542925 h 542925"/>
                <a:gd name="connsiteX24" fmla="*/ 552450 w 1021557"/>
                <a:gd name="connsiteY24" fmla="*/ 531019 h 542925"/>
                <a:gd name="connsiteX25" fmla="*/ 585788 w 1021557"/>
                <a:gd name="connsiteY25" fmla="*/ 507206 h 542925"/>
                <a:gd name="connsiteX26" fmla="*/ 607219 w 1021557"/>
                <a:gd name="connsiteY26" fmla="*/ 476250 h 542925"/>
                <a:gd name="connsiteX27" fmla="*/ 635794 w 1021557"/>
                <a:gd name="connsiteY27" fmla="*/ 471488 h 542925"/>
                <a:gd name="connsiteX28" fmla="*/ 669132 w 1021557"/>
                <a:gd name="connsiteY28" fmla="*/ 483394 h 542925"/>
                <a:gd name="connsiteX29" fmla="*/ 678657 w 1021557"/>
                <a:gd name="connsiteY29" fmla="*/ 461963 h 542925"/>
                <a:gd name="connsiteX30" fmla="*/ 697707 w 1021557"/>
                <a:gd name="connsiteY30" fmla="*/ 454819 h 542925"/>
                <a:gd name="connsiteX31" fmla="*/ 721519 w 1021557"/>
                <a:gd name="connsiteY31" fmla="*/ 471488 h 542925"/>
                <a:gd name="connsiteX32" fmla="*/ 773907 w 1021557"/>
                <a:gd name="connsiteY32" fmla="*/ 473869 h 542925"/>
                <a:gd name="connsiteX33" fmla="*/ 797719 w 1021557"/>
                <a:gd name="connsiteY33" fmla="*/ 471488 h 542925"/>
                <a:gd name="connsiteX34" fmla="*/ 833438 w 1021557"/>
                <a:gd name="connsiteY34" fmla="*/ 485775 h 542925"/>
                <a:gd name="connsiteX35" fmla="*/ 838200 w 1021557"/>
                <a:gd name="connsiteY35" fmla="*/ 473869 h 542925"/>
                <a:gd name="connsiteX36" fmla="*/ 831057 w 1021557"/>
                <a:gd name="connsiteY36" fmla="*/ 402431 h 542925"/>
                <a:gd name="connsiteX37" fmla="*/ 852488 w 1021557"/>
                <a:gd name="connsiteY37" fmla="*/ 395288 h 542925"/>
                <a:gd name="connsiteX38" fmla="*/ 881063 w 1021557"/>
                <a:gd name="connsiteY38" fmla="*/ 400050 h 542925"/>
                <a:gd name="connsiteX39" fmla="*/ 890588 w 1021557"/>
                <a:gd name="connsiteY39" fmla="*/ 369094 h 542925"/>
                <a:gd name="connsiteX40" fmla="*/ 890588 w 1021557"/>
                <a:gd name="connsiteY40" fmla="*/ 335756 h 542925"/>
                <a:gd name="connsiteX41" fmla="*/ 904875 w 1021557"/>
                <a:gd name="connsiteY41" fmla="*/ 321469 h 542925"/>
                <a:gd name="connsiteX42" fmla="*/ 938213 w 1021557"/>
                <a:gd name="connsiteY42" fmla="*/ 335756 h 542925"/>
                <a:gd name="connsiteX43" fmla="*/ 959644 w 1021557"/>
                <a:gd name="connsiteY43" fmla="*/ 333375 h 542925"/>
                <a:gd name="connsiteX44" fmla="*/ 969169 w 1021557"/>
                <a:gd name="connsiteY44" fmla="*/ 307181 h 542925"/>
                <a:gd name="connsiteX45" fmla="*/ 962025 w 1021557"/>
                <a:gd name="connsiteY45" fmla="*/ 292894 h 542925"/>
                <a:gd name="connsiteX46" fmla="*/ 1021557 w 1021557"/>
                <a:gd name="connsiteY46" fmla="*/ 252413 h 542925"/>
                <a:gd name="connsiteX47" fmla="*/ 992982 w 1021557"/>
                <a:gd name="connsiteY47" fmla="*/ 230981 h 542925"/>
                <a:gd name="connsiteX48" fmla="*/ 966788 w 1021557"/>
                <a:gd name="connsiteY48" fmla="*/ 230981 h 542925"/>
                <a:gd name="connsiteX49" fmla="*/ 921544 w 1021557"/>
                <a:gd name="connsiteY49" fmla="*/ 211931 h 542925"/>
                <a:gd name="connsiteX50" fmla="*/ 921544 w 1021557"/>
                <a:gd name="connsiteY50" fmla="*/ 185738 h 542925"/>
                <a:gd name="connsiteX51" fmla="*/ 871538 w 1021557"/>
                <a:gd name="connsiteY51" fmla="*/ 185738 h 542925"/>
                <a:gd name="connsiteX52" fmla="*/ 842963 w 1021557"/>
                <a:gd name="connsiteY52" fmla="*/ 171450 h 542925"/>
                <a:gd name="connsiteX53" fmla="*/ 833438 w 1021557"/>
                <a:gd name="connsiteY53" fmla="*/ 209550 h 542925"/>
                <a:gd name="connsiteX54" fmla="*/ 797719 w 1021557"/>
                <a:gd name="connsiteY54" fmla="*/ 104775 h 542925"/>
                <a:gd name="connsiteX55" fmla="*/ 776288 w 1021557"/>
                <a:gd name="connsiteY55" fmla="*/ 78581 h 542925"/>
                <a:gd name="connsiteX56" fmla="*/ 745332 w 1021557"/>
                <a:gd name="connsiteY56" fmla="*/ 61913 h 542925"/>
                <a:gd name="connsiteX57" fmla="*/ 738188 w 1021557"/>
                <a:gd name="connsiteY57" fmla="*/ 45244 h 542925"/>
                <a:gd name="connsiteX58" fmla="*/ 676275 w 1021557"/>
                <a:gd name="connsiteY58" fmla="*/ 78581 h 542925"/>
                <a:gd name="connsiteX59" fmla="*/ 669132 w 1021557"/>
                <a:gd name="connsiteY59" fmla="*/ 88106 h 542925"/>
                <a:gd name="connsiteX60" fmla="*/ 659607 w 1021557"/>
                <a:gd name="connsiteY60" fmla="*/ 66675 h 542925"/>
                <a:gd name="connsiteX61" fmla="*/ 654844 w 1021557"/>
                <a:gd name="connsiteY61" fmla="*/ 54769 h 542925"/>
                <a:gd name="connsiteX62" fmla="*/ 640557 w 1021557"/>
                <a:gd name="connsiteY62" fmla="*/ 69056 h 542925"/>
                <a:gd name="connsiteX63" fmla="*/ 633413 w 1021557"/>
                <a:gd name="connsiteY63" fmla="*/ 57150 h 542925"/>
                <a:gd name="connsiteX64" fmla="*/ 609600 w 1021557"/>
                <a:gd name="connsiteY64" fmla="*/ 50006 h 542925"/>
                <a:gd name="connsiteX65" fmla="*/ 623888 w 1021557"/>
                <a:gd name="connsiteY65" fmla="*/ 38100 h 542925"/>
                <a:gd name="connsiteX66" fmla="*/ 600075 w 1021557"/>
                <a:gd name="connsiteY66" fmla="*/ 7144 h 542925"/>
                <a:gd name="connsiteX67" fmla="*/ 557213 w 1021557"/>
                <a:gd name="connsiteY67" fmla="*/ 0 h 542925"/>
                <a:gd name="connsiteX68" fmla="*/ 533400 w 1021557"/>
                <a:gd name="connsiteY68" fmla="*/ 14288 h 542925"/>
                <a:gd name="connsiteX69" fmla="*/ 500063 w 1021557"/>
                <a:gd name="connsiteY69" fmla="*/ 16669 h 542925"/>
                <a:gd name="connsiteX70" fmla="*/ 426244 w 1021557"/>
                <a:gd name="connsiteY70" fmla="*/ 52388 h 542925"/>
                <a:gd name="connsiteX71" fmla="*/ 376238 w 1021557"/>
                <a:gd name="connsiteY71" fmla="*/ 54769 h 542925"/>
                <a:gd name="connsiteX72" fmla="*/ 357188 w 1021557"/>
                <a:gd name="connsiteY72" fmla="*/ 54769 h 542925"/>
                <a:gd name="connsiteX73" fmla="*/ 373857 w 1021557"/>
                <a:gd name="connsiteY73" fmla="*/ 95250 h 542925"/>
                <a:gd name="connsiteX74" fmla="*/ 352425 w 1021557"/>
                <a:gd name="connsiteY74" fmla="*/ 97631 h 542925"/>
                <a:gd name="connsiteX75" fmla="*/ 347663 w 1021557"/>
                <a:gd name="connsiteY75" fmla="*/ 135731 h 542925"/>
                <a:gd name="connsiteX76" fmla="*/ 361950 w 1021557"/>
                <a:gd name="connsiteY76" fmla="*/ 161925 h 542925"/>
                <a:gd name="connsiteX77" fmla="*/ 361950 w 1021557"/>
                <a:gd name="connsiteY77" fmla="*/ 161925 h 542925"/>
                <a:gd name="connsiteX78" fmla="*/ 357188 w 1021557"/>
                <a:gd name="connsiteY78" fmla="*/ 200025 h 542925"/>
                <a:gd name="connsiteX79" fmla="*/ 354807 w 1021557"/>
                <a:gd name="connsiteY79" fmla="*/ 197644 h 542925"/>
                <a:gd name="connsiteX80" fmla="*/ 323850 w 1021557"/>
                <a:gd name="connsiteY80" fmla="*/ 183356 h 542925"/>
                <a:gd name="connsiteX81" fmla="*/ 321469 w 1021557"/>
                <a:gd name="connsiteY81" fmla="*/ 214313 h 542925"/>
                <a:gd name="connsiteX82" fmla="*/ 292894 w 1021557"/>
                <a:gd name="connsiteY82" fmla="*/ 176213 h 542925"/>
                <a:gd name="connsiteX83" fmla="*/ 252413 w 1021557"/>
                <a:gd name="connsiteY83" fmla="*/ 183356 h 542925"/>
                <a:gd name="connsiteX84" fmla="*/ 226219 w 1021557"/>
                <a:gd name="connsiteY84" fmla="*/ 192881 h 542925"/>
                <a:gd name="connsiteX85" fmla="*/ 202407 w 1021557"/>
                <a:gd name="connsiteY85" fmla="*/ 192881 h 542925"/>
                <a:gd name="connsiteX86" fmla="*/ 178594 w 1021557"/>
                <a:gd name="connsiteY86" fmla="*/ 180975 h 542925"/>
                <a:gd name="connsiteX87" fmla="*/ 142875 w 1021557"/>
                <a:gd name="connsiteY87" fmla="*/ 133350 h 542925"/>
                <a:gd name="connsiteX88" fmla="*/ 123825 w 1021557"/>
                <a:gd name="connsiteY88" fmla="*/ 161925 h 542925"/>
                <a:gd name="connsiteX89" fmla="*/ 109538 w 1021557"/>
                <a:gd name="connsiteY89" fmla="*/ 150019 h 542925"/>
                <a:gd name="connsiteX90" fmla="*/ 71438 w 1021557"/>
                <a:gd name="connsiteY90" fmla="*/ 161925 h 542925"/>
                <a:gd name="connsiteX91" fmla="*/ 47625 w 1021557"/>
                <a:gd name="connsiteY91" fmla="*/ 221456 h 542925"/>
                <a:gd name="connsiteX92" fmla="*/ 19050 w 1021557"/>
                <a:gd name="connsiteY92" fmla="*/ 207169 h 542925"/>
                <a:gd name="connsiteX93" fmla="*/ 0 w 1021557"/>
                <a:gd name="connsiteY93" fmla="*/ 261938 h 542925"/>
                <a:gd name="connsiteX94" fmla="*/ 11907 w 1021557"/>
                <a:gd name="connsiteY94" fmla="*/ 288131 h 542925"/>
                <a:gd name="connsiteX95" fmla="*/ 47625 w 1021557"/>
                <a:gd name="connsiteY95" fmla="*/ 304800 h 542925"/>
                <a:gd name="connsiteX96" fmla="*/ 73819 w 1021557"/>
                <a:gd name="connsiteY96" fmla="*/ 347663 h 542925"/>
                <a:gd name="connsiteX0" fmla="*/ 73819 w 1021557"/>
                <a:gd name="connsiteY0" fmla="*/ 347663 h 542925"/>
                <a:gd name="connsiteX1" fmla="*/ 154782 w 1021557"/>
                <a:gd name="connsiteY1" fmla="*/ 330994 h 542925"/>
                <a:gd name="connsiteX2" fmla="*/ 154782 w 1021557"/>
                <a:gd name="connsiteY2" fmla="*/ 373856 h 542925"/>
                <a:gd name="connsiteX3" fmla="*/ 119063 w 1021557"/>
                <a:gd name="connsiteY3" fmla="*/ 385763 h 542925"/>
                <a:gd name="connsiteX4" fmla="*/ 109538 w 1021557"/>
                <a:gd name="connsiteY4" fmla="*/ 414338 h 542925"/>
                <a:gd name="connsiteX5" fmla="*/ 92869 w 1021557"/>
                <a:gd name="connsiteY5" fmla="*/ 426244 h 542925"/>
                <a:gd name="connsiteX6" fmla="*/ 126207 w 1021557"/>
                <a:gd name="connsiteY6" fmla="*/ 447675 h 542925"/>
                <a:gd name="connsiteX7" fmla="*/ 154782 w 1021557"/>
                <a:gd name="connsiteY7" fmla="*/ 471488 h 542925"/>
                <a:gd name="connsiteX8" fmla="*/ 150019 w 1021557"/>
                <a:gd name="connsiteY8" fmla="*/ 514350 h 542925"/>
                <a:gd name="connsiteX9" fmla="*/ 190500 w 1021557"/>
                <a:gd name="connsiteY9" fmla="*/ 492919 h 542925"/>
                <a:gd name="connsiteX10" fmla="*/ 226219 w 1021557"/>
                <a:gd name="connsiteY10" fmla="*/ 519113 h 542925"/>
                <a:gd name="connsiteX11" fmla="*/ 238125 w 1021557"/>
                <a:gd name="connsiteY11" fmla="*/ 416719 h 542925"/>
                <a:gd name="connsiteX12" fmla="*/ 321469 w 1021557"/>
                <a:gd name="connsiteY12" fmla="*/ 371475 h 542925"/>
                <a:gd name="connsiteX13" fmla="*/ 359569 w 1021557"/>
                <a:gd name="connsiteY13" fmla="*/ 409575 h 542925"/>
                <a:gd name="connsiteX14" fmla="*/ 376238 w 1021557"/>
                <a:gd name="connsiteY14" fmla="*/ 450056 h 542925"/>
                <a:gd name="connsiteX15" fmla="*/ 419100 w 1021557"/>
                <a:gd name="connsiteY15" fmla="*/ 442913 h 542925"/>
                <a:gd name="connsiteX16" fmla="*/ 452438 w 1021557"/>
                <a:gd name="connsiteY16" fmla="*/ 435769 h 542925"/>
                <a:gd name="connsiteX17" fmla="*/ 471488 w 1021557"/>
                <a:gd name="connsiteY17" fmla="*/ 450056 h 542925"/>
                <a:gd name="connsiteX18" fmla="*/ 488157 w 1021557"/>
                <a:gd name="connsiteY18" fmla="*/ 464344 h 542925"/>
                <a:gd name="connsiteX19" fmla="*/ 490538 w 1021557"/>
                <a:gd name="connsiteY19" fmla="*/ 490538 h 542925"/>
                <a:gd name="connsiteX20" fmla="*/ 497682 w 1021557"/>
                <a:gd name="connsiteY20" fmla="*/ 509588 h 542925"/>
                <a:gd name="connsiteX21" fmla="*/ 504825 w 1021557"/>
                <a:gd name="connsiteY21" fmla="*/ 526256 h 542925"/>
                <a:gd name="connsiteX22" fmla="*/ 526257 w 1021557"/>
                <a:gd name="connsiteY22" fmla="*/ 528638 h 542925"/>
                <a:gd name="connsiteX23" fmla="*/ 545307 w 1021557"/>
                <a:gd name="connsiteY23" fmla="*/ 542925 h 542925"/>
                <a:gd name="connsiteX24" fmla="*/ 552450 w 1021557"/>
                <a:gd name="connsiteY24" fmla="*/ 531019 h 542925"/>
                <a:gd name="connsiteX25" fmla="*/ 585788 w 1021557"/>
                <a:gd name="connsiteY25" fmla="*/ 507206 h 542925"/>
                <a:gd name="connsiteX26" fmla="*/ 607219 w 1021557"/>
                <a:gd name="connsiteY26" fmla="*/ 476250 h 542925"/>
                <a:gd name="connsiteX27" fmla="*/ 635794 w 1021557"/>
                <a:gd name="connsiteY27" fmla="*/ 471488 h 542925"/>
                <a:gd name="connsiteX28" fmla="*/ 669132 w 1021557"/>
                <a:gd name="connsiteY28" fmla="*/ 483394 h 542925"/>
                <a:gd name="connsiteX29" fmla="*/ 678657 w 1021557"/>
                <a:gd name="connsiteY29" fmla="*/ 461963 h 542925"/>
                <a:gd name="connsiteX30" fmla="*/ 697707 w 1021557"/>
                <a:gd name="connsiteY30" fmla="*/ 454819 h 542925"/>
                <a:gd name="connsiteX31" fmla="*/ 721519 w 1021557"/>
                <a:gd name="connsiteY31" fmla="*/ 471488 h 542925"/>
                <a:gd name="connsiteX32" fmla="*/ 773907 w 1021557"/>
                <a:gd name="connsiteY32" fmla="*/ 473869 h 542925"/>
                <a:gd name="connsiteX33" fmla="*/ 797719 w 1021557"/>
                <a:gd name="connsiteY33" fmla="*/ 471488 h 542925"/>
                <a:gd name="connsiteX34" fmla="*/ 833438 w 1021557"/>
                <a:gd name="connsiteY34" fmla="*/ 485775 h 542925"/>
                <a:gd name="connsiteX35" fmla="*/ 838200 w 1021557"/>
                <a:gd name="connsiteY35" fmla="*/ 473869 h 542925"/>
                <a:gd name="connsiteX36" fmla="*/ 831057 w 1021557"/>
                <a:gd name="connsiteY36" fmla="*/ 402431 h 542925"/>
                <a:gd name="connsiteX37" fmla="*/ 852488 w 1021557"/>
                <a:gd name="connsiteY37" fmla="*/ 395288 h 542925"/>
                <a:gd name="connsiteX38" fmla="*/ 881063 w 1021557"/>
                <a:gd name="connsiteY38" fmla="*/ 400050 h 542925"/>
                <a:gd name="connsiteX39" fmla="*/ 890588 w 1021557"/>
                <a:gd name="connsiteY39" fmla="*/ 369094 h 542925"/>
                <a:gd name="connsiteX40" fmla="*/ 890588 w 1021557"/>
                <a:gd name="connsiteY40" fmla="*/ 335756 h 542925"/>
                <a:gd name="connsiteX41" fmla="*/ 904875 w 1021557"/>
                <a:gd name="connsiteY41" fmla="*/ 321469 h 542925"/>
                <a:gd name="connsiteX42" fmla="*/ 938213 w 1021557"/>
                <a:gd name="connsiteY42" fmla="*/ 335756 h 542925"/>
                <a:gd name="connsiteX43" fmla="*/ 959644 w 1021557"/>
                <a:gd name="connsiteY43" fmla="*/ 333375 h 542925"/>
                <a:gd name="connsiteX44" fmla="*/ 969169 w 1021557"/>
                <a:gd name="connsiteY44" fmla="*/ 307181 h 542925"/>
                <a:gd name="connsiteX45" fmla="*/ 962025 w 1021557"/>
                <a:gd name="connsiteY45" fmla="*/ 292894 h 542925"/>
                <a:gd name="connsiteX46" fmla="*/ 1021557 w 1021557"/>
                <a:gd name="connsiteY46" fmla="*/ 252413 h 542925"/>
                <a:gd name="connsiteX47" fmla="*/ 992982 w 1021557"/>
                <a:gd name="connsiteY47" fmla="*/ 230981 h 542925"/>
                <a:gd name="connsiteX48" fmla="*/ 966788 w 1021557"/>
                <a:gd name="connsiteY48" fmla="*/ 230981 h 542925"/>
                <a:gd name="connsiteX49" fmla="*/ 921544 w 1021557"/>
                <a:gd name="connsiteY49" fmla="*/ 211931 h 542925"/>
                <a:gd name="connsiteX50" fmla="*/ 921544 w 1021557"/>
                <a:gd name="connsiteY50" fmla="*/ 185738 h 542925"/>
                <a:gd name="connsiteX51" fmla="*/ 871538 w 1021557"/>
                <a:gd name="connsiteY51" fmla="*/ 185738 h 542925"/>
                <a:gd name="connsiteX52" fmla="*/ 842963 w 1021557"/>
                <a:gd name="connsiteY52" fmla="*/ 171450 h 542925"/>
                <a:gd name="connsiteX53" fmla="*/ 833438 w 1021557"/>
                <a:gd name="connsiteY53" fmla="*/ 209550 h 542925"/>
                <a:gd name="connsiteX54" fmla="*/ 797719 w 1021557"/>
                <a:gd name="connsiteY54" fmla="*/ 104775 h 542925"/>
                <a:gd name="connsiteX55" fmla="*/ 776288 w 1021557"/>
                <a:gd name="connsiteY55" fmla="*/ 78581 h 542925"/>
                <a:gd name="connsiteX56" fmla="*/ 745332 w 1021557"/>
                <a:gd name="connsiteY56" fmla="*/ 61913 h 542925"/>
                <a:gd name="connsiteX57" fmla="*/ 738188 w 1021557"/>
                <a:gd name="connsiteY57" fmla="*/ 45244 h 542925"/>
                <a:gd name="connsiteX58" fmla="*/ 676275 w 1021557"/>
                <a:gd name="connsiteY58" fmla="*/ 78581 h 542925"/>
                <a:gd name="connsiteX59" fmla="*/ 669132 w 1021557"/>
                <a:gd name="connsiteY59" fmla="*/ 88106 h 542925"/>
                <a:gd name="connsiteX60" fmla="*/ 659607 w 1021557"/>
                <a:gd name="connsiteY60" fmla="*/ 66675 h 542925"/>
                <a:gd name="connsiteX61" fmla="*/ 654844 w 1021557"/>
                <a:gd name="connsiteY61" fmla="*/ 54769 h 542925"/>
                <a:gd name="connsiteX62" fmla="*/ 640557 w 1021557"/>
                <a:gd name="connsiteY62" fmla="*/ 69056 h 542925"/>
                <a:gd name="connsiteX63" fmla="*/ 633413 w 1021557"/>
                <a:gd name="connsiteY63" fmla="*/ 57150 h 542925"/>
                <a:gd name="connsiteX64" fmla="*/ 609600 w 1021557"/>
                <a:gd name="connsiteY64" fmla="*/ 50006 h 542925"/>
                <a:gd name="connsiteX65" fmla="*/ 623888 w 1021557"/>
                <a:gd name="connsiteY65" fmla="*/ 38100 h 542925"/>
                <a:gd name="connsiteX66" fmla="*/ 600075 w 1021557"/>
                <a:gd name="connsiteY66" fmla="*/ 7144 h 542925"/>
                <a:gd name="connsiteX67" fmla="*/ 557213 w 1021557"/>
                <a:gd name="connsiteY67" fmla="*/ 0 h 542925"/>
                <a:gd name="connsiteX68" fmla="*/ 533400 w 1021557"/>
                <a:gd name="connsiteY68" fmla="*/ 14288 h 542925"/>
                <a:gd name="connsiteX69" fmla="*/ 500063 w 1021557"/>
                <a:gd name="connsiteY69" fmla="*/ 16669 h 542925"/>
                <a:gd name="connsiteX70" fmla="*/ 426244 w 1021557"/>
                <a:gd name="connsiteY70" fmla="*/ 52388 h 542925"/>
                <a:gd name="connsiteX71" fmla="*/ 376238 w 1021557"/>
                <a:gd name="connsiteY71" fmla="*/ 54769 h 542925"/>
                <a:gd name="connsiteX72" fmla="*/ 357188 w 1021557"/>
                <a:gd name="connsiteY72" fmla="*/ 54769 h 542925"/>
                <a:gd name="connsiteX73" fmla="*/ 373857 w 1021557"/>
                <a:gd name="connsiteY73" fmla="*/ 95250 h 542925"/>
                <a:gd name="connsiteX74" fmla="*/ 352425 w 1021557"/>
                <a:gd name="connsiteY74" fmla="*/ 97631 h 542925"/>
                <a:gd name="connsiteX75" fmla="*/ 347663 w 1021557"/>
                <a:gd name="connsiteY75" fmla="*/ 135731 h 542925"/>
                <a:gd name="connsiteX76" fmla="*/ 361950 w 1021557"/>
                <a:gd name="connsiteY76" fmla="*/ 161925 h 542925"/>
                <a:gd name="connsiteX77" fmla="*/ 361950 w 1021557"/>
                <a:gd name="connsiteY77" fmla="*/ 161925 h 542925"/>
                <a:gd name="connsiteX78" fmla="*/ 357188 w 1021557"/>
                <a:gd name="connsiteY78" fmla="*/ 200025 h 542925"/>
                <a:gd name="connsiteX79" fmla="*/ 354807 w 1021557"/>
                <a:gd name="connsiteY79" fmla="*/ 197644 h 542925"/>
                <a:gd name="connsiteX80" fmla="*/ 323850 w 1021557"/>
                <a:gd name="connsiteY80" fmla="*/ 183356 h 542925"/>
                <a:gd name="connsiteX81" fmla="*/ 321469 w 1021557"/>
                <a:gd name="connsiteY81" fmla="*/ 214313 h 542925"/>
                <a:gd name="connsiteX82" fmla="*/ 292894 w 1021557"/>
                <a:gd name="connsiteY82" fmla="*/ 176213 h 542925"/>
                <a:gd name="connsiteX83" fmla="*/ 252413 w 1021557"/>
                <a:gd name="connsiteY83" fmla="*/ 183356 h 542925"/>
                <a:gd name="connsiteX84" fmla="*/ 226219 w 1021557"/>
                <a:gd name="connsiteY84" fmla="*/ 192881 h 542925"/>
                <a:gd name="connsiteX85" fmla="*/ 202407 w 1021557"/>
                <a:gd name="connsiteY85" fmla="*/ 192881 h 542925"/>
                <a:gd name="connsiteX86" fmla="*/ 178594 w 1021557"/>
                <a:gd name="connsiteY86" fmla="*/ 180975 h 542925"/>
                <a:gd name="connsiteX87" fmla="*/ 142875 w 1021557"/>
                <a:gd name="connsiteY87" fmla="*/ 133350 h 542925"/>
                <a:gd name="connsiteX88" fmla="*/ 123825 w 1021557"/>
                <a:gd name="connsiteY88" fmla="*/ 161925 h 542925"/>
                <a:gd name="connsiteX89" fmla="*/ 109538 w 1021557"/>
                <a:gd name="connsiteY89" fmla="*/ 150019 h 542925"/>
                <a:gd name="connsiteX90" fmla="*/ 71438 w 1021557"/>
                <a:gd name="connsiteY90" fmla="*/ 161925 h 542925"/>
                <a:gd name="connsiteX91" fmla="*/ 47625 w 1021557"/>
                <a:gd name="connsiteY91" fmla="*/ 221456 h 542925"/>
                <a:gd name="connsiteX92" fmla="*/ 19050 w 1021557"/>
                <a:gd name="connsiteY92" fmla="*/ 207169 h 542925"/>
                <a:gd name="connsiteX93" fmla="*/ 0 w 1021557"/>
                <a:gd name="connsiteY93" fmla="*/ 261938 h 542925"/>
                <a:gd name="connsiteX94" fmla="*/ 11907 w 1021557"/>
                <a:gd name="connsiteY94" fmla="*/ 288131 h 542925"/>
                <a:gd name="connsiteX95" fmla="*/ 47625 w 1021557"/>
                <a:gd name="connsiteY95" fmla="*/ 304800 h 542925"/>
                <a:gd name="connsiteX96" fmla="*/ 59532 w 1021557"/>
                <a:gd name="connsiteY96" fmla="*/ 328613 h 542925"/>
                <a:gd name="connsiteX97" fmla="*/ 73819 w 1021557"/>
                <a:gd name="connsiteY97" fmla="*/ 347663 h 542925"/>
                <a:gd name="connsiteX0" fmla="*/ 73819 w 1021557"/>
                <a:gd name="connsiteY0" fmla="*/ 347663 h 542925"/>
                <a:gd name="connsiteX1" fmla="*/ 154782 w 1021557"/>
                <a:gd name="connsiteY1" fmla="*/ 330994 h 542925"/>
                <a:gd name="connsiteX2" fmla="*/ 154782 w 1021557"/>
                <a:gd name="connsiteY2" fmla="*/ 373856 h 542925"/>
                <a:gd name="connsiteX3" fmla="*/ 119063 w 1021557"/>
                <a:gd name="connsiteY3" fmla="*/ 385763 h 542925"/>
                <a:gd name="connsiteX4" fmla="*/ 109538 w 1021557"/>
                <a:gd name="connsiteY4" fmla="*/ 414338 h 542925"/>
                <a:gd name="connsiteX5" fmla="*/ 92869 w 1021557"/>
                <a:gd name="connsiteY5" fmla="*/ 426244 h 542925"/>
                <a:gd name="connsiteX6" fmla="*/ 126207 w 1021557"/>
                <a:gd name="connsiteY6" fmla="*/ 447675 h 542925"/>
                <a:gd name="connsiteX7" fmla="*/ 154782 w 1021557"/>
                <a:gd name="connsiteY7" fmla="*/ 471488 h 542925"/>
                <a:gd name="connsiteX8" fmla="*/ 150019 w 1021557"/>
                <a:gd name="connsiteY8" fmla="*/ 514350 h 542925"/>
                <a:gd name="connsiteX9" fmla="*/ 190500 w 1021557"/>
                <a:gd name="connsiteY9" fmla="*/ 492919 h 542925"/>
                <a:gd name="connsiteX10" fmla="*/ 226219 w 1021557"/>
                <a:gd name="connsiteY10" fmla="*/ 519113 h 542925"/>
                <a:gd name="connsiteX11" fmla="*/ 238125 w 1021557"/>
                <a:gd name="connsiteY11" fmla="*/ 416719 h 542925"/>
                <a:gd name="connsiteX12" fmla="*/ 321469 w 1021557"/>
                <a:gd name="connsiteY12" fmla="*/ 371475 h 542925"/>
                <a:gd name="connsiteX13" fmla="*/ 359569 w 1021557"/>
                <a:gd name="connsiteY13" fmla="*/ 409575 h 542925"/>
                <a:gd name="connsiteX14" fmla="*/ 376238 w 1021557"/>
                <a:gd name="connsiteY14" fmla="*/ 450056 h 542925"/>
                <a:gd name="connsiteX15" fmla="*/ 419100 w 1021557"/>
                <a:gd name="connsiteY15" fmla="*/ 442913 h 542925"/>
                <a:gd name="connsiteX16" fmla="*/ 452438 w 1021557"/>
                <a:gd name="connsiteY16" fmla="*/ 435769 h 542925"/>
                <a:gd name="connsiteX17" fmla="*/ 471488 w 1021557"/>
                <a:gd name="connsiteY17" fmla="*/ 450056 h 542925"/>
                <a:gd name="connsiteX18" fmla="*/ 488157 w 1021557"/>
                <a:gd name="connsiteY18" fmla="*/ 464344 h 542925"/>
                <a:gd name="connsiteX19" fmla="*/ 490538 w 1021557"/>
                <a:gd name="connsiteY19" fmla="*/ 490538 h 542925"/>
                <a:gd name="connsiteX20" fmla="*/ 497682 w 1021557"/>
                <a:gd name="connsiteY20" fmla="*/ 509588 h 542925"/>
                <a:gd name="connsiteX21" fmla="*/ 504825 w 1021557"/>
                <a:gd name="connsiteY21" fmla="*/ 526256 h 542925"/>
                <a:gd name="connsiteX22" fmla="*/ 526257 w 1021557"/>
                <a:gd name="connsiteY22" fmla="*/ 528638 h 542925"/>
                <a:gd name="connsiteX23" fmla="*/ 545307 w 1021557"/>
                <a:gd name="connsiteY23" fmla="*/ 542925 h 542925"/>
                <a:gd name="connsiteX24" fmla="*/ 552450 w 1021557"/>
                <a:gd name="connsiteY24" fmla="*/ 531019 h 542925"/>
                <a:gd name="connsiteX25" fmla="*/ 585788 w 1021557"/>
                <a:gd name="connsiteY25" fmla="*/ 507206 h 542925"/>
                <a:gd name="connsiteX26" fmla="*/ 607219 w 1021557"/>
                <a:gd name="connsiteY26" fmla="*/ 476250 h 542925"/>
                <a:gd name="connsiteX27" fmla="*/ 635794 w 1021557"/>
                <a:gd name="connsiteY27" fmla="*/ 471488 h 542925"/>
                <a:gd name="connsiteX28" fmla="*/ 669132 w 1021557"/>
                <a:gd name="connsiteY28" fmla="*/ 483394 h 542925"/>
                <a:gd name="connsiteX29" fmla="*/ 678657 w 1021557"/>
                <a:gd name="connsiteY29" fmla="*/ 461963 h 542925"/>
                <a:gd name="connsiteX30" fmla="*/ 697707 w 1021557"/>
                <a:gd name="connsiteY30" fmla="*/ 454819 h 542925"/>
                <a:gd name="connsiteX31" fmla="*/ 721519 w 1021557"/>
                <a:gd name="connsiteY31" fmla="*/ 471488 h 542925"/>
                <a:gd name="connsiteX32" fmla="*/ 773907 w 1021557"/>
                <a:gd name="connsiteY32" fmla="*/ 473869 h 542925"/>
                <a:gd name="connsiteX33" fmla="*/ 797719 w 1021557"/>
                <a:gd name="connsiteY33" fmla="*/ 471488 h 542925"/>
                <a:gd name="connsiteX34" fmla="*/ 833438 w 1021557"/>
                <a:gd name="connsiteY34" fmla="*/ 485775 h 542925"/>
                <a:gd name="connsiteX35" fmla="*/ 838200 w 1021557"/>
                <a:gd name="connsiteY35" fmla="*/ 473869 h 542925"/>
                <a:gd name="connsiteX36" fmla="*/ 831057 w 1021557"/>
                <a:gd name="connsiteY36" fmla="*/ 402431 h 542925"/>
                <a:gd name="connsiteX37" fmla="*/ 852488 w 1021557"/>
                <a:gd name="connsiteY37" fmla="*/ 395288 h 542925"/>
                <a:gd name="connsiteX38" fmla="*/ 881063 w 1021557"/>
                <a:gd name="connsiteY38" fmla="*/ 400050 h 542925"/>
                <a:gd name="connsiteX39" fmla="*/ 890588 w 1021557"/>
                <a:gd name="connsiteY39" fmla="*/ 369094 h 542925"/>
                <a:gd name="connsiteX40" fmla="*/ 890588 w 1021557"/>
                <a:gd name="connsiteY40" fmla="*/ 335756 h 542925"/>
                <a:gd name="connsiteX41" fmla="*/ 904875 w 1021557"/>
                <a:gd name="connsiteY41" fmla="*/ 321469 h 542925"/>
                <a:gd name="connsiteX42" fmla="*/ 938213 w 1021557"/>
                <a:gd name="connsiteY42" fmla="*/ 335756 h 542925"/>
                <a:gd name="connsiteX43" fmla="*/ 959644 w 1021557"/>
                <a:gd name="connsiteY43" fmla="*/ 333375 h 542925"/>
                <a:gd name="connsiteX44" fmla="*/ 969169 w 1021557"/>
                <a:gd name="connsiteY44" fmla="*/ 307181 h 542925"/>
                <a:gd name="connsiteX45" fmla="*/ 962025 w 1021557"/>
                <a:gd name="connsiteY45" fmla="*/ 292894 h 542925"/>
                <a:gd name="connsiteX46" fmla="*/ 1021557 w 1021557"/>
                <a:gd name="connsiteY46" fmla="*/ 252413 h 542925"/>
                <a:gd name="connsiteX47" fmla="*/ 992982 w 1021557"/>
                <a:gd name="connsiteY47" fmla="*/ 230981 h 542925"/>
                <a:gd name="connsiteX48" fmla="*/ 966788 w 1021557"/>
                <a:gd name="connsiteY48" fmla="*/ 230981 h 542925"/>
                <a:gd name="connsiteX49" fmla="*/ 921544 w 1021557"/>
                <a:gd name="connsiteY49" fmla="*/ 211931 h 542925"/>
                <a:gd name="connsiteX50" fmla="*/ 921544 w 1021557"/>
                <a:gd name="connsiteY50" fmla="*/ 185738 h 542925"/>
                <a:gd name="connsiteX51" fmla="*/ 871538 w 1021557"/>
                <a:gd name="connsiteY51" fmla="*/ 185738 h 542925"/>
                <a:gd name="connsiteX52" fmla="*/ 842963 w 1021557"/>
                <a:gd name="connsiteY52" fmla="*/ 171450 h 542925"/>
                <a:gd name="connsiteX53" fmla="*/ 833438 w 1021557"/>
                <a:gd name="connsiteY53" fmla="*/ 209550 h 542925"/>
                <a:gd name="connsiteX54" fmla="*/ 797719 w 1021557"/>
                <a:gd name="connsiteY54" fmla="*/ 104775 h 542925"/>
                <a:gd name="connsiteX55" fmla="*/ 776288 w 1021557"/>
                <a:gd name="connsiteY55" fmla="*/ 78581 h 542925"/>
                <a:gd name="connsiteX56" fmla="*/ 745332 w 1021557"/>
                <a:gd name="connsiteY56" fmla="*/ 61913 h 542925"/>
                <a:gd name="connsiteX57" fmla="*/ 738188 w 1021557"/>
                <a:gd name="connsiteY57" fmla="*/ 45244 h 542925"/>
                <a:gd name="connsiteX58" fmla="*/ 676275 w 1021557"/>
                <a:gd name="connsiteY58" fmla="*/ 78581 h 542925"/>
                <a:gd name="connsiteX59" fmla="*/ 669132 w 1021557"/>
                <a:gd name="connsiteY59" fmla="*/ 88106 h 542925"/>
                <a:gd name="connsiteX60" fmla="*/ 659607 w 1021557"/>
                <a:gd name="connsiteY60" fmla="*/ 66675 h 542925"/>
                <a:gd name="connsiteX61" fmla="*/ 654844 w 1021557"/>
                <a:gd name="connsiteY61" fmla="*/ 54769 h 542925"/>
                <a:gd name="connsiteX62" fmla="*/ 640557 w 1021557"/>
                <a:gd name="connsiteY62" fmla="*/ 69056 h 542925"/>
                <a:gd name="connsiteX63" fmla="*/ 633413 w 1021557"/>
                <a:gd name="connsiteY63" fmla="*/ 57150 h 542925"/>
                <a:gd name="connsiteX64" fmla="*/ 609600 w 1021557"/>
                <a:gd name="connsiteY64" fmla="*/ 50006 h 542925"/>
                <a:gd name="connsiteX65" fmla="*/ 623888 w 1021557"/>
                <a:gd name="connsiteY65" fmla="*/ 38100 h 542925"/>
                <a:gd name="connsiteX66" fmla="*/ 600075 w 1021557"/>
                <a:gd name="connsiteY66" fmla="*/ 7144 h 542925"/>
                <a:gd name="connsiteX67" fmla="*/ 557213 w 1021557"/>
                <a:gd name="connsiteY67" fmla="*/ 0 h 542925"/>
                <a:gd name="connsiteX68" fmla="*/ 533400 w 1021557"/>
                <a:gd name="connsiteY68" fmla="*/ 14288 h 542925"/>
                <a:gd name="connsiteX69" fmla="*/ 500063 w 1021557"/>
                <a:gd name="connsiteY69" fmla="*/ 16669 h 542925"/>
                <a:gd name="connsiteX70" fmla="*/ 426244 w 1021557"/>
                <a:gd name="connsiteY70" fmla="*/ 52388 h 542925"/>
                <a:gd name="connsiteX71" fmla="*/ 376238 w 1021557"/>
                <a:gd name="connsiteY71" fmla="*/ 54769 h 542925"/>
                <a:gd name="connsiteX72" fmla="*/ 357188 w 1021557"/>
                <a:gd name="connsiteY72" fmla="*/ 54769 h 542925"/>
                <a:gd name="connsiteX73" fmla="*/ 373857 w 1021557"/>
                <a:gd name="connsiteY73" fmla="*/ 95250 h 542925"/>
                <a:gd name="connsiteX74" fmla="*/ 352425 w 1021557"/>
                <a:gd name="connsiteY74" fmla="*/ 97631 h 542925"/>
                <a:gd name="connsiteX75" fmla="*/ 347663 w 1021557"/>
                <a:gd name="connsiteY75" fmla="*/ 135731 h 542925"/>
                <a:gd name="connsiteX76" fmla="*/ 361950 w 1021557"/>
                <a:gd name="connsiteY76" fmla="*/ 161925 h 542925"/>
                <a:gd name="connsiteX77" fmla="*/ 361950 w 1021557"/>
                <a:gd name="connsiteY77" fmla="*/ 161925 h 542925"/>
                <a:gd name="connsiteX78" fmla="*/ 357188 w 1021557"/>
                <a:gd name="connsiteY78" fmla="*/ 200025 h 542925"/>
                <a:gd name="connsiteX79" fmla="*/ 354807 w 1021557"/>
                <a:gd name="connsiteY79" fmla="*/ 197644 h 542925"/>
                <a:gd name="connsiteX80" fmla="*/ 323850 w 1021557"/>
                <a:gd name="connsiteY80" fmla="*/ 183356 h 542925"/>
                <a:gd name="connsiteX81" fmla="*/ 321469 w 1021557"/>
                <a:gd name="connsiteY81" fmla="*/ 214313 h 542925"/>
                <a:gd name="connsiteX82" fmla="*/ 292894 w 1021557"/>
                <a:gd name="connsiteY82" fmla="*/ 176213 h 542925"/>
                <a:gd name="connsiteX83" fmla="*/ 252413 w 1021557"/>
                <a:gd name="connsiteY83" fmla="*/ 183356 h 542925"/>
                <a:gd name="connsiteX84" fmla="*/ 226219 w 1021557"/>
                <a:gd name="connsiteY84" fmla="*/ 192881 h 542925"/>
                <a:gd name="connsiteX85" fmla="*/ 202407 w 1021557"/>
                <a:gd name="connsiteY85" fmla="*/ 192881 h 542925"/>
                <a:gd name="connsiteX86" fmla="*/ 178594 w 1021557"/>
                <a:gd name="connsiteY86" fmla="*/ 180975 h 542925"/>
                <a:gd name="connsiteX87" fmla="*/ 142875 w 1021557"/>
                <a:gd name="connsiteY87" fmla="*/ 133350 h 542925"/>
                <a:gd name="connsiteX88" fmla="*/ 123825 w 1021557"/>
                <a:gd name="connsiteY88" fmla="*/ 161925 h 542925"/>
                <a:gd name="connsiteX89" fmla="*/ 109538 w 1021557"/>
                <a:gd name="connsiteY89" fmla="*/ 150019 h 542925"/>
                <a:gd name="connsiteX90" fmla="*/ 71438 w 1021557"/>
                <a:gd name="connsiteY90" fmla="*/ 161925 h 542925"/>
                <a:gd name="connsiteX91" fmla="*/ 47625 w 1021557"/>
                <a:gd name="connsiteY91" fmla="*/ 221456 h 542925"/>
                <a:gd name="connsiteX92" fmla="*/ 19050 w 1021557"/>
                <a:gd name="connsiteY92" fmla="*/ 207169 h 542925"/>
                <a:gd name="connsiteX93" fmla="*/ 0 w 1021557"/>
                <a:gd name="connsiteY93" fmla="*/ 261938 h 542925"/>
                <a:gd name="connsiteX94" fmla="*/ 11907 w 1021557"/>
                <a:gd name="connsiteY94" fmla="*/ 288131 h 542925"/>
                <a:gd name="connsiteX95" fmla="*/ 47625 w 1021557"/>
                <a:gd name="connsiteY95" fmla="*/ 304800 h 542925"/>
                <a:gd name="connsiteX96" fmla="*/ 45245 w 1021557"/>
                <a:gd name="connsiteY96" fmla="*/ 335757 h 542925"/>
                <a:gd name="connsiteX97" fmla="*/ 73819 w 1021557"/>
                <a:gd name="connsiteY97" fmla="*/ 347663 h 542925"/>
                <a:gd name="connsiteX0" fmla="*/ 73819 w 1021557"/>
                <a:gd name="connsiteY0" fmla="*/ 347663 h 542925"/>
                <a:gd name="connsiteX1" fmla="*/ 154782 w 1021557"/>
                <a:gd name="connsiteY1" fmla="*/ 330994 h 542925"/>
                <a:gd name="connsiteX2" fmla="*/ 154782 w 1021557"/>
                <a:gd name="connsiteY2" fmla="*/ 373856 h 542925"/>
                <a:gd name="connsiteX3" fmla="*/ 119063 w 1021557"/>
                <a:gd name="connsiteY3" fmla="*/ 385763 h 542925"/>
                <a:gd name="connsiteX4" fmla="*/ 109538 w 1021557"/>
                <a:gd name="connsiteY4" fmla="*/ 414338 h 542925"/>
                <a:gd name="connsiteX5" fmla="*/ 92869 w 1021557"/>
                <a:gd name="connsiteY5" fmla="*/ 426244 h 542925"/>
                <a:gd name="connsiteX6" fmla="*/ 126207 w 1021557"/>
                <a:gd name="connsiteY6" fmla="*/ 447675 h 542925"/>
                <a:gd name="connsiteX7" fmla="*/ 154782 w 1021557"/>
                <a:gd name="connsiteY7" fmla="*/ 471488 h 542925"/>
                <a:gd name="connsiteX8" fmla="*/ 150019 w 1021557"/>
                <a:gd name="connsiteY8" fmla="*/ 514350 h 542925"/>
                <a:gd name="connsiteX9" fmla="*/ 190500 w 1021557"/>
                <a:gd name="connsiteY9" fmla="*/ 492919 h 542925"/>
                <a:gd name="connsiteX10" fmla="*/ 230981 w 1021557"/>
                <a:gd name="connsiteY10" fmla="*/ 519113 h 542925"/>
                <a:gd name="connsiteX11" fmla="*/ 238125 w 1021557"/>
                <a:gd name="connsiteY11" fmla="*/ 416719 h 542925"/>
                <a:gd name="connsiteX12" fmla="*/ 321469 w 1021557"/>
                <a:gd name="connsiteY12" fmla="*/ 371475 h 542925"/>
                <a:gd name="connsiteX13" fmla="*/ 359569 w 1021557"/>
                <a:gd name="connsiteY13" fmla="*/ 409575 h 542925"/>
                <a:gd name="connsiteX14" fmla="*/ 376238 w 1021557"/>
                <a:gd name="connsiteY14" fmla="*/ 450056 h 542925"/>
                <a:gd name="connsiteX15" fmla="*/ 419100 w 1021557"/>
                <a:gd name="connsiteY15" fmla="*/ 442913 h 542925"/>
                <a:gd name="connsiteX16" fmla="*/ 452438 w 1021557"/>
                <a:gd name="connsiteY16" fmla="*/ 435769 h 542925"/>
                <a:gd name="connsiteX17" fmla="*/ 471488 w 1021557"/>
                <a:gd name="connsiteY17" fmla="*/ 450056 h 542925"/>
                <a:gd name="connsiteX18" fmla="*/ 488157 w 1021557"/>
                <a:gd name="connsiteY18" fmla="*/ 464344 h 542925"/>
                <a:gd name="connsiteX19" fmla="*/ 490538 w 1021557"/>
                <a:gd name="connsiteY19" fmla="*/ 490538 h 542925"/>
                <a:gd name="connsiteX20" fmla="*/ 497682 w 1021557"/>
                <a:gd name="connsiteY20" fmla="*/ 509588 h 542925"/>
                <a:gd name="connsiteX21" fmla="*/ 504825 w 1021557"/>
                <a:gd name="connsiteY21" fmla="*/ 526256 h 542925"/>
                <a:gd name="connsiteX22" fmla="*/ 526257 w 1021557"/>
                <a:gd name="connsiteY22" fmla="*/ 528638 h 542925"/>
                <a:gd name="connsiteX23" fmla="*/ 545307 w 1021557"/>
                <a:gd name="connsiteY23" fmla="*/ 542925 h 542925"/>
                <a:gd name="connsiteX24" fmla="*/ 552450 w 1021557"/>
                <a:gd name="connsiteY24" fmla="*/ 531019 h 542925"/>
                <a:gd name="connsiteX25" fmla="*/ 585788 w 1021557"/>
                <a:gd name="connsiteY25" fmla="*/ 507206 h 542925"/>
                <a:gd name="connsiteX26" fmla="*/ 607219 w 1021557"/>
                <a:gd name="connsiteY26" fmla="*/ 476250 h 542925"/>
                <a:gd name="connsiteX27" fmla="*/ 635794 w 1021557"/>
                <a:gd name="connsiteY27" fmla="*/ 471488 h 542925"/>
                <a:gd name="connsiteX28" fmla="*/ 669132 w 1021557"/>
                <a:gd name="connsiteY28" fmla="*/ 483394 h 542925"/>
                <a:gd name="connsiteX29" fmla="*/ 678657 w 1021557"/>
                <a:gd name="connsiteY29" fmla="*/ 461963 h 542925"/>
                <a:gd name="connsiteX30" fmla="*/ 697707 w 1021557"/>
                <a:gd name="connsiteY30" fmla="*/ 454819 h 542925"/>
                <a:gd name="connsiteX31" fmla="*/ 721519 w 1021557"/>
                <a:gd name="connsiteY31" fmla="*/ 471488 h 542925"/>
                <a:gd name="connsiteX32" fmla="*/ 773907 w 1021557"/>
                <a:gd name="connsiteY32" fmla="*/ 473869 h 542925"/>
                <a:gd name="connsiteX33" fmla="*/ 797719 w 1021557"/>
                <a:gd name="connsiteY33" fmla="*/ 471488 h 542925"/>
                <a:gd name="connsiteX34" fmla="*/ 833438 w 1021557"/>
                <a:gd name="connsiteY34" fmla="*/ 485775 h 542925"/>
                <a:gd name="connsiteX35" fmla="*/ 838200 w 1021557"/>
                <a:gd name="connsiteY35" fmla="*/ 473869 h 542925"/>
                <a:gd name="connsiteX36" fmla="*/ 831057 w 1021557"/>
                <a:gd name="connsiteY36" fmla="*/ 402431 h 542925"/>
                <a:gd name="connsiteX37" fmla="*/ 852488 w 1021557"/>
                <a:gd name="connsiteY37" fmla="*/ 395288 h 542925"/>
                <a:gd name="connsiteX38" fmla="*/ 881063 w 1021557"/>
                <a:gd name="connsiteY38" fmla="*/ 400050 h 542925"/>
                <a:gd name="connsiteX39" fmla="*/ 890588 w 1021557"/>
                <a:gd name="connsiteY39" fmla="*/ 369094 h 542925"/>
                <a:gd name="connsiteX40" fmla="*/ 890588 w 1021557"/>
                <a:gd name="connsiteY40" fmla="*/ 335756 h 542925"/>
                <a:gd name="connsiteX41" fmla="*/ 904875 w 1021557"/>
                <a:gd name="connsiteY41" fmla="*/ 321469 h 542925"/>
                <a:gd name="connsiteX42" fmla="*/ 938213 w 1021557"/>
                <a:gd name="connsiteY42" fmla="*/ 335756 h 542925"/>
                <a:gd name="connsiteX43" fmla="*/ 959644 w 1021557"/>
                <a:gd name="connsiteY43" fmla="*/ 333375 h 542925"/>
                <a:gd name="connsiteX44" fmla="*/ 969169 w 1021557"/>
                <a:gd name="connsiteY44" fmla="*/ 307181 h 542925"/>
                <a:gd name="connsiteX45" fmla="*/ 962025 w 1021557"/>
                <a:gd name="connsiteY45" fmla="*/ 292894 h 542925"/>
                <a:gd name="connsiteX46" fmla="*/ 1021557 w 1021557"/>
                <a:gd name="connsiteY46" fmla="*/ 252413 h 542925"/>
                <a:gd name="connsiteX47" fmla="*/ 992982 w 1021557"/>
                <a:gd name="connsiteY47" fmla="*/ 230981 h 542925"/>
                <a:gd name="connsiteX48" fmla="*/ 966788 w 1021557"/>
                <a:gd name="connsiteY48" fmla="*/ 230981 h 542925"/>
                <a:gd name="connsiteX49" fmla="*/ 921544 w 1021557"/>
                <a:gd name="connsiteY49" fmla="*/ 211931 h 542925"/>
                <a:gd name="connsiteX50" fmla="*/ 921544 w 1021557"/>
                <a:gd name="connsiteY50" fmla="*/ 185738 h 542925"/>
                <a:gd name="connsiteX51" fmla="*/ 871538 w 1021557"/>
                <a:gd name="connsiteY51" fmla="*/ 185738 h 542925"/>
                <a:gd name="connsiteX52" fmla="*/ 842963 w 1021557"/>
                <a:gd name="connsiteY52" fmla="*/ 171450 h 542925"/>
                <a:gd name="connsiteX53" fmla="*/ 833438 w 1021557"/>
                <a:gd name="connsiteY53" fmla="*/ 209550 h 542925"/>
                <a:gd name="connsiteX54" fmla="*/ 797719 w 1021557"/>
                <a:gd name="connsiteY54" fmla="*/ 104775 h 542925"/>
                <a:gd name="connsiteX55" fmla="*/ 776288 w 1021557"/>
                <a:gd name="connsiteY55" fmla="*/ 78581 h 542925"/>
                <a:gd name="connsiteX56" fmla="*/ 745332 w 1021557"/>
                <a:gd name="connsiteY56" fmla="*/ 61913 h 542925"/>
                <a:gd name="connsiteX57" fmla="*/ 738188 w 1021557"/>
                <a:gd name="connsiteY57" fmla="*/ 45244 h 542925"/>
                <a:gd name="connsiteX58" fmla="*/ 676275 w 1021557"/>
                <a:gd name="connsiteY58" fmla="*/ 78581 h 542925"/>
                <a:gd name="connsiteX59" fmla="*/ 669132 w 1021557"/>
                <a:gd name="connsiteY59" fmla="*/ 88106 h 542925"/>
                <a:gd name="connsiteX60" fmla="*/ 659607 w 1021557"/>
                <a:gd name="connsiteY60" fmla="*/ 66675 h 542925"/>
                <a:gd name="connsiteX61" fmla="*/ 654844 w 1021557"/>
                <a:gd name="connsiteY61" fmla="*/ 54769 h 542925"/>
                <a:gd name="connsiteX62" fmla="*/ 640557 w 1021557"/>
                <a:gd name="connsiteY62" fmla="*/ 69056 h 542925"/>
                <a:gd name="connsiteX63" fmla="*/ 633413 w 1021557"/>
                <a:gd name="connsiteY63" fmla="*/ 57150 h 542925"/>
                <a:gd name="connsiteX64" fmla="*/ 609600 w 1021557"/>
                <a:gd name="connsiteY64" fmla="*/ 50006 h 542925"/>
                <a:gd name="connsiteX65" fmla="*/ 623888 w 1021557"/>
                <a:gd name="connsiteY65" fmla="*/ 38100 h 542925"/>
                <a:gd name="connsiteX66" fmla="*/ 600075 w 1021557"/>
                <a:gd name="connsiteY66" fmla="*/ 7144 h 542925"/>
                <a:gd name="connsiteX67" fmla="*/ 557213 w 1021557"/>
                <a:gd name="connsiteY67" fmla="*/ 0 h 542925"/>
                <a:gd name="connsiteX68" fmla="*/ 533400 w 1021557"/>
                <a:gd name="connsiteY68" fmla="*/ 14288 h 542925"/>
                <a:gd name="connsiteX69" fmla="*/ 500063 w 1021557"/>
                <a:gd name="connsiteY69" fmla="*/ 16669 h 542925"/>
                <a:gd name="connsiteX70" fmla="*/ 426244 w 1021557"/>
                <a:gd name="connsiteY70" fmla="*/ 52388 h 542925"/>
                <a:gd name="connsiteX71" fmla="*/ 376238 w 1021557"/>
                <a:gd name="connsiteY71" fmla="*/ 54769 h 542925"/>
                <a:gd name="connsiteX72" fmla="*/ 357188 w 1021557"/>
                <a:gd name="connsiteY72" fmla="*/ 54769 h 542925"/>
                <a:gd name="connsiteX73" fmla="*/ 373857 w 1021557"/>
                <a:gd name="connsiteY73" fmla="*/ 95250 h 542925"/>
                <a:gd name="connsiteX74" fmla="*/ 352425 w 1021557"/>
                <a:gd name="connsiteY74" fmla="*/ 97631 h 542925"/>
                <a:gd name="connsiteX75" fmla="*/ 347663 w 1021557"/>
                <a:gd name="connsiteY75" fmla="*/ 135731 h 542925"/>
                <a:gd name="connsiteX76" fmla="*/ 361950 w 1021557"/>
                <a:gd name="connsiteY76" fmla="*/ 161925 h 542925"/>
                <a:gd name="connsiteX77" fmla="*/ 361950 w 1021557"/>
                <a:gd name="connsiteY77" fmla="*/ 161925 h 542925"/>
                <a:gd name="connsiteX78" fmla="*/ 357188 w 1021557"/>
                <a:gd name="connsiteY78" fmla="*/ 200025 h 542925"/>
                <a:gd name="connsiteX79" fmla="*/ 354807 w 1021557"/>
                <a:gd name="connsiteY79" fmla="*/ 197644 h 542925"/>
                <a:gd name="connsiteX80" fmla="*/ 323850 w 1021557"/>
                <a:gd name="connsiteY80" fmla="*/ 183356 h 542925"/>
                <a:gd name="connsiteX81" fmla="*/ 321469 w 1021557"/>
                <a:gd name="connsiteY81" fmla="*/ 214313 h 542925"/>
                <a:gd name="connsiteX82" fmla="*/ 292894 w 1021557"/>
                <a:gd name="connsiteY82" fmla="*/ 176213 h 542925"/>
                <a:gd name="connsiteX83" fmla="*/ 252413 w 1021557"/>
                <a:gd name="connsiteY83" fmla="*/ 183356 h 542925"/>
                <a:gd name="connsiteX84" fmla="*/ 226219 w 1021557"/>
                <a:gd name="connsiteY84" fmla="*/ 192881 h 542925"/>
                <a:gd name="connsiteX85" fmla="*/ 202407 w 1021557"/>
                <a:gd name="connsiteY85" fmla="*/ 192881 h 542925"/>
                <a:gd name="connsiteX86" fmla="*/ 178594 w 1021557"/>
                <a:gd name="connsiteY86" fmla="*/ 180975 h 542925"/>
                <a:gd name="connsiteX87" fmla="*/ 142875 w 1021557"/>
                <a:gd name="connsiteY87" fmla="*/ 133350 h 542925"/>
                <a:gd name="connsiteX88" fmla="*/ 123825 w 1021557"/>
                <a:gd name="connsiteY88" fmla="*/ 161925 h 542925"/>
                <a:gd name="connsiteX89" fmla="*/ 109538 w 1021557"/>
                <a:gd name="connsiteY89" fmla="*/ 150019 h 542925"/>
                <a:gd name="connsiteX90" fmla="*/ 71438 w 1021557"/>
                <a:gd name="connsiteY90" fmla="*/ 161925 h 542925"/>
                <a:gd name="connsiteX91" fmla="*/ 47625 w 1021557"/>
                <a:gd name="connsiteY91" fmla="*/ 221456 h 542925"/>
                <a:gd name="connsiteX92" fmla="*/ 19050 w 1021557"/>
                <a:gd name="connsiteY92" fmla="*/ 207169 h 542925"/>
                <a:gd name="connsiteX93" fmla="*/ 0 w 1021557"/>
                <a:gd name="connsiteY93" fmla="*/ 261938 h 542925"/>
                <a:gd name="connsiteX94" fmla="*/ 11907 w 1021557"/>
                <a:gd name="connsiteY94" fmla="*/ 288131 h 542925"/>
                <a:gd name="connsiteX95" fmla="*/ 47625 w 1021557"/>
                <a:gd name="connsiteY95" fmla="*/ 304800 h 542925"/>
                <a:gd name="connsiteX96" fmla="*/ 45245 w 1021557"/>
                <a:gd name="connsiteY96" fmla="*/ 335757 h 542925"/>
                <a:gd name="connsiteX97" fmla="*/ 73819 w 1021557"/>
                <a:gd name="connsiteY97" fmla="*/ 347663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21557" h="542925">
                  <a:moveTo>
                    <a:pt x="73819" y="347663"/>
                  </a:moveTo>
                  <a:lnTo>
                    <a:pt x="154782" y="330994"/>
                  </a:lnTo>
                  <a:lnTo>
                    <a:pt x="154782" y="373856"/>
                  </a:lnTo>
                  <a:lnTo>
                    <a:pt x="119063" y="385763"/>
                  </a:lnTo>
                  <a:lnTo>
                    <a:pt x="109538" y="414338"/>
                  </a:lnTo>
                  <a:lnTo>
                    <a:pt x="92869" y="426244"/>
                  </a:lnTo>
                  <a:lnTo>
                    <a:pt x="126207" y="447675"/>
                  </a:lnTo>
                  <a:lnTo>
                    <a:pt x="154782" y="471488"/>
                  </a:lnTo>
                  <a:lnTo>
                    <a:pt x="150019" y="514350"/>
                  </a:lnTo>
                  <a:lnTo>
                    <a:pt x="190500" y="492919"/>
                  </a:lnTo>
                  <a:lnTo>
                    <a:pt x="230981" y="519113"/>
                  </a:lnTo>
                  <a:lnTo>
                    <a:pt x="238125" y="416719"/>
                  </a:lnTo>
                  <a:lnTo>
                    <a:pt x="321469" y="371475"/>
                  </a:lnTo>
                  <a:lnTo>
                    <a:pt x="359569" y="409575"/>
                  </a:lnTo>
                  <a:lnTo>
                    <a:pt x="376238" y="450056"/>
                  </a:lnTo>
                  <a:lnTo>
                    <a:pt x="419100" y="442913"/>
                  </a:lnTo>
                  <a:lnTo>
                    <a:pt x="452438" y="435769"/>
                  </a:lnTo>
                  <a:lnTo>
                    <a:pt x="471488" y="450056"/>
                  </a:lnTo>
                  <a:lnTo>
                    <a:pt x="488157" y="464344"/>
                  </a:lnTo>
                  <a:lnTo>
                    <a:pt x="490538" y="490538"/>
                  </a:lnTo>
                  <a:lnTo>
                    <a:pt x="497682" y="509588"/>
                  </a:lnTo>
                  <a:lnTo>
                    <a:pt x="504825" y="526256"/>
                  </a:lnTo>
                  <a:lnTo>
                    <a:pt x="526257" y="528638"/>
                  </a:lnTo>
                  <a:lnTo>
                    <a:pt x="545307" y="542925"/>
                  </a:lnTo>
                  <a:lnTo>
                    <a:pt x="552450" y="531019"/>
                  </a:lnTo>
                  <a:lnTo>
                    <a:pt x="585788" y="507206"/>
                  </a:lnTo>
                  <a:lnTo>
                    <a:pt x="607219" y="476250"/>
                  </a:lnTo>
                  <a:lnTo>
                    <a:pt x="635794" y="471488"/>
                  </a:lnTo>
                  <a:lnTo>
                    <a:pt x="669132" y="483394"/>
                  </a:lnTo>
                  <a:lnTo>
                    <a:pt x="678657" y="461963"/>
                  </a:lnTo>
                  <a:lnTo>
                    <a:pt x="697707" y="454819"/>
                  </a:lnTo>
                  <a:lnTo>
                    <a:pt x="721519" y="471488"/>
                  </a:lnTo>
                  <a:lnTo>
                    <a:pt x="773907" y="473869"/>
                  </a:lnTo>
                  <a:lnTo>
                    <a:pt x="797719" y="471488"/>
                  </a:lnTo>
                  <a:lnTo>
                    <a:pt x="833438" y="485775"/>
                  </a:lnTo>
                  <a:lnTo>
                    <a:pt x="838200" y="473869"/>
                  </a:lnTo>
                  <a:lnTo>
                    <a:pt x="831057" y="402431"/>
                  </a:lnTo>
                  <a:lnTo>
                    <a:pt x="852488" y="395288"/>
                  </a:lnTo>
                  <a:lnTo>
                    <a:pt x="881063" y="400050"/>
                  </a:lnTo>
                  <a:lnTo>
                    <a:pt x="890588" y="369094"/>
                  </a:lnTo>
                  <a:lnTo>
                    <a:pt x="890588" y="335756"/>
                  </a:lnTo>
                  <a:lnTo>
                    <a:pt x="904875" y="321469"/>
                  </a:lnTo>
                  <a:lnTo>
                    <a:pt x="938213" y="335756"/>
                  </a:lnTo>
                  <a:lnTo>
                    <a:pt x="959644" y="333375"/>
                  </a:lnTo>
                  <a:lnTo>
                    <a:pt x="969169" y="307181"/>
                  </a:lnTo>
                  <a:lnTo>
                    <a:pt x="962025" y="292894"/>
                  </a:lnTo>
                  <a:lnTo>
                    <a:pt x="1021557" y="252413"/>
                  </a:lnTo>
                  <a:lnTo>
                    <a:pt x="992982" y="230981"/>
                  </a:lnTo>
                  <a:lnTo>
                    <a:pt x="966788" y="230981"/>
                  </a:lnTo>
                  <a:lnTo>
                    <a:pt x="921544" y="211931"/>
                  </a:lnTo>
                  <a:lnTo>
                    <a:pt x="921544" y="185738"/>
                  </a:lnTo>
                  <a:lnTo>
                    <a:pt x="871538" y="185738"/>
                  </a:lnTo>
                  <a:lnTo>
                    <a:pt x="842963" y="171450"/>
                  </a:lnTo>
                  <a:lnTo>
                    <a:pt x="833438" y="209550"/>
                  </a:lnTo>
                  <a:lnTo>
                    <a:pt x="797719" y="104775"/>
                  </a:lnTo>
                  <a:lnTo>
                    <a:pt x="776288" y="78581"/>
                  </a:lnTo>
                  <a:lnTo>
                    <a:pt x="745332" y="61913"/>
                  </a:lnTo>
                  <a:lnTo>
                    <a:pt x="738188" y="45244"/>
                  </a:lnTo>
                  <a:lnTo>
                    <a:pt x="676275" y="78581"/>
                  </a:lnTo>
                  <a:lnTo>
                    <a:pt x="669132" y="88106"/>
                  </a:lnTo>
                  <a:lnTo>
                    <a:pt x="659607" y="66675"/>
                  </a:lnTo>
                  <a:lnTo>
                    <a:pt x="654844" y="54769"/>
                  </a:lnTo>
                  <a:lnTo>
                    <a:pt x="640557" y="69056"/>
                  </a:lnTo>
                  <a:lnTo>
                    <a:pt x="633413" y="57150"/>
                  </a:lnTo>
                  <a:lnTo>
                    <a:pt x="609600" y="50006"/>
                  </a:lnTo>
                  <a:lnTo>
                    <a:pt x="623888" y="38100"/>
                  </a:lnTo>
                  <a:lnTo>
                    <a:pt x="600075" y="7144"/>
                  </a:lnTo>
                  <a:lnTo>
                    <a:pt x="557213" y="0"/>
                  </a:lnTo>
                  <a:lnTo>
                    <a:pt x="533400" y="14288"/>
                  </a:lnTo>
                  <a:lnTo>
                    <a:pt x="500063" y="16669"/>
                  </a:lnTo>
                  <a:lnTo>
                    <a:pt x="426244" y="52388"/>
                  </a:lnTo>
                  <a:lnTo>
                    <a:pt x="376238" y="54769"/>
                  </a:lnTo>
                  <a:lnTo>
                    <a:pt x="357188" y="54769"/>
                  </a:lnTo>
                  <a:lnTo>
                    <a:pt x="373857" y="95250"/>
                  </a:lnTo>
                  <a:lnTo>
                    <a:pt x="352425" y="97631"/>
                  </a:lnTo>
                  <a:lnTo>
                    <a:pt x="347663" y="135731"/>
                  </a:lnTo>
                  <a:lnTo>
                    <a:pt x="361950" y="161925"/>
                  </a:lnTo>
                  <a:lnTo>
                    <a:pt x="361950" y="161925"/>
                  </a:lnTo>
                  <a:lnTo>
                    <a:pt x="357188" y="200025"/>
                  </a:lnTo>
                  <a:lnTo>
                    <a:pt x="354807" y="197644"/>
                  </a:lnTo>
                  <a:lnTo>
                    <a:pt x="323850" y="183356"/>
                  </a:lnTo>
                  <a:lnTo>
                    <a:pt x="321469" y="214313"/>
                  </a:lnTo>
                  <a:lnTo>
                    <a:pt x="292894" y="176213"/>
                  </a:lnTo>
                  <a:lnTo>
                    <a:pt x="252413" y="183356"/>
                  </a:lnTo>
                  <a:lnTo>
                    <a:pt x="226219" y="192881"/>
                  </a:lnTo>
                  <a:lnTo>
                    <a:pt x="202407" y="192881"/>
                  </a:lnTo>
                  <a:lnTo>
                    <a:pt x="178594" y="180975"/>
                  </a:lnTo>
                  <a:lnTo>
                    <a:pt x="142875" y="133350"/>
                  </a:lnTo>
                  <a:lnTo>
                    <a:pt x="123825" y="161925"/>
                  </a:lnTo>
                  <a:lnTo>
                    <a:pt x="109538" y="150019"/>
                  </a:lnTo>
                  <a:lnTo>
                    <a:pt x="71438" y="161925"/>
                  </a:lnTo>
                  <a:lnTo>
                    <a:pt x="47625" y="221456"/>
                  </a:lnTo>
                  <a:lnTo>
                    <a:pt x="19050" y="207169"/>
                  </a:lnTo>
                  <a:lnTo>
                    <a:pt x="0" y="261938"/>
                  </a:lnTo>
                  <a:lnTo>
                    <a:pt x="11907" y="288131"/>
                  </a:lnTo>
                  <a:lnTo>
                    <a:pt x="47625" y="304800"/>
                  </a:lnTo>
                  <a:lnTo>
                    <a:pt x="45245" y="335757"/>
                  </a:lnTo>
                  <a:lnTo>
                    <a:pt x="73819" y="34766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0" name="Freeform: Shape 237"/>
            <p:cNvSpPr/>
            <p:nvPr/>
          </p:nvSpPr>
          <p:spPr bwMode="auto">
            <a:xfrm>
              <a:off x="6000750" y="3498056"/>
              <a:ext cx="264319" cy="135732"/>
            </a:xfrm>
            <a:custGeom>
              <a:avLst/>
              <a:gdLst>
                <a:gd name="connsiteX0" fmla="*/ 235744 w 264319"/>
                <a:gd name="connsiteY0" fmla="*/ 100013 h 135732"/>
                <a:gd name="connsiteX1" fmla="*/ 264319 w 264319"/>
                <a:gd name="connsiteY1" fmla="*/ 33338 h 135732"/>
                <a:gd name="connsiteX2" fmla="*/ 223838 w 264319"/>
                <a:gd name="connsiteY2" fmla="*/ 16669 h 135732"/>
                <a:gd name="connsiteX3" fmla="*/ 150019 w 264319"/>
                <a:gd name="connsiteY3" fmla="*/ 19050 h 135732"/>
                <a:gd name="connsiteX4" fmla="*/ 126206 w 264319"/>
                <a:gd name="connsiteY4" fmla="*/ 0 h 135732"/>
                <a:gd name="connsiteX5" fmla="*/ 97631 w 264319"/>
                <a:gd name="connsiteY5" fmla="*/ 14288 h 135732"/>
                <a:gd name="connsiteX6" fmla="*/ 90488 w 264319"/>
                <a:gd name="connsiteY6" fmla="*/ 40482 h 135732"/>
                <a:gd name="connsiteX7" fmla="*/ 59531 w 264319"/>
                <a:gd name="connsiteY7" fmla="*/ 26194 h 135732"/>
                <a:gd name="connsiteX8" fmla="*/ 28575 w 264319"/>
                <a:gd name="connsiteY8" fmla="*/ 30957 h 135732"/>
                <a:gd name="connsiteX9" fmla="*/ 19050 w 264319"/>
                <a:gd name="connsiteY9" fmla="*/ 59532 h 135732"/>
                <a:gd name="connsiteX10" fmla="*/ 40481 w 264319"/>
                <a:gd name="connsiteY10" fmla="*/ 73819 h 135732"/>
                <a:gd name="connsiteX11" fmla="*/ 59531 w 264319"/>
                <a:gd name="connsiteY11" fmla="*/ 66675 h 135732"/>
                <a:gd name="connsiteX12" fmla="*/ 92869 w 264319"/>
                <a:gd name="connsiteY12" fmla="*/ 97632 h 135732"/>
                <a:gd name="connsiteX13" fmla="*/ 69056 w 264319"/>
                <a:gd name="connsiteY13" fmla="*/ 107157 h 135732"/>
                <a:gd name="connsiteX14" fmla="*/ 47625 w 264319"/>
                <a:gd name="connsiteY14" fmla="*/ 114300 h 135732"/>
                <a:gd name="connsiteX15" fmla="*/ 26194 w 264319"/>
                <a:gd name="connsiteY15" fmla="*/ 116682 h 135732"/>
                <a:gd name="connsiteX16" fmla="*/ 26194 w 264319"/>
                <a:gd name="connsiteY16" fmla="*/ 116682 h 135732"/>
                <a:gd name="connsiteX17" fmla="*/ 0 w 264319"/>
                <a:gd name="connsiteY17" fmla="*/ 128588 h 135732"/>
                <a:gd name="connsiteX18" fmla="*/ 38100 w 264319"/>
                <a:gd name="connsiteY18" fmla="*/ 130969 h 135732"/>
                <a:gd name="connsiteX19" fmla="*/ 102394 w 264319"/>
                <a:gd name="connsiteY19" fmla="*/ 135732 h 135732"/>
                <a:gd name="connsiteX20" fmla="*/ 130969 w 264319"/>
                <a:gd name="connsiteY20" fmla="*/ 97632 h 135732"/>
                <a:gd name="connsiteX21" fmla="*/ 147638 w 264319"/>
                <a:gd name="connsiteY21" fmla="*/ 116682 h 135732"/>
                <a:gd name="connsiteX22" fmla="*/ 164306 w 264319"/>
                <a:gd name="connsiteY22" fmla="*/ 104775 h 135732"/>
                <a:gd name="connsiteX23" fmla="*/ 235744 w 264319"/>
                <a:gd name="connsiteY23" fmla="*/ 100013 h 13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4319" h="135732">
                  <a:moveTo>
                    <a:pt x="235744" y="100013"/>
                  </a:moveTo>
                  <a:lnTo>
                    <a:pt x="264319" y="33338"/>
                  </a:lnTo>
                  <a:lnTo>
                    <a:pt x="223838" y="16669"/>
                  </a:lnTo>
                  <a:lnTo>
                    <a:pt x="150019" y="19050"/>
                  </a:lnTo>
                  <a:lnTo>
                    <a:pt x="126206" y="0"/>
                  </a:lnTo>
                  <a:lnTo>
                    <a:pt x="97631" y="14288"/>
                  </a:lnTo>
                  <a:lnTo>
                    <a:pt x="90488" y="40482"/>
                  </a:lnTo>
                  <a:lnTo>
                    <a:pt x="59531" y="26194"/>
                  </a:lnTo>
                  <a:lnTo>
                    <a:pt x="28575" y="30957"/>
                  </a:lnTo>
                  <a:lnTo>
                    <a:pt x="19050" y="59532"/>
                  </a:lnTo>
                  <a:lnTo>
                    <a:pt x="40481" y="73819"/>
                  </a:lnTo>
                  <a:lnTo>
                    <a:pt x="59531" y="66675"/>
                  </a:lnTo>
                  <a:lnTo>
                    <a:pt x="92869" y="97632"/>
                  </a:lnTo>
                  <a:lnTo>
                    <a:pt x="69056" y="107157"/>
                  </a:lnTo>
                  <a:lnTo>
                    <a:pt x="47625" y="114300"/>
                  </a:lnTo>
                  <a:lnTo>
                    <a:pt x="26194" y="116682"/>
                  </a:lnTo>
                  <a:lnTo>
                    <a:pt x="26194" y="116682"/>
                  </a:lnTo>
                  <a:lnTo>
                    <a:pt x="0" y="128588"/>
                  </a:lnTo>
                  <a:lnTo>
                    <a:pt x="38100" y="130969"/>
                  </a:lnTo>
                  <a:lnTo>
                    <a:pt x="102394" y="135732"/>
                  </a:lnTo>
                  <a:lnTo>
                    <a:pt x="130969" y="97632"/>
                  </a:lnTo>
                  <a:lnTo>
                    <a:pt x="147638" y="116682"/>
                  </a:lnTo>
                  <a:lnTo>
                    <a:pt x="164306" y="104775"/>
                  </a:lnTo>
                  <a:lnTo>
                    <a:pt x="235744" y="1000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1" name="Freeform: Shape 238"/>
            <p:cNvSpPr/>
            <p:nvPr/>
          </p:nvSpPr>
          <p:spPr bwMode="auto">
            <a:xfrm>
              <a:off x="5950744" y="3581400"/>
              <a:ext cx="154781" cy="109538"/>
            </a:xfrm>
            <a:custGeom>
              <a:avLst/>
              <a:gdLst>
                <a:gd name="connsiteX0" fmla="*/ 11906 w 154781"/>
                <a:gd name="connsiteY0" fmla="*/ 102394 h 123825"/>
                <a:gd name="connsiteX1" fmla="*/ 50006 w 154781"/>
                <a:gd name="connsiteY1" fmla="*/ 123825 h 123825"/>
                <a:gd name="connsiteX2" fmla="*/ 73819 w 154781"/>
                <a:gd name="connsiteY2" fmla="*/ 78581 h 123825"/>
                <a:gd name="connsiteX3" fmla="*/ 95250 w 154781"/>
                <a:gd name="connsiteY3" fmla="*/ 107156 h 123825"/>
                <a:gd name="connsiteX4" fmla="*/ 128587 w 154781"/>
                <a:gd name="connsiteY4" fmla="*/ 83344 h 123825"/>
                <a:gd name="connsiteX5" fmla="*/ 154781 w 154781"/>
                <a:gd name="connsiteY5" fmla="*/ 83344 h 123825"/>
                <a:gd name="connsiteX6" fmla="*/ 154781 w 154781"/>
                <a:gd name="connsiteY6" fmla="*/ 50006 h 123825"/>
                <a:gd name="connsiteX7" fmla="*/ 47625 w 154781"/>
                <a:gd name="connsiteY7" fmla="*/ 45244 h 123825"/>
                <a:gd name="connsiteX8" fmla="*/ 73819 w 154781"/>
                <a:gd name="connsiteY8" fmla="*/ 28575 h 123825"/>
                <a:gd name="connsiteX9" fmla="*/ 73819 w 154781"/>
                <a:gd name="connsiteY9" fmla="*/ 28575 h 123825"/>
                <a:gd name="connsiteX10" fmla="*/ 73819 w 154781"/>
                <a:gd name="connsiteY10" fmla="*/ 0 h 123825"/>
                <a:gd name="connsiteX11" fmla="*/ 50006 w 154781"/>
                <a:gd name="connsiteY11" fmla="*/ 9525 h 123825"/>
                <a:gd name="connsiteX12" fmla="*/ 33337 w 154781"/>
                <a:gd name="connsiteY12" fmla="*/ 35719 h 123825"/>
                <a:gd name="connsiteX13" fmla="*/ 19050 w 154781"/>
                <a:gd name="connsiteY13" fmla="*/ 47625 h 123825"/>
                <a:gd name="connsiteX14" fmla="*/ 19050 w 154781"/>
                <a:gd name="connsiteY14" fmla="*/ 47625 h 123825"/>
                <a:gd name="connsiteX15" fmla="*/ 0 w 154781"/>
                <a:gd name="connsiteY15" fmla="*/ 42863 h 123825"/>
                <a:gd name="connsiteX16" fmla="*/ 11906 w 154781"/>
                <a:gd name="connsiteY16" fmla="*/ 102394 h 123825"/>
                <a:gd name="connsiteX0" fmla="*/ 11906 w 154781"/>
                <a:gd name="connsiteY0" fmla="*/ 102394 h 109538"/>
                <a:gd name="connsiteX1" fmla="*/ 50006 w 154781"/>
                <a:gd name="connsiteY1" fmla="*/ 109538 h 109538"/>
                <a:gd name="connsiteX2" fmla="*/ 73819 w 154781"/>
                <a:gd name="connsiteY2" fmla="*/ 78581 h 109538"/>
                <a:gd name="connsiteX3" fmla="*/ 95250 w 154781"/>
                <a:gd name="connsiteY3" fmla="*/ 107156 h 109538"/>
                <a:gd name="connsiteX4" fmla="*/ 128587 w 154781"/>
                <a:gd name="connsiteY4" fmla="*/ 83344 h 109538"/>
                <a:gd name="connsiteX5" fmla="*/ 154781 w 154781"/>
                <a:gd name="connsiteY5" fmla="*/ 83344 h 109538"/>
                <a:gd name="connsiteX6" fmla="*/ 154781 w 154781"/>
                <a:gd name="connsiteY6" fmla="*/ 50006 h 109538"/>
                <a:gd name="connsiteX7" fmla="*/ 47625 w 154781"/>
                <a:gd name="connsiteY7" fmla="*/ 45244 h 109538"/>
                <a:gd name="connsiteX8" fmla="*/ 73819 w 154781"/>
                <a:gd name="connsiteY8" fmla="*/ 28575 h 109538"/>
                <a:gd name="connsiteX9" fmla="*/ 73819 w 154781"/>
                <a:gd name="connsiteY9" fmla="*/ 28575 h 109538"/>
                <a:gd name="connsiteX10" fmla="*/ 73819 w 154781"/>
                <a:gd name="connsiteY10" fmla="*/ 0 h 109538"/>
                <a:gd name="connsiteX11" fmla="*/ 50006 w 154781"/>
                <a:gd name="connsiteY11" fmla="*/ 9525 h 109538"/>
                <a:gd name="connsiteX12" fmla="*/ 33337 w 154781"/>
                <a:gd name="connsiteY12" fmla="*/ 35719 h 109538"/>
                <a:gd name="connsiteX13" fmla="*/ 19050 w 154781"/>
                <a:gd name="connsiteY13" fmla="*/ 47625 h 109538"/>
                <a:gd name="connsiteX14" fmla="*/ 19050 w 154781"/>
                <a:gd name="connsiteY14" fmla="*/ 47625 h 109538"/>
                <a:gd name="connsiteX15" fmla="*/ 0 w 154781"/>
                <a:gd name="connsiteY15" fmla="*/ 42863 h 109538"/>
                <a:gd name="connsiteX16" fmla="*/ 11906 w 154781"/>
                <a:gd name="connsiteY16" fmla="*/ 102394 h 109538"/>
                <a:gd name="connsiteX0" fmla="*/ 11906 w 154781"/>
                <a:gd name="connsiteY0" fmla="*/ 102394 h 109538"/>
                <a:gd name="connsiteX1" fmla="*/ 50006 w 154781"/>
                <a:gd name="connsiteY1" fmla="*/ 109538 h 109538"/>
                <a:gd name="connsiteX2" fmla="*/ 73819 w 154781"/>
                <a:gd name="connsiteY2" fmla="*/ 78581 h 109538"/>
                <a:gd name="connsiteX3" fmla="*/ 95250 w 154781"/>
                <a:gd name="connsiteY3" fmla="*/ 107156 h 109538"/>
                <a:gd name="connsiteX4" fmla="*/ 128587 w 154781"/>
                <a:gd name="connsiteY4" fmla="*/ 83344 h 109538"/>
                <a:gd name="connsiteX5" fmla="*/ 154781 w 154781"/>
                <a:gd name="connsiteY5" fmla="*/ 83344 h 109538"/>
                <a:gd name="connsiteX6" fmla="*/ 154781 w 154781"/>
                <a:gd name="connsiteY6" fmla="*/ 50006 h 109538"/>
                <a:gd name="connsiteX7" fmla="*/ 47625 w 154781"/>
                <a:gd name="connsiteY7" fmla="*/ 45244 h 109538"/>
                <a:gd name="connsiteX8" fmla="*/ 73819 w 154781"/>
                <a:gd name="connsiteY8" fmla="*/ 28575 h 109538"/>
                <a:gd name="connsiteX9" fmla="*/ 73819 w 154781"/>
                <a:gd name="connsiteY9" fmla="*/ 28575 h 109538"/>
                <a:gd name="connsiteX10" fmla="*/ 73819 w 154781"/>
                <a:gd name="connsiteY10" fmla="*/ 0 h 109538"/>
                <a:gd name="connsiteX11" fmla="*/ 50006 w 154781"/>
                <a:gd name="connsiteY11" fmla="*/ 9525 h 109538"/>
                <a:gd name="connsiteX12" fmla="*/ 33337 w 154781"/>
                <a:gd name="connsiteY12" fmla="*/ 35719 h 109538"/>
                <a:gd name="connsiteX13" fmla="*/ 19050 w 154781"/>
                <a:gd name="connsiteY13" fmla="*/ 47625 h 109538"/>
                <a:gd name="connsiteX14" fmla="*/ 19050 w 154781"/>
                <a:gd name="connsiteY14" fmla="*/ 47625 h 109538"/>
                <a:gd name="connsiteX15" fmla="*/ 0 w 154781"/>
                <a:gd name="connsiteY15" fmla="*/ 42863 h 109538"/>
                <a:gd name="connsiteX16" fmla="*/ 2381 w 154781"/>
                <a:gd name="connsiteY16" fmla="*/ 76200 h 109538"/>
                <a:gd name="connsiteX17" fmla="*/ 11906 w 154781"/>
                <a:gd name="connsiteY17" fmla="*/ 102394 h 109538"/>
                <a:gd name="connsiteX0" fmla="*/ 11906 w 154781"/>
                <a:gd name="connsiteY0" fmla="*/ 102394 h 109538"/>
                <a:gd name="connsiteX1" fmla="*/ 50006 w 154781"/>
                <a:gd name="connsiteY1" fmla="*/ 109538 h 109538"/>
                <a:gd name="connsiteX2" fmla="*/ 73819 w 154781"/>
                <a:gd name="connsiteY2" fmla="*/ 78581 h 109538"/>
                <a:gd name="connsiteX3" fmla="*/ 95250 w 154781"/>
                <a:gd name="connsiteY3" fmla="*/ 107156 h 109538"/>
                <a:gd name="connsiteX4" fmla="*/ 128587 w 154781"/>
                <a:gd name="connsiteY4" fmla="*/ 83344 h 109538"/>
                <a:gd name="connsiteX5" fmla="*/ 154781 w 154781"/>
                <a:gd name="connsiteY5" fmla="*/ 83344 h 109538"/>
                <a:gd name="connsiteX6" fmla="*/ 154781 w 154781"/>
                <a:gd name="connsiteY6" fmla="*/ 50006 h 109538"/>
                <a:gd name="connsiteX7" fmla="*/ 47625 w 154781"/>
                <a:gd name="connsiteY7" fmla="*/ 45244 h 109538"/>
                <a:gd name="connsiteX8" fmla="*/ 73819 w 154781"/>
                <a:gd name="connsiteY8" fmla="*/ 28575 h 109538"/>
                <a:gd name="connsiteX9" fmla="*/ 73819 w 154781"/>
                <a:gd name="connsiteY9" fmla="*/ 28575 h 109538"/>
                <a:gd name="connsiteX10" fmla="*/ 73819 w 154781"/>
                <a:gd name="connsiteY10" fmla="*/ 0 h 109538"/>
                <a:gd name="connsiteX11" fmla="*/ 50006 w 154781"/>
                <a:gd name="connsiteY11" fmla="*/ 9525 h 109538"/>
                <a:gd name="connsiteX12" fmla="*/ 33337 w 154781"/>
                <a:gd name="connsiteY12" fmla="*/ 35719 h 109538"/>
                <a:gd name="connsiteX13" fmla="*/ 19050 w 154781"/>
                <a:gd name="connsiteY13" fmla="*/ 47625 h 109538"/>
                <a:gd name="connsiteX14" fmla="*/ 19050 w 154781"/>
                <a:gd name="connsiteY14" fmla="*/ 47625 h 109538"/>
                <a:gd name="connsiteX15" fmla="*/ 0 w 154781"/>
                <a:gd name="connsiteY15" fmla="*/ 42863 h 109538"/>
                <a:gd name="connsiteX16" fmla="*/ 16669 w 154781"/>
                <a:gd name="connsiteY16" fmla="*/ 76200 h 109538"/>
                <a:gd name="connsiteX17" fmla="*/ 11906 w 154781"/>
                <a:gd name="connsiteY17" fmla="*/ 102394 h 10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4781" h="109538">
                  <a:moveTo>
                    <a:pt x="11906" y="102394"/>
                  </a:moveTo>
                  <a:lnTo>
                    <a:pt x="50006" y="109538"/>
                  </a:lnTo>
                  <a:lnTo>
                    <a:pt x="73819" y="78581"/>
                  </a:lnTo>
                  <a:lnTo>
                    <a:pt x="95250" y="107156"/>
                  </a:lnTo>
                  <a:lnTo>
                    <a:pt x="128587" y="83344"/>
                  </a:lnTo>
                  <a:lnTo>
                    <a:pt x="154781" y="83344"/>
                  </a:lnTo>
                  <a:lnTo>
                    <a:pt x="154781" y="50006"/>
                  </a:lnTo>
                  <a:lnTo>
                    <a:pt x="47625" y="45244"/>
                  </a:lnTo>
                  <a:lnTo>
                    <a:pt x="73819" y="28575"/>
                  </a:lnTo>
                  <a:lnTo>
                    <a:pt x="73819" y="28575"/>
                  </a:lnTo>
                  <a:lnTo>
                    <a:pt x="73819" y="0"/>
                  </a:lnTo>
                  <a:lnTo>
                    <a:pt x="50006" y="9525"/>
                  </a:lnTo>
                  <a:lnTo>
                    <a:pt x="33337" y="35719"/>
                  </a:lnTo>
                  <a:lnTo>
                    <a:pt x="19050" y="47625"/>
                  </a:lnTo>
                  <a:lnTo>
                    <a:pt x="19050" y="47625"/>
                  </a:lnTo>
                  <a:lnTo>
                    <a:pt x="0" y="42863"/>
                  </a:lnTo>
                  <a:lnTo>
                    <a:pt x="16669" y="76200"/>
                  </a:lnTo>
                  <a:lnTo>
                    <a:pt x="11906" y="10239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" name="Freeform: Shape 239"/>
            <p:cNvSpPr/>
            <p:nvPr/>
          </p:nvSpPr>
          <p:spPr bwMode="auto">
            <a:xfrm>
              <a:off x="5660231" y="3419475"/>
              <a:ext cx="419100" cy="266700"/>
            </a:xfrm>
            <a:custGeom>
              <a:avLst/>
              <a:gdLst>
                <a:gd name="connsiteX0" fmla="*/ 92869 w 419100"/>
                <a:gd name="connsiteY0" fmla="*/ 0 h 266700"/>
                <a:gd name="connsiteX1" fmla="*/ 11907 w 419100"/>
                <a:gd name="connsiteY1" fmla="*/ 45244 h 266700"/>
                <a:gd name="connsiteX2" fmla="*/ 0 w 419100"/>
                <a:gd name="connsiteY2" fmla="*/ 147638 h 266700"/>
                <a:gd name="connsiteX3" fmla="*/ 35719 w 419100"/>
                <a:gd name="connsiteY3" fmla="*/ 159544 h 266700"/>
                <a:gd name="connsiteX4" fmla="*/ 33338 w 419100"/>
                <a:gd name="connsiteY4" fmla="*/ 135731 h 266700"/>
                <a:gd name="connsiteX5" fmla="*/ 50007 w 419100"/>
                <a:gd name="connsiteY5" fmla="*/ 121444 h 266700"/>
                <a:gd name="connsiteX6" fmla="*/ 78582 w 419100"/>
                <a:gd name="connsiteY6" fmla="*/ 107156 h 266700"/>
                <a:gd name="connsiteX7" fmla="*/ 78582 w 419100"/>
                <a:gd name="connsiteY7" fmla="*/ 107156 h 266700"/>
                <a:gd name="connsiteX8" fmla="*/ 107157 w 419100"/>
                <a:gd name="connsiteY8" fmla="*/ 121444 h 266700"/>
                <a:gd name="connsiteX9" fmla="*/ 116682 w 419100"/>
                <a:gd name="connsiteY9" fmla="*/ 154781 h 266700"/>
                <a:gd name="connsiteX10" fmla="*/ 145257 w 419100"/>
                <a:gd name="connsiteY10" fmla="*/ 154781 h 266700"/>
                <a:gd name="connsiteX11" fmla="*/ 176213 w 419100"/>
                <a:gd name="connsiteY11" fmla="*/ 200025 h 266700"/>
                <a:gd name="connsiteX12" fmla="*/ 216694 w 419100"/>
                <a:gd name="connsiteY12" fmla="*/ 238125 h 266700"/>
                <a:gd name="connsiteX13" fmla="*/ 250032 w 419100"/>
                <a:gd name="connsiteY13" fmla="*/ 245269 h 266700"/>
                <a:gd name="connsiteX14" fmla="*/ 283369 w 419100"/>
                <a:gd name="connsiteY14" fmla="*/ 266700 h 266700"/>
                <a:gd name="connsiteX15" fmla="*/ 302419 w 419100"/>
                <a:gd name="connsiteY15" fmla="*/ 261938 h 266700"/>
                <a:gd name="connsiteX16" fmla="*/ 309563 w 419100"/>
                <a:gd name="connsiteY16" fmla="*/ 242888 h 266700"/>
                <a:gd name="connsiteX17" fmla="*/ 297657 w 419100"/>
                <a:gd name="connsiteY17" fmla="*/ 207169 h 266700"/>
                <a:gd name="connsiteX18" fmla="*/ 307182 w 419100"/>
                <a:gd name="connsiteY18" fmla="*/ 207169 h 266700"/>
                <a:gd name="connsiteX19" fmla="*/ 330994 w 419100"/>
                <a:gd name="connsiteY19" fmla="*/ 178594 h 266700"/>
                <a:gd name="connsiteX20" fmla="*/ 361950 w 419100"/>
                <a:gd name="connsiteY20" fmla="*/ 166688 h 266700"/>
                <a:gd name="connsiteX21" fmla="*/ 364332 w 419100"/>
                <a:gd name="connsiteY21" fmla="*/ 192881 h 266700"/>
                <a:gd name="connsiteX22" fmla="*/ 378619 w 419100"/>
                <a:gd name="connsiteY22" fmla="*/ 188119 h 266700"/>
                <a:gd name="connsiteX23" fmla="*/ 419100 w 419100"/>
                <a:gd name="connsiteY23" fmla="*/ 176213 h 266700"/>
                <a:gd name="connsiteX24" fmla="*/ 392907 w 419100"/>
                <a:gd name="connsiteY24" fmla="*/ 145256 h 266700"/>
                <a:gd name="connsiteX25" fmla="*/ 376238 w 419100"/>
                <a:gd name="connsiteY25" fmla="*/ 150019 h 266700"/>
                <a:gd name="connsiteX26" fmla="*/ 361950 w 419100"/>
                <a:gd name="connsiteY26" fmla="*/ 138113 h 266700"/>
                <a:gd name="connsiteX27" fmla="*/ 319088 w 419100"/>
                <a:gd name="connsiteY27" fmla="*/ 166688 h 266700"/>
                <a:gd name="connsiteX28" fmla="*/ 297657 w 419100"/>
                <a:gd name="connsiteY28" fmla="*/ 161925 h 266700"/>
                <a:gd name="connsiteX29" fmla="*/ 273844 w 419100"/>
                <a:gd name="connsiteY29" fmla="*/ 159544 h 266700"/>
                <a:gd name="connsiteX30" fmla="*/ 259557 w 419100"/>
                <a:gd name="connsiteY30" fmla="*/ 126206 h 266700"/>
                <a:gd name="connsiteX31" fmla="*/ 252413 w 419100"/>
                <a:gd name="connsiteY31" fmla="*/ 95250 h 266700"/>
                <a:gd name="connsiteX32" fmla="*/ 219075 w 419100"/>
                <a:gd name="connsiteY32" fmla="*/ 64294 h 266700"/>
                <a:gd name="connsiteX33" fmla="*/ 145257 w 419100"/>
                <a:gd name="connsiteY33" fmla="*/ 83344 h 266700"/>
                <a:gd name="connsiteX34" fmla="*/ 130969 w 419100"/>
                <a:gd name="connsiteY34" fmla="*/ 40481 h 266700"/>
                <a:gd name="connsiteX35" fmla="*/ 92869 w 419100"/>
                <a:gd name="connsiteY35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19100" h="266700">
                  <a:moveTo>
                    <a:pt x="92869" y="0"/>
                  </a:moveTo>
                  <a:lnTo>
                    <a:pt x="11907" y="45244"/>
                  </a:lnTo>
                  <a:lnTo>
                    <a:pt x="0" y="147638"/>
                  </a:lnTo>
                  <a:lnTo>
                    <a:pt x="35719" y="159544"/>
                  </a:lnTo>
                  <a:lnTo>
                    <a:pt x="33338" y="135731"/>
                  </a:lnTo>
                  <a:lnTo>
                    <a:pt x="50007" y="121444"/>
                  </a:lnTo>
                  <a:lnTo>
                    <a:pt x="78582" y="107156"/>
                  </a:lnTo>
                  <a:lnTo>
                    <a:pt x="78582" y="107156"/>
                  </a:lnTo>
                  <a:lnTo>
                    <a:pt x="107157" y="121444"/>
                  </a:lnTo>
                  <a:lnTo>
                    <a:pt x="116682" y="154781"/>
                  </a:lnTo>
                  <a:lnTo>
                    <a:pt x="145257" y="154781"/>
                  </a:lnTo>
                  <a:lnTo>
                    <a:pt x="176213" y="200025"/>
                  </a:lnTo>
                  <a:lnTo>
                    <a:pt x="216694" y="238125"/>
                  </a:lnTo>
                  <a:lnTo>
                    <a:pt x="250032" y="245269"/>
                  </a:lnTo>
                  <a:lnTo>
                    <a:pt x="283369" y="266700"/>
                  </a:lnTo>
                  <a:lnTo>
                    <a:pt x="302419" y="261938"/>
                  </a:lnTo>
                  <a:lnTo>
                    <a:pt x="309563" y="242888"/>
                  </a:lnTo>
                  <a:lnTo>
                    <a:pt x="297657" y="207169"/>
                  </a:lnTo>
                  <a:lnTo>
                    <a:pt x="307182" y="207169"/>
                  </a:lnTo>
                  <a:lnTo>
                    <a:pt x="330994" y="178594"/>
                  </a:lnTo>
                  <a:lnTo>
                    <a:pt x="361950" y="166688"/>
                  </a:lnTo>
                  <a:lnTo>
                    <a:pt x="364332" y="192881"/>
                  </a:lnTo>
                  <a:lnTo>
                    <a:pt x="378619" y="188119"/>
                  </a:lnTo>
                  <a:lnTo>
                    <a:pt x="419100" y="176213"/>
                  </a:lnTo>
                  <a:lnTo>
                    <a:pt x="392907" y="145256"/>
                  </a:lnTo>
                  <a:lnTo>
                    <a:pt x="376238" y="150019"/>
                  </a:lnTo>
                  <a:lnTo>
                    <a:pt x="361950" y="138113"/>
                  </a:lnTo>
                  <a:lnTo>
                    <a:pt x="319088" y="166688"/>
                  </a:lnTo>
                  <a:lnTo>
                    <a:pt x="297657" y="161925"/>
                  </a:lnTo>
                  <a:lnTo>
                    <a:pt x="273844" y="159544"/>
                  </a:lnTo>
                  <a:lnTo>
                    <a:pt x="259557" y="126206"/>
                  </a:lnTo>
                  <a:lnTo>
                    <a:pt x="252413" y="95250"/>
                  </a:lnTo>
                  <a:lnTo>
                    <a:pt x="219075" y="64294"/>
                  </a:lnTo>
                  <a:lnTo>
                    <a:pt x="145257" y="83344"/>
                  </a:lnTo>
                  <a:lnTo>
                    <a:pt x="130969" y="40481"/>
                  </a:lnTo>
                  <a:lnTo>
                    <a:pt x="92869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" name="Freeform: Shape 240"/>
            <p:cNvSpPr/>
            <p:nvPr/>
          </p:nvSpPr>
          <p:spPr bwMode="auto">
            <a:xfrm>
              <a:off x="5588794" y="3529013"/>
              <a:ext cx="342900" cy="221456"/>
            </a:xfrm>
            <a:custGeom>
              <a:avLst/>
              <a:gdLst>
                <a:gd name="connsiteX0" fmla="*/ 33337 w 342900"/>
                <a:gd name="connsiteY0" fmla="*/ 164306 h 221456"/>
                <a:gd name="connsiteX1" fmla="*/ 109537 w 342900"/>
                <a:gd name="connsiteY1" fmla="*/ 128587 h 221456"/>
                <a:gd name="connsiteX2" fmla="*/ 190500 w 342900"/>
                <a:gd name="connsiteY2" fmla="*/ 185737 h 221456"/>
                <a:gd name="connsiteX3" fmla="*/ 214312 w 342900"/>
                <a:gd name="connsiteY3" fmla="*/ 188118 h 221456"/>
                <a:gd name="connsiteX4" fmla="*/ 221456 w 342900"/>
                <a:gd name="connsiteY4" fmla="*/ 209550 h 221456"/>
                <a:gd name="connsiteX5" fmla="*/ 254794 w 342900"/>
                <a:gd name="connsiteY5" fmla="*/ 221456 h 221456"/>
                <a:gd name="connsiteX6" fmla="*/ 261937 w 342900"/>
                <a:gd name="connsiteY6" fmla="*/ 207168 h 221456"/>
                <a:gd name="connsiteX7" fmla="*/ 295275 w 342900"/>
                <a:gd name="connsiteY7" fmla="*/ 190500 h 221456"/>
                <a:gd name="connsiteX8" fmla="*/ 302419 w 342900"/>
                <a:gd name="connsiteY8" fmla="*/ 154781 h 221456"/>
                <a:gd name="connsiteX9" fmla="*/ 342900 w 342900"/>
                <a:gd name="connsiteY9" fmla="*/ 152400 h 221456"/>
                <a:gd name="connsiteX10" fmla="*/ 326231 w 342900"/>
                <a:gd name="connsiteY10" fmla="*/ 133350 h 221456"/>
                <a:gd name="connsiteX11" fmla="*/ 280987 w 342900"/>
                <a:gd name="connsiteY11" fmla="*/ 130968 h 221456"/>
                <a:gd name="connsiteX12" fmla="*/ 242887 w 342900"/>
                <a:gd name="connsiteY12" fmla="*/ 92868 h 221456"/>
                <a:gd name="connsiteX13" fmla="*/ 223837 w 342900"/>
                <a:gd name="connsiteY13" fmla="*/ 54768 h 221456"/>
                <a:gd name="connsiteX14" fmla="*/ 183356 w 342900"/>
                <a:gd name="connsiteY14" fmla="*/ 52387 h 221456"/>
                <a:gd name="connsiteX15" fmla="*/ 180975 w 342900"/>
                <a:gd name="connsiteY15" fmla="*/ 19050 h 221456"/>
                <a:gd name="connsiteX16" fmla="*/ 154781 w 342900"/>
                <a:gd name="connsiteY16" fmla="*/ 0 h 221456"/>
                <a:gd name="connsiteX17" fmla="*/ 102394 w 342900"/>
                <a:gd name="connsiteY17" fmla="*/ 26193 h 221456"/>
                <a:gd name="connsiteX18" fmla="*/ 111919 w 342900"/>
                <a:gd name="connsiteY18" fmla="*/ 50006 h 221456"/>
                <a:gd name="connsiteX19" fmla="*/ 80962 w 342900"/>
                <a:gd name="connsiteY19" fmla="*/ 42862 h 221456"/>
                <a:gd name="connsiteX20" fmla="*/ 35719 w 342900"/>
                <a:gd name="connsiteY20" fmla="*/ 9525 h 221456"/>
                <a:gd name="connsiteX21" fmla="*/ 33337 w 342900"/>
                <a:gd name="connsiteY21" fmla="*/ 33337 h 221456"/>
                <a:gd name="connsiteX22" fmla="*/ 47625 w 342900"/>
                <a:gd name="connsiteY22" fmla="*/ 54768 h 221456"/>
                <a:gd name="connsiteX23" fmla="*/ 33337 w 342900"/>
                <a:gd name="connsiteY23" fmla="*/ 66675 h 221456"/>
                <a:gd name="connsiteX24" fmla="*/ 0 w 342900"/>
                <a:gd name="connsiteY24" fmla="*/ 57150 h 221456"/>
                <a:gd name="connsiteX25" fmla="*/ 0 w 342900"/>
                <a:gd name="connsiteY25" fmla="*/ 92868 h 221456"/>
                <a:gd name="connsiteX26" fmla="*/ 23812 w 342900"/>
                <a:gd name="connsiteY26" fmla="*/ 92868 h 221456"/>
                <a:gd name="connsiteX27" fmla="*/ 14287 w 342900"/>
                <a:gd name="connsiteY27" fmla="*/ 109537 h 221456"/>
                <a:gd name="connsiteX28" fmla="*/ 33337 w 342900"/>
                <a:gd name="connsiteY28" fmla="*/ 164306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2900" h="221456">
                  <a:moveTo>
                    <a:pt x="33337" y="164306"/>
                  </a:moveTo>
                  <a:lnTo>
                    <a:pt x="109537" y="128587"/>
                  </a:lnTo>
                  <a:lnTo>
                    <a:pt x="190500" y="185737"/>
                  </a:lnTo>
                  <a:lnTo>
                    <a:pt x="214312" y="188118"/>
                  </a:lnTo>
                  <a:lnTo>
                    <a:pt x="221456" y="209550"/>
                  </a:lnTo>
                  <a:lnTo>
                    <a:pt x="254794" y="221456"/>
                  </a:lnTo>
                  <a:lnTo>
                    <a:pt x="261937" y="207168"/>
                  </a:lnTo>
                  <a:lnTo>
                    <a:pt x="295275" y="190500"/>
                  </a:lnTo>
                  <a:lnTo>
                    <a:pt x="302419" y="154781"/>
                  </a:lnTo>
                  <a:lnTo>
                    <a:pt x="342900" y="152400"/>
                  </a:lnTo>
                  <a:lnTo>
                    <a:pt x="326231" y="133350"/>
                  </a:lnTo>
                  <a:lnTo>
                    <a:pt x="280987" y="130968"/>
                  </a:lnTo>
                  <a:lnTo>
                    <a:pt x="242887" y="92868"/>
                  </a:lnTo>
                  <a:lnTo>
                    <a:pt x="223837" y="54768"/>
                  </a:lnTo>
                  <a:lnTo>
                    <a:pt x="183356" y="52387"/>
                  </a:lnTo>
                  <a:lnTo>
                    <a:pt x="180975" y="19050"/>
                  </a:lnTo>
                  <a:lnTo>
                    <a:pt x="154781" y="0"/>
                  </a:lnTo>
                  <a:lnTo>
                    <a:pt x="102394" y="26193"/>
                  </a:lnTo>
                  <a:lnTo>
                    <a:pt x="111919" y="50006"/>
                  </a:lnTo>
                  <a:lnTo>
                    <a:pt x="80962" y="42862"/>
                  </a:lnTo>
                  <a:lnTo>
                    <a:pt x="35719" y="9525"/>
                  </a:lnTo>
                  <a:lnTo>
                    <a:pt x="33337" y="33337"/>
                  </a:lnTo>
                  <a:lnTo>
                    <a:pt x="47625" y="54768"/>
                  </a:lnTo>
                  <a:lnTo>
                    <a:pt x="33337" y="66675"/>
                  </a:lnTo>
                  <a:lnTo>
                    <a:pt x="0" y="57150"/>
                  </a:lnTo>
                  <a:lnTo>
                    <a:pt x="0" y="92868"/>
                  </a:lnTo>
                  <a:lnTo>
                    <a:pt x="23812" y="92868"/>
                  </a:lnTo>
                  <a:lnTo>
                    <a:pt x="14287" y="109537"/>
                  </a:lnTo>
                  <a:lnTo>
                    <a:pt x="33337" y="16430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4" name="Freeform: Shape 241"/>
            <p:cNvSpPr/>
            <p:nvPr/>
          </p:nvSpPr>
          <p:spPr bwMode="auto">
            <a:xfrm>
              <a:off x="5269706" y="3495675"/>
              <a:ext cx="57150" cy="40481"/>
            </a:xfrm>
            <a:custGeom>
              <a:avLst/>
              <a:gdLst>
                <a:gd name="connsiteX0" fmla="*/ 0 w 57150"/>
                <a:gd name="connsiteY0" fmla="*/ 0 h 40481"/>
                <a:gd name="connsiteX1" fmla="*/ 40482 w 57150"/>
                <a:gd name="connsiteY1" fmla="*/ 40481 h 40481"/>
                <a:gd name="connsiteX2" fmla="*/ 57150 w 57150"/>
                <a:gd name="connsiteY2" fmla="*/ 7144 h 40481"/>
                <a:gd name="connsiteX3" fmla="*/ 0 w 57150"/>
                <a:gd name="connsiteY3" fmla="*/ 0 h 4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40481">
                  <a:moveTo>
                    <a:pt x="0" y="0"/>
                  </a:moveTo>
                  <a:lnTo>
                    <a:pt x="40482" y="40481"/>
                  </a:lnTo>
                  <a:lnTo>
                    <a:pt x="57150" y="71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5" name="Freeform: Shape 242"/>
            <p:cNvSpPr/>
            <p:nvPr/>
          </p:nvSpPr>
          <p:spPr bwMode="auto">
            <a:xfrm>
              <a:off x="5307806" y="3502819"/>
              <a:ext cx="138112" cy="85725"/>
            </a:xfrm>
            <a:custGeom>
              <a:avLst/>
              <a:gdLst>
                <a:gd name="connsiteX0" fmla="*/ 128588 w 128588"/>
                <a:gd name="connsiteY0" fmla="*/ 54769 h 85725"/>
                <a:gd name="connsiteX1" fmla="*/ 90488 w 128588"/>
                <a:gd name="connsiteY1" fmla="*/ 19050 h 85725"/>
                <a:gd name="connsiteX2" fmla="*/ 64294 w 128588"/>
                <a:gd name="connsiteY2" fmla="*/ 28575 h 85725"/>
                <a:gd name="connsiteX3" fmla="*/ 16669 w 128588"/>
                <a:gd name="connsiteY3" fmla="*/ 0 h 85725"/>
                <a:gd name="connsiteX4" fmla="*/ 0 w 128588"/>
                <a:gd name="connsiteY4" fmla="*/ 38100 h 85725"/>
                <a:gd name="connsiteX5" fmla="*/ 9525 w 128588"/>
                <a:gd name="connsiteY5" fmla="*/ 69056 h 85725"/>
                <a:gd name="connsiteX6" fmla="*/ 42863 w 128588"/>
                <a:gd name="connsiteY6" fmla="*/ 85725 h 85725"/>
                <a:gd name="connsiteX7" fmla="*/ 57150 w 128588"/>
                <a:gd name="connsiteY7" fmla="*/ 76200 h 85725"/>
                <a:gd name="connsiteX8" fmla="*/ 128588 w 128588"/>
                <a:gd name="connsiteY8" fmla="*/ 54769 h 85725"/>
                <a:gd name="connsiteX0" fmla="*/ 128588 w 128588"/>
                <a:gd name="connsiteY0" fmla="*/ 54769 h 85725"/>
                <a:gd name="connsiteX1" fmla="*/ 90488 w 128588"/>
                <a:gd name="connsiteY1" fmla="*/ 19050 h 85725"/>
                <a:gd name="connsiteX2" fmla="*/ 64294 w 128588"/>
                <a:gd name="connsiteY2" fmla="*/ 28575 h 85725"/>
                <a:gd name="connsiteX3" fmla="*/ 16669 w 128588"/>
                <a:gd name="connsiteY3" fmla="*/ 0 h 85725"/>
                <a:gd name="connsiteX4" fmla="*/ 0 w 128588"/>
                <a:gd name="connsiteY4" fmla="*/ 38100 h 85725"/>
                <a:gd name="connsiteX5" fmla="*/ 9525 w 128588"/>
                <a:gd name="connsiteY5" fmla="*/ 69056 h 85725"/>
                <a:gd name="connsiteX6" fmla="*/ 42863 w 128588"/>
                <a:gd name="connsiteY6" fmla="*/ 85725 h 85725"/>
                <a:gd name="connsiteX7" fmla="*/ 57150 w 128588"/>
                <a:gd name="connsiteY7" fmla="*/ 76200 h 85725"/>
                <a:gd name="connsiteX8" fmla="*/ 109538 w 128588"/>
                <a:gd name="connsiteY8" fmla="*/ 54769 h 85725"/>
                <a:gd name="connsiteX9" fmla="*/ 128588 w 128588"/>
                <a:gd name="connsiteY9" fmla="*/ 54769 h 85725"/>
                <a:gd name="connsiteX0" fmla="*/ 128588 w 128588"/>
                <a:gd name="connsiteY0" fmla="*/ 54769 h 85725"/>
                <a:gd name="connsiteX1" fmla="*/ 90488 w 128588"/>
                <a:gd name="connsiteY1" fmla="*/ 19050 h 85725"/>
                <a:gd name="connsiteX2" fmla="*/ 64294 w 128588"/>
                <a:gd name="connsiteY2" fmla="*/ 28575 h 85725"/>
                <a:gd name="connsiteX3" fmla="*/ 16669 w 128588"/>
                <a:gd name="connsiteY3" fmla="*/ 0 h 85725"/>
                <a:gd name="connsiteX4" fmla="*/ 0 w 128588"/>
                <a:gd name="connsiteY4" fmla="*/ 38100 h 85725"/>
                <a:gd name="connsiteX5" fmla="*/ 9525 w 128588"/>
                <a:gd name="connsiteY5" fmla="*/ 69056 h 85725"/>
                <a:gd name="connsiteX6" fmla="*/ 42863 w 128588"/>
                <a:gd name="connsiteY6" fmla="*/ 85725 h 85725"/>
                <a:gd name="connsiteX7" fmla="*/ 57150 w 128588"/>
                <a:gd name="connsiteY7" fmla="*/ 76200 h 85725"/>
                <a:gd name="connsiteX8" fmla="*/ 100013 w 128588"/>
                <a:gd name="connsiteY8" fmla="*/ 64294 h 85725"/>
                <a:gd name="connsiteX9" fmla="*/ 128588 w 128588"/>
                <a:gd name="connsiteY9" fmla="*/ 54769 h 85725"/>
                <a:gd name="connsiteX0" fmla="*/ 128588 w 128588"/>
                <a:gd name="connsiteY0" fmla="*/ 54769 h 85725"/>
                <a:gd name="connsiteX1" fmla="*/ 111919 w 128588"/>
                <a:gd name="connsiteY1" fmla="*/ 57150 h 85725"/>
                <a:gd name="connsiteX2" fmla="*/ 90488 w 128588"/>
                <a:gd name="connsiteY2" fmla="*/ 19050 h 85725"/>
                <a:gd name="connsiteX3" fmla="*/ 64294 w 128588"/>
                <a:gd name="connsiteY3" fmla="*/ 28575 h 85725"/>
                <a:gd name="connsiteX4" fmla="*/ 16669 w 128588"/>
                <a:gd name="connsiteY4" fmla="*/ 0 h 85725"/>
                <a:gd name="connsiteX5" fmla="*/ 0 w 128588"/>
                <a:gd name="connsiteY5" fmla="*/ 38100 h 85725"/>
                <a:gd name="connsiteX6" fmla="*/ 9525 w 128588"/>
                <a:gd name="connsiteY6" fmla="*/ 69056 h 85725"/>
                <a:gd name="connsiteX7" fmla="*/ 42863 w 128588"/>
                <a:gd name="connsiteY7" fmla="*/ 85725 h 85725"/>
                <a:gd name="connsiteX8" fmla="*/ 57150 w 128588"/>
                <a:gd name="connsiteY8" fmla="*/ 76200 h 85725"/>
                <a:gd name="connsiteX9" fmla="*/ 100013 w 128588"/>
                <a:gd name="connsiteY9" fmla="*/ 64294 h 85725"/>
                <a:gd name="connsiteX10" fmla="*/ 128588 w 128588"/>
                <a:gd name="connsiteY10" fmla="*/ 54769 h 85725"/>
                <a:gd name="connsiteX0" fmla="*/ 128588 w 128588"/>
                <a:gd name="connsiteY0" fmla="*/ 54769 h 111919"/>
                <a:gd name="connsiteX1" fmla="*/ 111919 w 128588"/>
                <a:gd name="connsiteY1" fmla="*/ 57150 h 111919"/>
                <a:gd name="connsiteX2" fmla="*/ 90488 w 128588"/>
                <a:gd name="connsiteY2" fmla="*/ 19050 h 111919"/>
                <a:gd name="connsiteX3" fmla="*/ 64294 w 128588"/>
                <a:gd name="connsiteY3" fmla="*/ 28575 h 111919"/>
                <a:gd name="connsiteX4" fmla="*/ 16669 w 128588"/>
                <a:gd name="connsiteY4" fmla="*/ 0 h 111919"/>
                <a:gd name="connsiteX5" fmla="*/ 0 w 128588"/>
                <a:gd name="connsiteY5" fmla="*/ 38100 h 111919"/>
                <a:gd name="connsiteX6" fmla="*/ 9525 w 128588"/>
                <a:gd name="connsiteY6" fmla="*/ 69056 h 111919"/>
                <a:gd name="connsiteX7" fmla="*/ 42863 w 128588"/>
                <a:gd name="connsiteY7" fmla="*/ 85725 h 111919"/>
                <a:gd name="connsiteX8" fmla="*/ 57150 w 128588"/>
                <a:gd name="connsiteY8" fmla="*/ 76200 h 111919"/>
                <a:gd name="connsiteX9" fmla="*/ 85725 w 128588"/>
                <a:gd name="connsiteY9" fmla="*/ 111919 h 111919"/>
                <a:gd name="connsiteX10" fmla="*/ 128588 w 128588"/>
                <a:gd name="connsiteY10" fmla="*/ 54769 h 111919"/>
                <a:gd name="connsiteX0" fmla="*/ 166688 w 166688"/>
                <a:gd name="connsiteY0" fmla="*/ 107156 h 111919"/>
                <a:gd name="connsiteX1" fmla="*/ 111919 w 166688"/>
                <a:gd name="connsiteY1" fmla="*/ 57150 h 111919"/>
                <a:gd name="connsiteX2" fmla="*/ 90488 w 166688"/>
                <a:gd name="connsiteY2" fmla="*/ 19050 h 111919"/>
                <a:gd name="connsiteX3" fmla="*/ 64294 w 166688"/>
                <a:gd name="connsiteY3" fmla="*/ 28575 h 111919"/>
                <a:gd name="connsiteX4" fmla="*/ 16669 w 166688"/>
                <a:gd name="connsiteY4" fmla="*/ 0 h 111919"/>
                <a:gd name="connsiteX5" fmla="*/ 0 w 166688"/>
                <a:gd name="connsiteY5" fmla="*/ 38100 h 111919"/>
                <a:gd name="connsiteX6" fmla="*/ 9525 w 166688"/>
                <a:gd name="connsiteY6" fmla="*/ 69056 h 111919"/>
                <a:gd name="connsiteX7" fmla="*/ 42863 w 166688"/>
                <a:gd name="connsiteY7" fmla="*/ 85725 h 111919"/>
                <a:gd name="connsiteX8" fmla="*/ 57150 w 166688"/>
                <a:gd name="connsiteY8" fmla="*/ 76200 h 111919"/>
                <a:gd name="connsiteX9" fmla="*/ 85725 w 166688"/>
                <a:gd name="connsiteY9" fmla="*/ 111919 h 111919"/>
                <a:gd name="connsiteX10" fmla="*/ 166688 w 166688"/>
                <a:gd name="connsiteY10" fmla="*/ 107156 h 111919"/>
                <a:gd name="connsiteX0" fmla="*/ 166688 w 166688"/>
                <a:gd name="connsiteY0" fmla="*/ 107156 h 111919"/>
                <a:gd name="connsiteX1" fmla="*/ 135732 w 166688"/>
                <a:gd name="connsiteY1" fmla="*/ 57150 h 111919"/>
                <a:gd name="connsiteX2" fmla="*/ 90488 w 166688"/>
                <a:gd name="connsiteY2" fmla="*/ 19050 h 111919"/>
                <a:gd name="connsiteX3" fmla="*/ 64294 w 166688"/>
                <a:gd name="connsiteY3" fmla="*/ 28575 h 111919"/>
                <a:gd name="connsiteX4" fmla="*/ 16669 w 166688"/>
                <a:gd name="connsiteY4" fmla="*/ 0 h 111919"/>
                <a:gd name="connsiteX5" fmla="*/ 0 w 166688"/>
                <a:gd name="connsiteY5" fmla="*/ 38100 h 111919"/>
                <a:gd name="connsiteX6" fmla="*/ 9525 w 166688"/>
                <a:gd name="connsiteY6" fmla="*/ 69056 h 111919"/>
                <a:gd name="connsiteX7" fmla="*/ 42863 w 166688"/>
                <a:gd name="connsiteY7" fmla="*/ 85725 h 111919"/>
                <a:gd name="connsiteX8" fmla="*/ 57150 w 166688"/>
                <a:gd name="connsiteY8" fmla="*/ 76200 h 111919"/>
                <a:gd name="connsiteX9" fmla="*/ 85725 w 166688"/>
                <a:gd name="connsiteY9" fmla="*/ 111919 h 111919"/>
                <a:gd name="connsiteX10" fmla="*/ 166688 w 166688"/>
                <a:gd name="connsiteY10" fmla="*/ 107156 h 111919"/>
                <a:gd name="connsiteX0" fmla="*/ 116681 w 135732"/>
                <a:gd name="connsiteY0" fmla="*/ 54769 h 111919"/>
                <a:gd name="connsiteX1" fmla="*/ 135732 w 135732"/>
                <a:gd name="connsiteY1" fmla="*/ 57150 h 111919"/>
                <a:gd name="connsiteX2" fmla="*/ 90488 w 135732"/>
                <a:gd name="connsiteY2" fmla="*/ 19050 h 111919"/>
                <a:gd name="connsiteX3" fmla="*/ 64294 w 135732"/>
                <a:gd name="connsiteY3" fmla="*/ 28575 h 111919"/>
                <a:gd name="connsiteX4" fmla="*/ 16669 w 135732"/>
                <a:gd name="connsiteY4" fmla="*/ 0 h 111919"/>
                <a:gd name="connsiteX5" fmla="*/ 0 w 135732"/>
                <a:gd name="connsiteY5" fmla="*/ 38100 h 111919"/>
                <a:gd name="connsiteX6" fmla="*/ 9525 w 135732"/>
                <a:gd name="connsiteY6" fmla="*/ 69056 h 111919"/>
                <a:gd name="connsiteX7" fmla="*/ 42863 w 135732"/>
                <a:gd name="connsiteY7" fmla="*/ 85725 h 111919"/>
                <a:gd name="connsiteX8" fmla="*/ 57150 w 135732"/>
                <a:gd name="connsiteY8" fmla="*/ 76200 h 111919"/>
                <a:gd name="connsiteX9" fmla="*/ 85725 w 135732"/>
                <a:gd name="connsiteY9" fmla="*/ 111919 h 111919"/>
                <a:gd name="connsiteX10" fmla="*/ 116681 w 135732"/>
                <a:gd name="connsiteY10" fmla="*/ 54769 h 111919"/>
                <a:gd name="connsiteX0" fmla="*/ 116681 w 138112"/>
                <a:gd name="connsiteY0" fmla="*/ 54769 h 85725"/>
                <a:gd name="connsiteX1" fmla="*/ 135732 w 138112"/>
                <a:gd name="connsiteY1" fmla="*/ 57150 h 85725"/>
                <a:gd name="connsiteX2" fmla="*/ 90488 w 138112"/>
                <a:gd name="connsiteY2" fmla="*/ 19050 h 85725"/>
                <a:gd name="connsiteX3" fmla="*/ 64294 w 138112"/>
                <a:gd name="connsiteY3" fmla="*/ 28575 h 85725"/>
                <a:gd name="connsiteX4" fmla="*/ 16669 w 138112"/>
                <a:gd name="connsiteY4" fmla="*/ 0 h 85725"/>
                <a:gd name="connsiteX5" fmla="*/ 0 w 138112"/>
                <a:gd name="connsiteY5" fmla="*/ 38100 h 85725"/>
                <a:gd name="connsiteX6" fmla="*/ 9525 w 138112"/>
                <a:gd name="connsiteY6" fmla="*/ 69056 h 85725"/>
                <a:gd name="connsiteX7" fmla="*/ 42863 w 138112"/>
                <a:gd name="connsiteY7" fmla="*/ 85725 h 85725"/>
                <a:gd name="connsiteX8" fmla="*/ 57150 w 138112"/>
                <a:gd name="connsiteY8" fmla="*/ 76200 h 85725"/>
                <a:gd name="connsiteX9" fmla="*/ 138112 w 138112"/>
                <a:gd name="connsiteY9" fmla="*/ 78582 h 85725"/>
                <a:gd name="connsiteX10" fmla="*/ 116681 w 138112"/>
                <a:gd name="connsiteY10" fmla="*/ 5476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8112" h="85725">
                  <a:moveTo>
                    <a:pt x="116681" y="54769"/>
                  </a:moveTo>
                  <a:lnTo>
                    <a:pt x="135732" y="57150"/>
                  </a:lnTo>
                  <a:lnTo>
                    <a:pt x="90488" y="19050"/>
                  </a:lnTo>
                  <a:lnTo>
                    <a:pt x="64294" y="28575"/>
                  </a:lnTo>
                  <a:lnTo>
                    <a:pt x="16669" y="0"/>
                  </a:lnTo>
                  <a:lnTo>
                    <a:pt x="0" y="38100"/>
                  </a:lnTo>
                  <a:lnTo>
                    <a:pt x="9525" y="69056"/>
                  </a:lnTo>
                  <a:lnTo>
                    <a:pt x="42863" y="85725"/>
                  </a:lnTo>
                  <a:lnTo>
                    <a:pt x="57150" y="76200"/>
                  </a:lnTo>
                  <a:lnTo>
                    <a:pt x="138112" y="78582"/>
                  </a:lnTo>
                  <a:lnTo>
                    <a:pt x="116681" y="5476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6" name="Freeform: Shape 243"/>
            <p:cNvSpPr/>
            <p:nvPr/>
          </p:nvSpPr>
          <p:spPr bwMode="auto">
            <a:xfrm>
              <a:off x="5407819" y="3548063"/>
              <a:ext cx="119062" cy="116681"/>
            </a:xfrm>
            <a:custGeom>
              <a:avLst/>
              <a:gdLst>
                <a:gd name="connsiteX0" fmla="*/ 85725 w 119062"/>
                <a:gd name="connsiteY0" fmla="*/ 116681 h 116681"/>
                <a:gd name="connsiteX1" fmla="*/ 119062 w 119062"/>
                <a:gd name="connsiteY1" fmla="*/ 54768 h 116681"/>
                <a:gd name="connsiteX2" fmla="*/ 73819 w 119062"/>
                <a:gd name="connsiteY2" fmla="*/ 0 h 116681"/>
                <a:gd name="connsiteX3" fmla="*/ 59531 w 119062"/>
                <a:gd name="connsiteY3" fmla="*/ 28575 h 116681"/>
                <a:gd name="connsiteX4" fmla="*/ 21431 w 119062"/>
                <a:gd name="connsiteY4" fmla="*/ 9525 h 116681"/>
                <a:gd name="connsiteX5" fmla="*/ 30956 w 119062"/>
                <a:gd name="connsiteY5" fmla="*/ 28575 h 116681"/>
                <a:gd name="connsiteX6" fmla="*/ 0 w 119062"/>
                <a:gd name="connsiteY6" fmla="*/ 19050 h 116681"/>
                <a:gd name="connsiteX7" fmla="*/ 0 w 119062"/>
                <a:gd name="connsiteY7" fmla="*/ 19050 h 116681"/>
                <a:gd name="connsiteX8" fmla="*/ 9525 w 119062"/>
                <a:gd name="connsiteY8" fmla="*/ 59531 h 116681"/>
                <a:gd name="connsiteX9" fmla="*/ 33337 w 119062"/>
                <a:gd name="connsiteY9" fmla="*/ 90487 h 116681"/>
                <a:gd name="connsiteX10" fmla="*/ 52387 w 119062"/>
                <a:gd name="connsiteY10" fmla="*/ 78581 h 116681"/>
                <a:gd name="connsiteX11" fmla="*/ 85725 w 119062"/>
                <a:gd name="connsiteY11" fmla="*/ 116681 h 116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062" h="116681">
                  <a:moveTo>
                    <a:pt x="85725" y="116681"/>
                  </a:moveTo>
                  <a:lnTo>
                    <a:pt x="119062" y="54768"/>
                  </a:lnTo>
                  <a:lnTo>
                    <a:pt x="73819" y="0"/>
                  </a:lnTo>
                  <a:lnTo>
                    <a:pt x="59531" y="28575"/>
                  </a:lnTo>
                  <a:lnTo>
                    <a:pt x="21431" y="9525"/>
                  </a:lnTo>
                  <a:lnTo>
                    <a:pt x="30956" y="28575"/>
                  </a:lnTo>
                  <a:lnTo>
                    <a:pt x="0" y="19050"/>
                  </a:lnTo>
                  <a:lnTo>
                    <a:pt x="0" y="19050"/>
                  </a:lnTo>
                  <a:lnTo>
                    <a:pt x="9525" y="59531"/>
                  </a:lnTo>
                  <a:lnTo>
                    <a:pt x="33337" y="90487"/>
                  </a:lnTo>
                  <a:lnTo>
                    <a:pt x="52387" y="78581"/>
                  </a:lnTo>
                  <a:lnTo>
                    <a:pt x="85725" y="11668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7" name="Freeform 281"/>
            <p:cNvSpPr>
              <a:spLocks/>
            </p:cNvSpPr>
            <p:nvPr/>
          </p:nvSpPr>
          <p:spPr bwMode="auto">
            <a:xfrm>
              <a:off x="5366544" y="3514345"/>
              <a:ext cx="45719" cy="45719"/>
            </a:xfrm>
            <a:custGeom>
              <a:avLst/>
              <a:gdLst>
                <a:gd name="T0" fmla="*/ 0 w 30"/>
                <a:gd name="T1" fmla="*/ 2147483646 h 37"/>
                <a:gd name="T2" fmla="*/ 2147483646 w 30"/>
                <a:gd name="T3" fmla="*/ 0 h 37"/>
                <a:gd name="T4" fmla="*/ 2147483646 w 30"/>
                <a:gd name="T5" fmla="*/ 2147483646 h 37"/>
                <a:gd name="T6" fmla="*/ 2147483646 w 30"/>
                <a:gd name="T7" fmla="*/ 2147483646 h 37"/>
                <a:gd name="T8" fmla="*/ 0 w 30"/>
                <a:gd name="T9" fmla="*/ 2147483646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8" name="Freeform 281"/>
            <p:cNvSpPr>
              <a:spLocks/>
            </p:cNvSpPr>
            <p:nvPr/>
          </p:nvSpPr>
          <p:spPr bwMode="auto">
            <a:xfrm>
              <a:off x="5373599" y="3614025"/>
              <a:ext cx="45719" cy="45719"/>
            </a:xfrm>
            <a:custGeom>
              <a:avLst/>
              <a:gdLst>
                <a:gd name="T0" fmla="*/ 0 w 30"/>
                <a:gd name="T1" fmla="*/ 2147483646 h 37"/>
                <a:gd name="T2" fmla="*/ 2147483646 w 30"/>
                <a:gd name="T3" fmla="*/ 0 h 37"/>
                <a:gd name="T4" fmla="*/ 2147483646 w 30"/>
                <a:gd name="T5" fmla="*/ 2147483646 h 37"/>
                <a:gd name="T6" fmla="*/ 2147483646 w 30"/>
                <a:gd name="T7" fmla="*/ 2147483646 h 37"/>
                <a:gd name="T8" fmla="*/ 0 w 30"/>
                <a:gd name="T9" fmla="*/ 2147483646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9" name="Freeform 294"/>
            <p:cNvSpPr>
              <a:spLocks/>
            </p:cNvSpPr>
            <p:nvPr/>
          </p:nvSpPr>
          <p:spPr bwMode="auto">
            <a:xfrm>
              <a:off x="5385319" y="3625851"/>
              <a:ext cx="469900" cy="427037"/>
            </a:xfrm>
            <a:custGeom>
              <a:avLst/>
              <a:gdLst>
                <a:gd name="T0" fmla="*/ 2147483646 w 60"/>
                <a:gd name="T1" fmla="*/ 2147483646 h 55"/>
                <a:gd name="T2" fmla="*/ 2147483646 w 60"/>
                <a:gd name="T3" fmla="*/ 2147483646 h 55"/>
                <a:gd name="T4" fmla="*/ 2147483646 w 60"/>
                <a:gd name="T5" fmla="*/ 2147483646 h 55"/>
                <a:gd name="T6" fmla="*/ 2147483646 w 60"/>
                <a:gd name="T7" fmla="*/ 2147483646 h 55"/>
                <a:gd name="T8" fmla="*/ 2147483646 w 60"/>
                <a:gd name="T9" fmla="*/ 2147483646 h 55"/>
                <a:gd name="T10" fmla="*/ 2147483646 w 60"/>
                <a:gd name="T11" fmla="*/ 2147483646 h 55"/>
                <a:gd name="T12" fmla="*/ 2147483646 w 60"/>
                <a:gd name="T13" fmla="*/ 2147483646 h 55"/>
                <a:gd name="T14" fmla="*/ 2147483646 w 60"/>
                <a:gd name="T15" fmla="*/ 2147483646 h 55"/>
                <a:gd name="T16" fmla="*/ 2147483646 w 60"/>
                <a:gd name="T17" fmla="*/ 2147483646 h 55"/>
                <a:gd name="T18" fmla="*/ 2147483646 w 60"/>
                <a:gd name="T19" fmla="*/ 2147483646 h 55"/>
                <a:gd name="T20" fmla="*/ 2147483646 w 60"/>
                <a:gd name="T21" fmla="*/ 2147483646 h 55"/>
                <a:gd name="T22" fmla="*/ 2147483646 w 60"/>
                <a:gd name="T23" fmla="*/ 2147483646 h 55"/>
                <a:gd name="T24" fmla="*/ 2147483646 w 60"/>
                <a:gd name="T25" fmla="*/ 2147483646 h 55"/>
                <a:gd name="T26" fmla="*/ 2147483646 w 60"/>
                <a:gd name="T27" fmla="*/ 2147483646 h 55"/>
                <a:gd name="T28" fmla="*/ 2147483646 w 60"/>
                <a:gd name="T29" fmla="*/ 2147483646 h 55"/>
                <a:gd name="T30" fmla="*/ 2147483646 w 60"/>
                <a:gd name="T31" fmla="*/ 2147483646 h 55"/>
                <a:gd name="T32" fmla="*/ 2147483646 w 60"/>
                <a:gd name="T33" fmla="*/ 2147483646 h 55"/>
                <a:gd name="T34" fmla="*/ 2147483646 w 60"/>
                <a:gd name="T35" fmla="*/ 2147483646 h 55"/>
                <a:gd name="T36" fmla="*/ 2147483646 w 60"/>
                <a:gd name="T37" fmla="*/ 2147483646 h 55"/>
                <a:gd name="T38" fmla="*/ 2147483646 w 60"/>
                <a:gd name="T39" fmla="*/ 2147483646 h 55"/>
                <a:gd name="T40" fmla="*/ 2147483646 w 60"/>
                <a:gd name="T41" fmla="*/ 0 h 55"/>
                <a:gd name="T42" fmla="*/ 2147483646 w 60"/>
                <a:gd name="T43" fmla="*/ 2147483646 h 55"/>
                <a:gd name="T44" fmla="*/ 2147483646 w 60"/>
                <a:gd name="T45" fmla="*/ 2147483646 h 55"/>
                <a:gd name="T46" fmla="*/ 0 w 60"/>
                <a:gd name="T47" fmla="*/ 0 h 55"/>
                <a:gd name="T48" fmla="*/ 0 w 60"/>
                <a:gd name="T49" fmla="*/ 0 h 55"/>
                <a:gd name="T50" fmla="*/ 0 w 60"/>
                <a:gd name="T51" fmla="*/ 2147483646 h 55"/>
                <a:gd name="T52" fmla="*/ 2147483646 w 60"/>
                <a:gd name="T53" fmla="*/ 2147483646 h 55"/>
                <a:gd name="T54" fmla="*/ 2147483646 w 60"/>
                <a:gd name="T55" fmla="*/ 2147483646 h 55"/>
                <a:gd name="T56" fmla="*/ 2147483646 w 60"/>
                <a:gd name="T57" fmla="*/ 2147483646 h 55"/>
                <a:gd name="T58" fmla="*/ 2147483646 w 60"/>
                <a:gd name="T59" fmla="*/ 2147483646 h 55"/>
                <a:gd name="T60" fmla="*/ 2147483646 w 60"/>
                <a:gd name="T61" fmla="*/ 2147483646 h 55"/>
                <a:gd name="T62" fmla="*/ 2147483646 w 60"/>
                <a:gd name="T63" fmla="*/ 2147483646 h 55"/>
                <a:gd name="T64" fmla="*/ 2147483646 w 60"/>
                <a:gd name="T65" fmla="*/ 2147483646 h 55"/>
                <a:gd name="T66" fmla="*/ 2147483646 w 60"/>
                <a:gd name="T67" fmla="*/ 2147483646 h 55"/>
                <a:gd name="T68" fmla="*/ 2147483646 w 60"/>
                <a:gd name="T69" fmla="*/ 2147483646 h 55"/>
                <a:gd name="T70" fmla="*/ 2147483646 w 60"/>
                <a:gd name="T71" fmla="*/ 2147483646 h 55"/>
                <a:gd name="T72" fmla="*/ 2147483646 w 60"/>
                <a:gd name="T73" fmla="*/ 2147483646 h 55"/>
                <a:gd name="T74" fmla="*/ 2147483646 w 60"/>
                <a:gd name="T75" fmla="*/ 2147483646 h 55"/>
                <a:gd name="T76" fmla="*/ 2147483646 w 60"/>
                <a:gd name="T77" fmla="*/ 2147483646 h 55"/>
                <a:gd name="T78" fmla="*/ 2147483646 w 60"/>
                <a:gd name="T79" fmla="*/ 2147483646 h 55"/>
                <a:gd name="T80" fmla="*/ 2147483646 w 60"/>
                <a:gd name="T81" fmla="*/ 2147483646 h 55"/>
                <a:gd name="T82" fmla="*/ 2147483646 w 60"/>
                <a:gd name="T83" fmla="*/ 2147483646 h 55"/>
                <a:gd name="T84" fmla="*/ 2147483646 w 60"/>
                <a:gd name="T85" fmla="*/ 2147483646 h 55"/>
                <a:gd name="T86" fmla="*/ 2147483646 w 60"/>
                <a:gd name="T87" fmla="*/ 2147483646 h 55"/>
                <a:gd name="T88" fmla="*/ 2147483646 w 60"/>
                <a:gd name="T89" fmla="*/ 2147483646 h 55"/>
                <a:gd name="T90" fmla="*/ 2147483646 w 60"/>
                <a:gd name="T91" fmla="*/ 2147483646 h 55"/>
                <a:gd name="T92" fmla="*/ 2147483646 w 60"/>
                <a:gd name="T93" fmla="*/ 2147483646 h 55"/>
                <a:gd name="T94" fmla="*/ 2147483646 w 60"/>
                <a:gd name="T95" fmla="*/ 2147483646 h 55"/>
                <a:gd name="T96" fmla="*/ 2147483646 w 60"/>
                <a:gd name="T97" fmla="*/ 2147483646 h 5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0" h="55"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6"/>
                    <a:pt x="0" y="7"/>
                  </a:cubicBezTo>
                  <a:cubicBezTo>
                    <a:pt x="0" y="7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38"/>
                    <a:pt x="53" y="38"/>
                    <a:pt x="53" y="38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0" name="Freeform: Shape 247"/>
            <p:cNvSpPr/>
            <p:nvPr/>
          </p:nvSpPr>
          <p:spPr bwMode="auto">
            <a:xfrm>
              <a:off x="5348288" y="3574257"/>
              <a:ext cx="92868" cy="73818"/>
            </a:xfrm>
            <a:custGeom>
              <a:avLst/>
              <a:gdLst>
                <a:gd name="connsiteX0" fmla="*/ 0 w 92868"/>
                <a:gd name="connsiteY0" fmla="*/ 7144 h 66675"/>
                <a:gd name="connsiteX1" fmla="*/ 14287 w 92868"/>
                <a:gd name="connsiteY1" fmla="*/ 38100 h 66675"/>
                <a:gd name="connsiteX2" fmla="*/ 38100 w 92868"/>
                <a:gd name="connsiteY2" fmla="*/ 45244 h 66675"/>
                <a:gd name="connsiteX3" fmla="*/ 64293 w 92868"/>
                <a:gd name="connsiteY3" fmla="*/ 35719 h 66675"/>
                <a:gd name="connsiteX4" fmla="*/ 73818 w 92868"/>
                <a:gd name="connsiteY4" fmla="*/ 66675 h 66675"/>
                <a:gd name="connsiteX5" fmla="*/ 92868 w 92868"/>
                <a:gd name="connsiteY5" fmla="*/ 61913 h 66675"/>
                <a:gd name="connsiteX6" fmla="*/ 64293 w 92868"/>
                <a:gd name="connsiteY6" fmla="*/ 0 h 66675"/>
                <a:gd name="connsiteX7" fmla="*/ 0 w 92868"/>
                <a:gd name="connsiteY7" fmla="*/ 7144 h 66675"/>
                <a:gd name="connsiteX0" fmla="*/ 0 w 92868"/>
                <a:gd name="connsiteY0" fmla="*/ 7144 h 66675"/>
                <a:gd name="connsiteX1" fmla="*/ 14287 w 92868"/>
                <a:gd name="connsiteY1" fmla="*/ 38100 h 66675"/>
                <a:gd name="connsiteX2" fmla="*/ 38100 w 92868"/>
                <a:gd name="connsiteY2" fmla="*/ 45244 h 66675"/>
                <a:gd name="connsiteX3" fmla="*/ 64293 w 92868"/>
                <a:gd name="connsiteY3" fmla="*/ 35719 h 66675"/>
                <a:gd name="connsiteX4" fmla="*/ 73818 w 92868"/>
                <a:gd name="connsiteY4" fmla="*/ 66675 h 66675"/>
                <a:gd name="connsiteX5" fmla="*/ 92868 w 92868"/>
                <a:gd name="connsiteY5" fmla="*/ 61913 h 66675"/>
                <a:gd name="connsiteX6" fmla="*/ 64293 w 92868"/>
                <a:gd name="connsiteY6" fmla="*/ 0 h 66675"/>
                <a:gd name="connsiteX7" fmla="*/ 28575 w 92868"/>
                <a:gd name="connsiteY7" fmla="*/ 4763 h 66675"/>
                <a:gd name="connsiteX8" fmla="*/ 0 w 92868"/>
                <a:gd name="connsiteY8" fmla="*/ 7144 h 66675"/>
                <a:gd name="connsiteX0" fmla="*/ 0 w 92868"/>
                <a:gd name="connsiteY0" fmla="*/ 14287 h 73818"/>
                <a:gd name="connsiteX1" fmla="*/ 14287 w 92868"/>
                <a:gd name="connsiteY1" fmla="*/ 45243 h 73818"/>
                <a:gd name="connsiteX2" fmla="*/ 38100 w 92868"/>
                <a:gd name="connsiteY2" fmla="*/ 52387 h 73818"/>
                <a:gd name="connsiteX3" fmla="*/ 64293 w 92868"/>
                <a:gd name="connsiteY3" fmla="*/ 42862 h 73818"/>
                <a:gd name="connsiteX4" fmla="*/ 73818 w 92868"/>
                <a:gd name="connsiteY4" fmla="*/ 73818 h 73818"/>
                <a:gd name="connsiteX5" fmla="*/ 92868 w 92868"/>
                <a:gd name="connsiteY5" fmla="*/ 69056 h 73818"/>
                <a:gd name="connsiteX6" fmla="*/ 64293 w 92868"/>
                <a:gd name="connsiteY6" fmla="*/ 7143 h 73818"/>
                <a:gd name="connsiteX7" fmla="*/ 7144 w 92868"/>
                <a:gd name="connsiteY7" fmla="*/ 0 h 73818"/>
                <a:gd name="connsiteX8" fmla="*/ 0 w 92868"/>
                <a:gd name="connsiteY8" fmla="*/ 14287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868" h="73818">
                  <a:moveTo>
                    <a:pt x="0" y="14287"/>
                  </a:moveTo>
                  <a:lnTo>
                    <a:pt x="14287" y="45243"/>
                  </a:lnTo>
                  <a:lnTo>
                    <a:pt x="38100" y="52387"/>
                  </a:lnTo>
                  <a:lnTo>
                    <a:pt x="64293" y="42862"/>
                  </a:lnTo>
                  <a:lnTo>
                    <a:pt x="73818" y="73818"/>
                  </a:lnTo>
                  <a:lnTo>
                    <a:pt x="92868" y="69056"/>
                  </a:lnTo>
                  <a:lnTo>
                    <a:pt x="64293" y="7143"/>
                  </a:lnTo>
                  <a:lnTo>
                    <a:pt x="7144" y="0"/>
                  </a:lnTo>
                  <a:lnTo>
                    <a:pt x="0" y="1428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3" name="TextBox 242"/>
          <p:cNvSpPr txBox="1"/>
          <p:nvPr/>
        </p:nvSpPr>
        <p:spPr>
          <a:xfrm>
            <a:off x="2370481" y="717990"/>
            <a:ext cx="6773520" cy="68409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создания экспортной экосистемы</a:t>
            </a:r>
          </a:p>
          <a:p>
            <a:r>
              <a:rPr lang="ru-RU" dirty="0" smtClean="0"/>
              <a:t>Визиты за рубеж</a:t>
            </a:r>
            <a:endParaRPr lang="ru-RU" dirty="0"/>
          </a:p>
        </p:txBody>
      </p:sp>
      <p:sp>
        <p:nvSpPr>
          <p:cNvPr id="245" name="TextBox 244"/>
          <p:cNvSpPr txBox="1"/>
          <p:nvPr/>
        </p:nvSpPr>
        <p:spPr>
          <a:xfrm>
            <a:off x="932325" y="5645411"/>
            <a:ext cx="42368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rgbClr val="A40000"/>
                </a:solidFill>
              </a:rPr>
              <a:t>Визиты должны проводиться в страны, определенные как приоритетные в социально-экономической стратегии региона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162682" y="1328411"/>
            <a:ext cx="5086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A40000"/>
                </a:solidFill>
              </a:rPr>
              <a:t>3 </a:t>
            </a:r>
            <a:r>
              <a:rPr lang="ru-RU" sz="1400" b="1" dirty="0" smtClean="0">
                <a:solidFill>
                  <a:srgbClr val="283E6E"/>
                </a:solidFill>
              </a:rPr>
              <a:t>«пилот» помог компаниям выйти на экспортные контракты </a:t>
            </a:r>
            <a:br>
              <a:rPr lang="ru-RU" sz="1400" b="1" dirty="0" smtClean="0">
                <a:solidFill>
                  <a:srgbClr val="283E6E"/>
                </a:solidFill>
              </a:rPr>
            </a:br>
            <a:r>
              <a:rPr lang="ru-RU" sz="1400" b="1" dirty="0" smtClean="0">
                <a:solidFill>
                  <a:srgbClr val="A40000"/>
                </a:solidFill>
              </a:rPr>
              <a:t>4</a:t>
            </a:r>
            <a:r>
              <a:rPr lang="ru-RU" sz="1400" b="1" dirty="0" smtClean="0">
                <a:solidFill>
                  <a:srgbClr val="283E6E"/>
                </a:solidFill>
              </a:rPr>
              <a:t> – на соглашения о намерениях</a:t>
            </a:r>
            <a:endParaRPr lang="ru-RU" sz="1400" b="1" dirty="0">
              <a:solidFill>
                <a:srgbClr val="283E6E"/>
              </a:solidFill>
            </a:endParaRPr>
          </a:p>
        </p:txBody>
      </p:sp>
      <p:graphicFrame>
        <p:nvGraphicFramePr>
          <p:cNvPr id="246" name="Схема 245"/>
          <p:cNvGraphicFramePr/>
          <p:nvPr>
            <p:extLst>
              <p:ext uri="{D42A27DB-BD31-4B8C-83A1-F6EECF244321}">
                <p14:modId xmlns:p14="http://schemas.microsoft.com/office/powerpoint/2010/main" val="3391339157"/>
              </p:ext>
            </p:extLst>
          </p:nvPr>
        </p:nvGraphicFramePr>
        <p:xfrm>
          <a:off x="83031" y="1875286"/>
          <a:ext cx="4211708" cy="33718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49" name="TextBox 248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7</a:t>
            </a:r>
            <a:endParaRPr lang="ru-RU" b="1" dirty="0">
              <a:solidFill>
                <a:srgbClr val="283E6E"/>
              </a:solidFill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5004764" y="3087288"/>
            <a:ext cx="35886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i="1" dirty="0" smtClean="0">
                <a:solidFill>
                  <a:srgbClr val="283E6E"/>
                </a:solidFill>
              </a:rPr>
              <a:t>      Среднее количество компаний-участников = 3</a:t>
            </a:r>
          </a:p>
          <a:p>
            <a:r>
              <a:rPr lang="ru-RU" sz="1200" b="1" i="1" dirty="0" smtClean="0">
                <a:solidFill>
                  <a:srgbClr val="283E6E"/>
                </a:solidFill>
              </a:rPr>
              <a:t>Среднее количество дней одного визита = 3</a:t>
            </a:r>
            <a:endParaRPr lang="ru-RU" sz="1200" b="1" i="1" dirty="0">
              <a:solidFill>
                <a:srgbClr val="283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90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62756" y="679890"/>
            <a:ext cx="6981246" cy="79375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</a:t>
            </a:r>
            <a:r>
              <a:rPr lang="ru-RU" dirty="0"/>
              <a:t>создания экспортной </a:t>
            </a:r>
            <a:r>
              <a:rPr lang="ru-RU" dirty="0" smtClean="0"/>
              <a:t>экосистемы</a:t>
            </a:r>
            <a:endParaRPr lang="ru-RU" dirty="0"/>
          </a:p>
          <a:p>
            <a:r>
              <a:rPr lang="ru-RU" dirty="0" smtClean="0"/>
              <a:t>Дни международного бизнеса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66977" y="1434081"/>
            <a:ext cx="4301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283E6E"/>
                </a:solidFill>
              </a:rPr>
              <a:t>Условия </a:t>
            </a:r>
          </a:p>
          <a:p>
            <a:pPr algn="ctr"/>
            <a:r>
              <a:rPr lang="ru-RU" sz="1600" b="1" u="sng" dirty="0" smtClean="0">
                <a:solidFill>
                  <a:srgbClr val="283E6E"/>
                </a:solidFill>
              </a:rPr>
              <a:t>Регионального экспортного стандарта</a:t>
            </a:r>
            <a:endParaRPr lang="ru-RU" sz="1600" b="1" u="sng" dirty="0">
              <a:solidFill>
                <a:srgbClr val="283E6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557967" y="3079209"/>
            <a:ext cx="36178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283E6E"/>
                </a:solidFill>
              </a:rPr>
              <a:t>Кооперация по федеральным округам</a:t>
            </a:r>
            <a:endParaRPr lang="ru-RU" sz="1600" b="1" dirty="0">
              <a:solidFill>
                <a:srgbClr val="283E6E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564049" y="1995777"/>
            <a:ext cx="15902" cy="4762832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6196891" y="1541802"/>
            <a:ext cx="14119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u="sng" dirty="0">
                <a:solidFill>
                  <a:srgbClr val="283E6E"/>
                </a:solidFill>
              </a:rPr>
              <a:t>Альтернатив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53379" y="2297732"/>
            <a:ext cx="36894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из </a:t>
            </a:r>
            <a:r>
              <a:rPr lang="ru-RU" sz="1400" dirty="0" smtClean="0">
                <a:solidFill>
                  <a:srgbClr val="A40000"/>
                </a:solidFill>
              </a:rPr>
              <a:t>8</a:t>
            </a:r>
            <a:r>
              <a:rPr lang="ru-RU" sz="1400" dirty="0" smtClean="0">
                <a:solidFill>
                  <a:srgbClr val="283E6E"/>
                </a:solidFill>
              </a:rPr>
              <a:t> стран мир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50</a:t>
            </a:r>
            <a:r>
              <a:rPr lang="ru-RU" sz="1400" dirty="0" smtClean="0">
                <a:solidFill>
                  <a:srgbClr val="283E6E"/>
                </a:solidFill>
              </a:rPr>
              <a:t> иностранных компаний - участников</a:t>
            </a:r>
            <a:endParaRPr lang="ru-RU" sz="1400" dirty="0">
              <a:solidFill>
                <a:srgbClr val="283E6E"/>
              </a:solidFill>
            </a:endParaRPr>
          </a:p>
        </p:txBody>
      </p:sp>
      <p:pic>
        <p:nvPicPr>
          <p:cNvPr id="8" name="Picture 2" descr="C:\Users\minaeva\Desktop\значки для презы\id-badge_318-47612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19" y="2052800"/>
            <a:ext cx="751523" cy="75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minaeva\Desktop\значки для презы\no-translate-detected_318-47032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1502" y="2078970"/>
            <a:ext cx="804655" cy="804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653380" y="2018856"/>
            <a:ext cx="33395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A40000"/>
                </a:solidFill>
              </a:rPr>
              <a:t>10</a:t>
            </a:r>
            <a:r>
              <a:rPr lang="ru-RU" sz="1600" b="1" dirty="0" smtClean="0">
                <a:solidFill>
                  <a:srgbClr val="283E6E"/>
                </a:solidFill>
              </a:rPr>
              <a:t> </a:t>
            </a:r>
            <a:r>
              <a:rPr lang="ru-RU" sz="1600" b="1" dirty="0">
                <a:solidFill>
                  <a:srgbClr val="283E6E"/>
                </a:solidFill>
              </a:rPr>
              <a:t>реверсных бизнес-миссии в год</a:t>
            </a:r>
          </a:p>
        </p:txBody>
      </p:sp>
      <p:pic>
        <p:nvPicPr>
          <p:cNvPr id="2051" name="Picture 3" descr="C:\Users\minaeva\Desktop\значки для презы\group-of-people-having-a-conversation_318-44953.jp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355" y="3142458"/>
            <a:ext cx="834473" cy="671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5653379" y="3424421"/>
            <a:ext cx="368940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проведение крупного мероприятия в  регионах округа поочередно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снижение затрат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продвижение территори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повышение уровня участия</a:t>
            </a:r>
          </a:p>
          <a:p>
            <a:endParaRPr lang="ru-RU" sz="1400" dirty="0">
              <a:solidFill>
                <a:srgbClr val="283E6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59742" y="2187963"/>
            <a:ext cx="369177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10</a:t>
            </a:r>
            <a:r>
              <a:rPr lang="ru-RU" sz="1400" dirty="0" smtClean="0">
                <a:solidFill>
                  <a:srgbClr val="283E6E"/>
                </a:solidFill>
              </a:rPr>
              <a:t> стран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100</a:t>
            </a:r>
            <a:r>
              <a:rPr lang="ru-RU" sz="1400" dirty="0" smtClean="0">
                <a:solidFill>
                  <a:srgbClr val="283E6E"/>
                </a:solidFill>
              </a:rPr>
              <a:t> иностранных компаний – участников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в</a:t>
            </a:r>
            <a:r>
              <a:rPr lang="ru-RU" sz="1400" dirty="0" smtClean="0">
                <a:solidFill>
                  <a:srgbClr val="283E6E"/>
                </a:solidFill>
              </a:rPr>
              <a:t>ыставочные площад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г</a:t>
            </a:r>
            <a:r>
              <a:rPr lang="ru-RU" sz="1400" dirty="0" smtClean="0">
                <a:solidFill>
                  <a:srgbClr val="283E6E"/>
                </a:solidFill>
              </a:rPr>
              <a:t>астрономическое площадк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культурно-развлекательные мероприяти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р</a:t>
            </a:r>
            <a:r>
              <a:rPr lang="ru-RU" sz="1400" dirty="0" smtClean="0">
                <a:solidFill>
                  <a:srgbClr val="283E6E"/>
                </a:solidFill>
              </a:rPr>
              <a:t>аскрытие туристического потенциал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6977" y="3935896"/>
            <a:ext cx="4301655" cy="2822713"/>
          </a:xfrm>
          <a:prstGeom prst="rect">
            <a:avLst/>
          </a:prstGeom>
          <a:solidFill>
            <a:schemeClr val="bg1"/>
          </a:solidFill>
          <a:ln w="3492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i="1" dirty="0" smtClean="0">
                <a:solidFill>
                  <a:srgbClr val="283E6E"/>
                </a:solidFill>
              </a:rPr>
              <a:t>Владимирский </a:t>
            </a:r>
            <a:r>
              <a:rPr lang="ru-RU" sz="1400" i="1" dirty="0">
                <a:solidFill>
                  <a:srgbClr val="283E6E"/>
                </a:solidFill>
              </a:rPr>
              <a:t>экономический форум 19-21 мая 2017 года </a:t>
            </a:r>
            <a:r>
              <a:rPr lang="ru-RU" sz="1400" i="1" dirty="0" smtClean="0">
                <a:solidFill>
                  <a:srgbClr val="283E6E"/>
                </a:solidFill>
              </a:rPr>
              <a:t>(</a:t>
            </a:r>
            <a:r>
              <a:rPr lang="ru-RU" sz="1400" i="1" dirty="0">
                <a:solidFill>
                  <a:srgbClr val="A40000"/>
                </a:solidFill>
              </a:rPr>
              <a:t>23</a:t>
            </a:r>
            <a:r>
              <a:rPr lang="ru-RU" sz="1400" i="1" dirty="0">
                <a:solidFill>
                  <a:srgbClr val="283E6E"/>
                </a:solidFill>
              </a:rPr>
              <a:t> страны, </a:t>
            </a:r>
            <a:r>
              <a:rPr lang="ru-RU" sz="1400" i="1" dirty="0">
                <a:solidFill>
                  <a:srgbClr val="A40000"/>
                </a:solidFill>
              </a:rPr>
              <a:t>73</a:t>
            </a:r>
            <a:r>
              <a:rPr lang="ru-RU" sz="1400" i="1" dirty="0">
                <a:solidFill>
                  <a:srgbClr val="283E6E"/>
                </a:solidFill>
              </a:rPr>
              <a:t> иностранных </a:t>
            </a:r>
            <a:r>
              <a:rPr lang="ru-RU" sz="1400" i="1" dirty="0" smtClean="0">
                <a:solidFill>
                  <a:srgbClr val="283E6E"/>
                </a:solidFill>
              </a:rPr>
              <a:t>компаний)</a:t>
            </a:r>
          </a:p>
          <a:p>
            <a:pPr algn="ctr"/>
            <a:endParaRPr lang="ru-RU" sz="1400" i="1" dirty="0">
              <a:solidFill>
                <a:srgbClr val="283E6E"/>
              </a:solidFill>
            </a:endParaRPr>
          </a:p>
          <a:p>
            <a:pPr algn="ctr"/>
            <a:r>
              <a:rPr lang="ru-RU" sz="1400" i="1" dirty="0">
                <a:solidFill>
                  <a:srgbClr val="283E6E"/>
                </a:solidFill>
              </a:rPr>
              <a:t>Сибирский экономический форум </a:t>
            </a:r>
            <a:r>
              <a:rPr lang="ru-RU" sz="1400" i="1" dirty="0" smtClean="0">
                <a:solidFill>
                  <a:srgbClr val="283E6E"/>
                </a:solidFill>
              </a:rPr>
              <a:t>16-17 </a:t>
            </a:r>
            <a:r>
              <a:rPr lang="ru-RU" sz="1400" i="1" dirty="0">
                <a:solidFill>
                  <a:srgbClr val="283E6E"/>
                </a:solidFill>
              </a:rPr>
              <a:t>ноября 2017 года (</a:t>
            </a:r>
            <a:r>
              <a:rPr lang="ru-RU" sz="1400" i="1" dirty="0">
                <a:solidFill>
                  <a:srgbClr val="A40000"/>
                </a:solidFill>
              </a:rPr>
              <a:t>8</a:t>
            </a:r>
            <a:r>
              <a:rPr lang="ru-RU" sz="1400" i="1" dirty="0">
                <a:solidFill>
                  <a:srgbClr val="283E6E"/>
                </a:solidFill>
              </a:rPr>
              <a:t> стран, </a:t>
            </a:r>
            <a:r>
              <a:rPr lang="ru-RU" sz="1400" i="1" dirty="0">
                <a:solidFill>
                  <a:srgbClr val="A40000"/>
                </a:solidFill>
              </a:rPr>
              <a:t>20</a:t>
            </a:r>
            <a:r>
              <a:rPr lang="ru-RU" sz="1400" i="1" dirty="0" smtClean="0">
                <a:solidFill>
                  <a:srgbClr val="283E6E"/>
                </a:solidFill>
              </a:rPr>
              <a:t> иностранных компаний) </a:t>
            </a:r>
          </a:p>
          <a:p>
            <a:pPr algn="ctr"/>
            <a:endParaRPr lang="ru-RU" sz="1400" i="1" dirty="0">
              <a:solidFill>
                <a:srgbClr val="283E6E"/>
              </a:solidFill>
            </a:endParaRPr>
          </a:p>
          <a:p>
            <a:pPr algn="ctr"/>
            <a:r>
              <a:rPr lang="ru-RU" sz="1400" i="1" dirty="0" smtClean="0">
                <a:solidFill>
                  <a:srgbClr val="283E6E"/>
                </a:solidFill>
              </a:rPr>
              <a:t>Ялтинский </a:t>
            </a:r>
            <a:r>
              <a:rPr lang="ru-RU" sz="1400" i="1" dirty="0">
                <a:solidFill>
                  <a:srgbClr val="283E6E"/>
                </a:solidFill>
              </a:rPr>
              <a:t>международных экономический </a:t>
            </a:r>
            <a:r>
              <a:rPr lang="ru-RU" sz="1400" i="1" dirty="0" smtClean="0">
                <a:solidFill>
                  <a:srgbClr val="283E6E"/>
                </a:solidFill>
              </a:rPr>
              <a:t>форум 20-22 </a:t>
            </a:r>
            <a:r>
              <a:rPr lang="ru-RU" sz="1400" i="1" dirty="0">
                <a:solidFill>
                  <a:srgbClr val="283E6E"/>
                </a:solidFill>
              </a:rPr>
              <a:t>апреля 2017 </a:t>
            </a:r>
            <a:r>
              <a:rPr lang="ru-RU" sz="1400" i="1" dirty="0" smtClean="0">
                <a:solidFill>
                  <a:srgbClr val="283E6E"/>
                </a:solidFill>
              </a:rPr>
              <a:t>года (</a:t>
            </a:r>
            <a:r>
              <a:rPr lang="ru-RU" sz="1400" i="1" dirty="0">
                <a:solidFill>
                  <a:srgbClr val="A40000"/>
                </a:solidFill>
              </a:rPr>
              <a:t>46</a:t>
            </a:r>
            <a:r>
              <a:rPr lang="ru-RU" sz="1400" i="1" dirty="0">
                <a:solidFill>
                  <a:srgbClr val="283E6E"/>
                </a:solidFill>
              </a:rPr>
              <a:t> </a:t>
            </a:r>
            <a:r>
              <a:rPr lang="ru-RU" sz="1400" i="1" dirty="0" smtClean="0">
                <a:solidFill>
                  <a:srgbClr val="283E6E"/>
                </a:solidFill>
              </a:rPr>
              <a:t>стран, </a:t>
            </a:r>
            <a:r>
              <a:rPr lang="ru-RU" sz="1400" i="1" dirty="0" smtClean="0">
                <a:solidFill>
                  <a:srgbClr val="A40000"/>
                </a:solidFill>
              </a:rPr>
              <a:t>200</a:t>
            </a:r>
            <a:r>
              <a:rPr lang="ru-RU" sz="1400" i="1" dirty="0" smtClean="0">
                <a:solidFill>
                  <a:srgbClr val="283E6E"/>
                </a:solidFill>
              </a:rPr>
              <a:t> иностранных компаний)</a:t>
            </a:r>
          </a:p>
          <a:p>
            <a:pPr algn="ctr"/>
            <a:endParaRPr lang="ru-RU" sz="1400" i="1" dirty="0" smtClean="0">
              <a:solidFill>
                <a:srgbClr val="283E6E"/>
              </a:solidFill>
            </a:endParaRPr>
          </a:p>
          <a:p>
            <a:pPr algn="ctr"/>
            <a:r>
              <a:rPr lang="ru-RU" sz="1400" i="1" dirty="0">
                <a:solidFill>
                  <a:srgbClr val="283E6E"/>
                </a:solidFill>
              </a:rPr>
              <a:t>ИННОПРОМ </a:t>
            </a:r>
            <a:r>
              <a:rPr lang="ru-RU" sz="1400" i="1" dirty="0" smtClean="0">
                <a:solidFill>
                  <a:srgbClr val="283E6E"/>
                </a:solidFill>
              </a:rPr>
              <a:t>10 июля 2017 </a:t>
            </a:r>
            <a:br>
              <a:rPr lang="ru-RU" sz="1400" i="1" dirty="0" smtClean="0">
                <a:solidFill>
                  <a:srgbClr val="283E6E"/>
                </a:solidFill>
              </a:rPr>
            </a:br>
            <a:r>
              <a:rPr lang="ru-RU" sz="1400" i="1" dirty="0" smtClean="0">
                <a:solidFill>
                  <a:srgbClr val="283E6E"/>
                </a:solidFill>
              </a:rPr>
              <a:t>(</a:t>
            </a:r>
            <a:r>
              <a:rPr lang="ru-RU" sz="1400" i="1" dirty="0">
                <a:solidFill>
                  <a:srgbClr val="A40000"/>
                </a:solidFill>
              </a:rPr>
              <a:t>27</a:t>
            </a:r>
            <a:r>
              <a:rPr lang="ru-RU" sz="1400" i="1" dirty="0">
                <a:solidFill>
                  <a:srgbClr val="283E6E"/>
                </a:solidFill>
              </a:rPr>
              <a:t> </a:t>
            </a:r>
            <a:r>
              <a:rPr lang="ru-RU" sz="1400" i="1" dirty="0" smtClean="0">
                <a:solidFill>
                  <a:srgbClr val="283E6E"/>
                </a:solidFill>
              </a:rPr>
              <a:t>стран, </a:t>
            </a:r>
            <a:r>
              <a:rPr lang="ru-RU" sz="1400" i="1" dirty="0" smtClean="0">
                <a:solidFill>
                  <a:srgbClr val="A40000"/>
                </a:solidFill>
              </a:rPr>
              <a:t>640</a:t>
            </a:r>
            <a:r>
              <a:rPr lang="ru-RU" sz="1400" i="1" dirty="0" smtClean="0">
                <a:solidFill>
                  <a:srgbClr val="283E6E"/>
                </a:solidFill>
              </a:rPr>
              <a:t> иностранных компаний)</a:t>
            </a:r>
            <a:endParaRPr lang="ru-RU" sz="1400" i="1" dirty="0">
              <a:solidFill>
                <a:srgbClr val="283E6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57967" y="4745272"/>
            <a:ext cx="36178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283E6E"/>
                </a:solidFill>
              </a:rPr>
              <a:t>Проведение крупного двустороннего мероприятия</a:t>
            </a:r>
            <a:endParaRPr lang="ru-RU" sz="1600" b="1" dirty="0">
              <a:solidFill>
                <a:srgbClr val="283E6E"/>
              </a:solidFill>
            </a:endParaRPr>
          </a:p>
        </p:txBody>
      </p:sp>
      <p:pic>
        <p:nvPicPr>
          <p:cNvPr id="2052" name="Picture 4" descr="C:\Users\minaeva\Desktop\значки для презы\icon_4203.png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834" y="4681920"/>
            <a:ext cx="762813" cy="833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5579828" y="5330047"/>
            <a:ext cx="36894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283E6E"/>
                </a:solidFill>
              </a:rPr>
              <a:t>  </a:t>
            </a:r>
            <a:r>
              <a:rPr lang="ru-RU" sz="1400" dirty="0" smtClean="0">
                <a:solidFill>
                  <a:srgbClr val="A40000"/>
                </a:solidFill>
              </a:rPr>
              <a:t>1</a:t>
            </a:r>
            <a:r>
              <a:rPr lang="ru-RU" sz="1400" dirty="0" smtClean="0">
                <a:solidFill>
                  <a:srgbClr val="283E6E"/>
                </a:solidFill>
              </a:rPr>
              <a:t> приоритетная стран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83E6E"/>
                </a:solidFill>
              </a:rPr>
              <a:t> </a:t>
            </a:r>
            <a:r>
              <a:rPr lang="ru-RU" sz="1400" dirty="0" smtClean="0">
                <a:solidFill>
                  <a:srgbClr val="A40000"/>
                </a:solidFill>
              </a:rPr>
              <a:t>50</a:t>
            </a:r>
            <a:r>
              <a:rPr lang="ru-RU" sz="1400" dirty="0" smtClean="0">
                <a:solidFill>
                  <a:srgbClr val="283E6E"/>
                </a:solidFill>
              </a:rPr>
              <a:t> иностранных компаний - участников</a:t>
            </a:r>
            <a:endParaRPr lang="ru-RU" sz="1400" dirty="0">
              <a:solidFill>
                <a:srgbClr val="283E6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283E6E"/>
                </a:solidFill>
              </a:rPr>
              <a:t>8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038520" y="6149964"/>
            <a:ext cx="1976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rgbClr val="A40000"/>
                </a:solidFill>
              </a:rPr>
              <a:t>Эффективность =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695551" y="6326748"/>
            <a:ext cx="2294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 smtClean="0">
                <a:solidFill>
                  <a:srgbClr val="A40000"/>
                </a:solidFill>
              </a:rPr>
              <a:t>Стоимость мероприятий</a:t>
            </a:r>
            <a:endParaRPr lang="ru-RU" sz="1400" b="1" i="1" dirty="0">
              <a:solidFill>
                <a:srgbClr val="A40000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720840" y="6311472"/>
            <a:ext cx="211836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720840" y="5849248"/>
            <a:ext cx="22689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A40000"/>
                </a:solidFill>
              </a:rPr>
              <a:t>Количество экспортных контрактов</a:t>
            </a:r>
            <a:endParaRPr lang="ru-RU" sz="1400" b="1" i="1" dirty="0">
              <a:solidFill>
                <a:srgbClr val="A4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032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7" name="Picture 15" descr="C:\Users\minaeva\Desktop\значки для презы\gk-yug-rus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0341" y="3221422"/>
            <a:ext cx="1348740" cy="93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minaeva\Desktop\значки для презы\бренды\Ставропольское качество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91" y="3949519"/>
            <a:ext cx="1718249" cy="116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C:\Users\minaeva\Desktop\значки для презы\c6cf562bcebb27d2ad92952d9073acbc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7960" y="3273541"/>
            <a:ext cx="1532381" cy="153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C:\Users\minaeva\Desktop\значки для презы\бренды\Сделано на Дону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811" y="2290573"/>
            <a:ext cx="1583438" cy="105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minaeva\Desktop\значки для презы\бренды\Made in Tatarstan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8495"/>
            <a:ext cx="1518098" cy="1012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110740" y="702750"/>
            <a:ext cx="7033261" cy="73743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algn="r">
              <a:lnSpc>
                <a:spcPct val="120000"/>
              </a:lnSpc>
              <a:spcBef>
                <a:spcPct val="0"/>
              </a:spcBef>
              <a:buNone/>
              <a:defRPr sz="2000" b="1" cap="all">
                <a:solidFill>
                  <a:srgbClr val="283E6E"/>
                </a:solidFill>
                <a:latin typeface="Bebas Neue Bold"/>
                <a:ea typeface="+mj-ea"/>
                <a:cs typeface="Circe Extra Bold"/>
              </a:defRPr>
            </a:lvl1pPr>
          </a:lstStyle>
          <a:p>
            <a:r>
              <a:rPr lang="ru-RU" dirty="0" smtClean="0"/>
              <a:t>практика </a:t>
            </a:r>
            <a:r>
              <a:rPr lang="ru-RU" dirty="0"/>
              <a:t>создания экспортной </a:t>
            </a:r>
            <a:r>
              <a:rPr lang="ru-RU" dirty="0" smtClean="0"/>
              <a:t>экосистемы</a:t>
            </a:r>
            <a:endParaRPr lang="ru-RU" dirty="0"/>
          </a:p>
          <a:p>
            <a:r>
              <a:rPr lang="ru-RU" dirty="0" smtClean="0"/>
              <a:t>Региональный бренд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366870" y="1558268"/>
            <a:ext cx="3838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>
                <a:solidFill>
                  <a:srgbClr val="283E6E"/>
                </a:solidFill>
              </a:rPr>
              <a:t>Б</a:t>
            </a:r>
            <a:r>
              <a:rPr lang="ru-RU" b="1" u="sng" dirty="0" smtClean="0">
                <a:solidFill>
                  <a:srgbClr val="283E6E"/>
                </a:solidFill>
              </a:rPr>
              <a:t>ренд региона</a:t>
            </a:r>
            <a:endParaRPr lang="ru-RU" b="1" u="sng" dirty="0">
              <a:solidFill>
                <a:srgbClr val="283E6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79416" y="4696898"/>
            <a:ext cx="2813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u="sng" dirty="0">
                <a:solidFill>
                  <a:srgbClr val="283E6E"/>
                </a:solidFill>
              </a:rPr>
              <a:t>Межрегиональный бренд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17467" y="1596988"/>
            <a:ext cx="4421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 smtClean="0">
                <a:solidFill>
                  <a:srgbClr val="283E6E"/>
                </a:solidFill>
              </a:rPr>
              <a:t>Бренд местного продукта</a:t>
            </a:r>
            <a:endParaRPr lang="ru-RU" b="1" u="sng" dirty="0">
              <a:solidFill>
                <a:srgbClr val="283E6E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389120" y="1724907"/>
            <a:ext cx="57208" cy="4980693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728061" y="4458020"/>
            <a:ext cx="16321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>
                <a:solidFill>
                  <a:srgbClr val="283E6E"/>
                </a:solidFill>
              </a:rPr>
              <a:t>http://</a:t>
            </a:r>
            <a:r>
              <a:rPr lang="en-US" sz="1000" i="1" dirty="0" smtClean="0">
                <a:solidFill>
                  <a:srgbClr val="283E6E"/>
                </a:solidFill>
              </a:rPr>
              <a:t>www.imsiberian.com</a:t>
            </a:r>
            <a:endParaRPr lang="ru-RU" sz="1000" i="1" dirty="0">
              <a:solidFill>
                <a:srgbClr val="283E6E"/>
              </a:solidFill>
            </a:endParaRPr>
          </a:p>
        </p:txBody>
      </p:sp>
      <p:pic>
        <p:nvPicPr>
          <p:cNvPr id="3082" name="Picture 10" descr="C:\Users\minaeva\Desktop\значки для презы\тайга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3078" y="3514144"/>
            <a:ext cx="902441" cy="812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786809" y="4368008"/>
            <a:ext cx="11865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>
                <a:solidFill>
                  <a:srgbClr val="283E6E"/>
                </a:solidFill>
              </a:rPr>
              <a:t>http://</a:t>
            </a:r>
            <a:r>
              <a:rPr lang="en-US" sz="1000" i="1" dirty="0" smtClean="0">
                <a:solidFill>
                  <a:srgbClr val="283E6E"/>
                </a:solidFill>
              </a:rPr>
              <a:t>taigastyle.ru</a:t>
            </a:r>
            <a:endParaRPr lang="ru-RU" sz="1000" i="1" dirty="0">
              <a:solidFill>
                <a:srgbClr val="283E6E"/>
              </a:solidFill>
            </a:endParaRPr>
          </a:p>
        </p:txBody>
      </p:sp>
      <p:pic>
        <p:nvPicPr>
          <p:cNvPr id="3083" name="Picture 11" descr="C:\Users\minaeva\Desktop\значки для презы\shop_items_catalog_image380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7960" y="2165344"/>
            <a:ext cx="2050402" cy="115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5" name="Picture 13" descr="C:\Users\minaeva\Desktop\значки для презы\720276_fullimage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573" y="2066147"/>
            <a:ext cx="1576924" cy="1212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833633" y="5574240"/>
            <a:ext cx="42405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C00000"/>
                </a:solidFill>
              </a:rPr>
              <a:t>Бренд продукта связан с местностью? </a:t>
            </a:r>
            <a:br>
              <a:rPr lang="ru-RU" sz="1400" b="1" i="1" dirty="0" smtClean="0">
                <a:solidFill>
                  <a:srgbClr val="C00000"/>
                </a:solidFill>
              </a:rPr>
            </a:br>
            <a:r>
              <a:rPr lang="ru-RU" sz="1400" b="1" i="1" dirty="0" smtClean="0">
                <a:solidFill>
                  <a:srgbClr val="C00000"/>
                </a:solidFill>
              </a:rPr>
              <a:t>Субсидия на продвижение за рубежом</a:t>
            </a:r>
            <a:endParaRPr lang="ru-RU" sz="1400" b="1" i="1" dirty="0">
              <a:solidFill>
                <a:srgbClr val="C00000"/>
              </a:solidFill>
            </a:endParaRPr>
          </a:p>
        </p:txBody>
      </p:sp>
      <p:pic>
        <p:nvPicPr>
          <p:cNvPr id="3086" name="Picture 14" descr="C:\Users\minaeva\Desktop\значки для презы\СКФО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76" y="5289894"/>
            <a:ext cx="1516690" cy="616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C:\Users\minaeva\Desktop\значки для презы\detail_XdL7g8I8dl_1491228851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042" y="5079230"/>
            <a:ext cx="1181099" cy="82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Скругленный прямоугольник 16"/>
          <p:cNvSpPr/>
          <p:nvPr/>
        </p:nvSpPr>
        <p:spPr>
          <a:xfrm>
            <a:off x="4975860" y="5440680"/>
            <a:ext cx="3849659" cy="883920"/>
          </a:xfrm>
          <a:prstGeom prst="roundRect">
            <a:avLst/>
          </a:prstGeom>
          <a:noFill/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098" name="Picture 2" descr="C:\Users\minaeva\Desktop\значки для презы\бренды\Превью_Синий логотип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592" y="3222382"/>
            <a:ext cx="863752" cy="929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8761497" y="12013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283E6E"/>
                </a:solidFill>
              </a:rPr>
              <a:t>9</a:t>
            </a:r>
            <a:endParaRPr lang="ru-RU" b="1" dirty="0">
              <a:solidFill>
                <a:srgbClr val="283E6E"/>
              </a:solidFill>
            </a:endParaRPr>
          </a:p>
        </p:txBody>
      </p:sp>
      <p:pic>
        <p:nvPicPr>
          <p:cNvPr id="28" name="Picture 2" descr="C:\Users\minaeva\Desktop\значки для презы\бренды\Ставропольское качество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7" y="3668644"/>
            <a:ext cx="1718249" cy="116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7" descr="C:\Users\minaeva\Desktop\значки для презы\бренды\Сделано на Дону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5" y="2009698"/>
            <a:ext cx="1583438" cy="105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 descr="C:\Users\minaeva\Desktop\значки для презы\бренды\Made in Tatarstan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36" y="3057620"/>
            <a:ext cx="1518098" cy="1012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C:\Users\minaeva\Desktop\значки для презы\бренды\Продукт Башкортостана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642" y="2066147"/>
            <a:ext cx="1282082" cy="961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" descr="C:\Users\minaeva\Desktop\значки для презы\бренды\Сделано в Ленинградской области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518" y="2030595"/>
            <a:ext cx="991378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C:\Users\minaeva\Desktop\значки для презы\бренды\Сделано в Удмуртии.jpe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019" y="3196010"/>
            <a:ext cx="1089885" cy="1205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052" y="2118792"/>
            <a:ext cx="883476" cy="862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540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zjrug5_EW_9tNPdielf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34</TotalTime>
  <Words>2167</Words>
  <Application>Microsoft Office PowerPoint</Application>
  <PresentationFormat>Экран (4:3)</PresentationFormat>
  <Paragraphs>516</Paragraphs>
  <Slides>20</Slides>
  <Notes>9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1" baseType="lpstr"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1,1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пуск работы  центра</dc:title>
  <dc:creator>Apple Mac Pro</dc:creator>
  <cp:lastModifiedBy>Мясникова Олеся Анатольевна</cp:lastModifiedBy>
  <cp:revision>526</cp:revision>
  <cp:lastPrinted>2017-06-22T08:41:15Z</cp:lastPrinted>
  <dcterms:created xsi:type="dcterms:W3CDTF">2015-09-17T06:56:09Z</dcterms:created>
  <dcterms:modified xsi:type="dcterms:W3CDTF">2017-11-16T10:35:09Z</dcterms:modified>
</cp:coreProperties>
</file>